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702" r:id="rId2"/>
    <p:sldMasterId id="2147483717" r:id="rId3"/>
    <p:sldMasterId id="2147483729" r:id="rId4"/>
    <p:sldMasterId id="2147483753" r:id="rId5"/>
    <p:sldMasterId id="2147483761" r:id="rId6"/>
    <p:sldMasterId id="2147483783" r:id="rId7"/>
  </p:sldMasterIdLst>
  <p:notesMasterIdLst>
    <p:notesMasterId r:id="rId24"/>
  </p:notesMasterIdLst>
  <p:handoutMasterIdLst>
    <p:handoutMasterId r:id="rId25"/>
  </p:handoutMasterIdLst>
  <p:sldIdLst>
    <p:sldId id="1088" r:id="rId8"/>
    <p:sldId id="1142" r:id="rId9"/>
    <p:sldId id="1150" r:id="rId10"/>
    <p:sldId id="1169" r:id="rId11"/>
    <p:sldId id="1168" r:id="rId12"/>
    <p:sldId id="1171" r:id="rId13"/>
    <p:sldId id="1149" r:id="rId14"/>
    <p:sldId id="1165" r:id="rId15"/>
    <p:sldId id="1166" r:id="rId16"/>
    <p:sldId id="1167" r:id="rId17"/>
    <p:sldId id="1173" r:id="rId18"/>
    <p:sldId id="1170" r:id="rId19"/>
    <p:sldId id="1174" r:id="rId20"/>
    <p:sldId id="1130" r:id="rId21"/>
    <p:sldId id="1175" r:id="rId22"/>
    <p:sldId id="1163" r:id="rId23"/>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cott, Brandon, VBAVACO" initials="SBV"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5951" autoAdjust="0"/>
    <p:restoredTop sz="77167" autoAdjust="0"/>
  </p:normalViewPr>
  <p:slideViewPr>
    <p:cSldViewPr>
      <p:cViewPr varScale="1">
        <p:scale>
          <a:sx n="69" d="100"/>
          <a:sy n="69" d="100"/>
        </p:scale>
        <p:origin x="1122" y="60"/>
      </p:cViewPr>
      <p:guideLst>
        <p:guide orient="horz" pos="2160"/>
        <p:guide pos="3840"/>
      </p:guideLst>
    </p:cSldViewPr>
  </p:slideViewPr>
  <p:notesTextViewPr>
    <p:cViewPr>
      <p:scale>
        <a:sx n="3" d="2"/>
        <a:sy n="3" d="2"/>
      </p:scale>
      <p:origin x="0" y="0"/>
    </p:cViewPr>
  </p:notesTextViewPr>
  <p:sorterViewPr>
    <p:cViewPr>
      <p:scale>
        <a:sx n="75" d="100"/>
        <a:sy n="75" d="100"/>
      </p:scale>
      <p:origin x="0" y="0"/>
    </p:cViewPr>
  </p:sorterViewPr>
  <p:notesViewPr>
    <p:cSldViewPr>
      <p:cViewPr varScale="1">
        <p:scale>
          <a:sx n="52" d="100"/>
          <a:sy n="52" d="100"/>
        </p:scale>
        <p:origin x="2934"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918" tIns="46460" rIns="92918" bIns="46460" rtlCol="0"/>
          <a:lstStyle>
            <a:lvl1pPr algn="l">
              <a:defRPr sz="1200"/>
            </a:lvl1pPr>
          </a:lstStyle>
          <a:p>
            <a:endParaRPr lang="en-US" dirty="0"/>
          </a:p>
        </p:txBody>
      </p:sp>
      <p:sp>
        <p:nvSpPr>
          <p:cNvPr id="3" name="Date Placeholder 2"/>
          <p:cNvSpPr>
            <a:spLocks noGrp="1"/>
          </p:cNvSpPr>
          <p:nvPr>
            <p:ph type="dt" sz="quarter" idx="1"/>
          </p:nvPr>
        </p:nvSpPr>
        <p:spPr>
          <a:xfrm>
            <a:off x="3936769" y="0"/>
            <a:ext cx="3011699" cy="461804"/>
          </a:xfrm>
          <a:prstGeom prst="rect">
            <a:avLst/>
          </a:prstGeom>
        </p:spPr>
        <p:txBody>
          <a:bodyPr vert="horz" lIns="92918" tIns="46460" rIns="92918" bIns="46460" rtlCol="0"/>
          <a:lstStyle>
            <a:lvl1pPr algn="r">
              <a:defRPr sz="1200"/>
            </a:lvl1pPr>
          </a:lstStyle>
          <a:p>
            <a:fld id="{D378DE80-9498-45F1-9FDD-F830B8366044}" type="datetimeFigureOut">
              <a:rPr lang="en-US" smtClean="0"/>
              <a:t>07/10/2019</a:t>
            </a:fld>
            <a:endParaRPr lang="en-US"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918" tIns="46460" rIns="92918" bIns="4646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9" y="8772668"/>
            <a:ext cx="3011699" cy="461804"/>
          </a:xfrm>
          <a:prstGeom prst="rect">
            <a:avLst/>
          </a:prstGeom>
        </p:spPr>
        <p:txBody>
          <a:bodyPr vert="horz" lIns="92918" tIns="46460" rIns="92918" bIns="46460" rtlCol="0" anchor="b"/>
          <a:lstStyle>
            <a:lvl1pPr algn="r">
              <a:defRPr sz="1200"/>
            </a:lvl1pPr>
          </a:lstStyle>
          <a:p>
            <a:fld id="{7E43ED2E-7FBD-4343-B911-CBC7664B7620}" type="slidenum">
              <a:rPr lang="en-US" smtClean="0"/>
              <a:t>‹#›</a:t>
            </a:fld>
            <a:endParaRPr lang="en-US" dirty="0"/>
          </a:p>
        </p:txBody>
      </p:sp>
    </p:spTree>
    <p:extLst>
      <p:ext uri="{BB962C8B-B14F-4D97-AF65-F5344CB8AC3E}">
        <p14:creationId xmlns:p14="http://schemas.microsoft.com/office/powerpoint/2010/main" val="31149731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918" tIns="46460" rIns="92918" bIns="46460" rtlCol="0"/>
          <a:lstStyle>
            <a:lvl1pPr algn="l">
              <a:defRPr sz="1200"/>
            </a:lvl1pPr>
          </a:lstStyle>
          <a:p>
            <a:endParaRPr lang="en-US" dirty="0"/>
          </a:p>
        </p:txBody>
      </p:sp>
      <p:sp>
        <p:nvSpPr>
          <p:cNvPr id="3" name="Date Placeholder 2"/>
          <p:cNvSpPr>
            <a:spLocks noGrp="1"/>
          </p:cNvSpPr>
          <p:nvPr>
            <p:ph type="dt" idx="1"/>
          </p:nvPr>
        </p:nvSpPr>
        <p:spPr>
          <a:xfrm>
            <a:off x="3936769" y="0"/>
            <a:ext cx="3011699" cy="461804"/>
          </a:xfrm>
          <a:prstGeom prst="rect">
            <a:avLst/>
          </a:prstGeom>
        </p:spPr>
        <p:txBody>
          <a:bodyPr vert="horz" lIns="92918" tIns="46460" rIns="92918" bIns="46460" rtlCol="0"/>
          <a:lstStyle>
            <a:lvl1pPr algn="r">
              <a:defRPr sz="1200"/>
            </a:lvl1pPr>
          </a:lstStyle>
          <a:p>
            <a:fld id="{BBD9FB31-0ED2-42CD-BFA8-0D8D30FCBDBE}" type="datetimeFigureOut">
              <a:rPr lang="en-US" smtClean="0"/>
              <a:t>07/10/2019</a:t>
            </a:fld>
            <a:endParaRPr lang="en-US" dirty="0"/>
          </a:p>
        </p:txBody>
      </p:sp>
      <p:sp>
        <p:nvSpPr>
          <p:cNvPr id="4" name="Slide Image Placeholder 3"/>
          <p:cNvSpPr>
            <a:spLocks noGrp="1" noRot="1" noChangeAspect="1"/>
          </p:cNvSpPr>
          <p:nvPr>
            <p:ph type="sldImg" idx="2"/>
          </p:nvPr>
        </p:nvSpPr>
        <p:spPr>
          <a:xfrm>
            <a:off x="395288" y="690563"/>
            <a:ext cx="6159500" cy="3465512"/>
          </a:xfrm>
          <a:prstGeom prst="rect">
            <a:avLst/>
          </a:prstGeom>
          <a:noFill/>
          <a:ln w="12700">
            <a:solidFill>
              <a:prstClr val="black"/>
            </a:solidFill>
          </a:ln>
        </p:spPr>
        <p:txBody>
          <a:bodyPr vert="horz" lIns="92918" tIns="46460" rIns="92918" bIns="46460" rtlCol="0" anchor="ctr"/>
          <a:lstStyle/>
          <a:p>
            <a:endParaRPr lang="en-US"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918" tIns="46460" rIns="92918" bIns="464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11699" cy="461804"/>
          </a:xfrm>
          <a:prstGeom prst="rect">
            <a:avLst/>
          </a:prstGeom>
        </p:spPr>
        <p:txBody>
          <a:bodyPr vert="horz" lIns="92918" tIns="46460" rIns="92918" bIns="4646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9" y="8772668"/>
            <a:ext cx="3011699" cy="461804"/>
          </a:xfrm>
          <a:prstGeom prst="rect">
            <a:avLst/>
          </a:prstGeom>
        </p:spPr>
        <p:txBody>
          <a:bodyPr vert="horz" lIns="92918" tIns="46460" rIns="92918" bIns="46460" rtlCol="0" anchor="b"/>
          <a:lstStyle>
            <a:lvl1pPr algn="r">
              <a:defRPr sz="1200"/>
            </a:lvl1pPr>
          </a:lstStyle>
          <a:p>
            <a:fld id="{C0C607DC-E5A7-4CFE-8165-5B270512D7AD}" type="slidenum">
              <a:rPr lang="en-US" smtClean="0"/>
              <a:t>‹#›</a:t>
            </a:fld>
            <a:endParaRPr lang="en-US" dirty="0"/>
          </a:p>
        </p:txBody>
      </p:sp>
    </p:spTree>
    <p:extLst>
      <p:ext uri="{BB962C8B-B14F-4D97-AF65-F5344CB8AC3E}">
        <p14:creationId xmlns:p14="http://schemas.microsoft.com/office/powerpoint/2010/main" val="30869050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1 – Title Slide</a:t>
            </a:r>
          </a:p>
          <a:p>
            <a:pPr lvl="0"/>
            <a:r>
              <a:rPr lang="en-US" sz="1200" kern="1200" dirty="0">
                <a:solidFill>
                  <a:schemeClr val="tx1"/>
                </a:solidFill>
                <a:effectLst/>
                <a:latin typeface="+mn-lt"/>
                <a:ea typeface="+mn-ea"/>
                <a:cs typeface="+mn-cs"/>
              </a:rPr>
              <a:t>Welcome and introduct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68728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5365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Lenders may ask how this differs from the FFLR process today. This slide as it stands alone may not answer th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8623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 they want to box themselves in with these tools? Could be these or others in the future state. Could provide an example of the present day lender scorecard, having that refreshed on a monthly basis with live peer comparis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49229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14 – Specific VALERI Impacts for Lenders</a:t>
            </a:r>
          </a:p>
          <a:p>
            <a:pPr lvl="0"/>
            <a:r>
              <a:rPr lang="en-US" sz="1200" kern="1200" dirty="0">
                <a:solidFill>
                  <a:schemeClr val="tx1"/>
                </a:solidFill>
                <a:effectLst/>
                <a:latin typeface="+mn-lt"/>
                <a:ea typeface="+mn-ea"/>
                <a:cs typeface="+mn-cs"/>
              </a:rPr>
              <a:t>Program Modernization</a:t>
            </a:r>
          </a:p>
          <a:p>
            <a:pPr lvl="1"/>
            <a:r>
              <a:rPr lang="en-US" sz="1200" kern="1200" dirty="0">
                <a:solidFill>
                  <a:schemeClr val="tx1"/>
                </a:solidFill>
                <a:effectLst/>
                <a:latin typeface="+mn-lt"/>
                <a:ea typeface="+mn-ea"/>
                <a:cs typeface="+mn-cs"/>
              </a:rPr>
              <a:t>Interoperability (adopting MISMO and UCD/ULAD)</a:t>
            </a:r>
          </a:p>
          <a:p>
            <a:pPr lvl="1"/>
            <a:r>
              <a:rPr lang="en-US" sz="1200" kern="1200" dirty="0">
                <a:solidFill>
                  <a:schemeClr val="tx1"/>
                </a:solidFill>
                <a:effectLst/>
                <a:latin typeface="+mn-lt"/>
                <a:ea typeface="+mn-ea"/>
                <a:cs typeface="+mn-cs"/>
              </a:rPr>
              <a:t>VA Guaranty Certainty throughout</a:t>
            </a:r>
          </a:p>
          <a:p>
            <a:pPr lvl="1"/>
            <a:r>
              <a:rPr lang="en-US" sz="1200" kern="1200" dirty="0">
                <a:solidFill>
                  <a:schemeClr val="tx1"/>
                </a:solidFill>
                <a:effectLst/>
                <a:latin typeface="+mn-lt"/>
                <a:ea typeface="+mn-ea"/>
                <a:cs typeface="+mn-cs"/>
              </a:rPr>
              <a:t>Lender Scorecard - Integration, transparency, and utilization of the Lender Scorecard (Performance Management) - Note there is a later presentation on Scorecards so this should be a precursor so we can provide an example and go into more detail at the later scorecard session.</a:t>
            </a:r>
          </a:p>
          <a:p>
            <a:pPr lvl="0"/>
            <a:r>
              <a:rPr lang="en-US" sz="1200" kern="1200" dirty="0">
                <a:solidFill>
                  <a:schemeClr val="tx1"/>
                </a:solidFill>
                <a:effectLst/>
                <a:latin typeface="+mn-lt"/>
                <a:ea typeface="+mn-ea"/>
                <a:cs typeface="+mn-cs"/>
              </a:rPr>
              <a:t>Streamlined VA Benefit Delivery (process automation, customer relationship management tools)</a:t>
            </a:r>
          </a:p>
          <a:p>
            <a:pPr lvl="1"/>
            <a:r>
              <a:rPr lang="en-US" sz="1200" kern="1200" dirty="0">
                <a:solidFill>
                  <a:schemeClr val="tx1"/>
                </a:solidFill>
                <a:effectLst/>
                <a:latin typeface="+mn-lt"/>
                <a:ea typeface="+mn-ea"/>
                <a:cs typeface="+mn-cs"/>
              </a:rPr>
              <a:t>Real Time Information</a:t>
            </a:r>
          </a:p>
          <a:p>
            <a:pPr lvl="2"/>
            <a:r>
              <a:rPr lang="en-US" sz="1200" kern="1200" dirty="0">
                <a:solidFill>
                  <a:schemeClr val="tx1"/>
                </a:solidFill>
                <a:effectLst/>
                <a:latin typeface="+mn-lt"/>
                <a:ea typeface="+mn-ea"/>
                <a:cs typeface="+mn-cs"/>
              </a:rPr>
              <a:t>Eligibility Information/Status</a:t>
            </a:r>
          </a:p>
          <a:p>
            <a:pPr lvl="2"/>
            <a:r>
              <a:rPr lang="en-US" sz="1200" kern="1200" dirty="0">
                <a:solidFill>
                  <a:schemeClr val="tx1"/>
                </a:solidFill>
                <a:effectLst/>
                <a:latin typeface="+mn-lt"/>
                <a:ea typeface="+mn-ea"/>
                <a:cs typeface="+mn-cs"/>
              </a:rPr>
              <a:t>Funding Fee Exemptions</a:t>
            </a:r>
          </a:p>
          <a:p>
            <a:pPr lvl="2"/>
            <a:r>
              <a:rPr lang="en-US" sz="1200" kern="1200" dirty="0">
                <a:solidFill>
                  <a:schemeClr val="tx1"/>
                </a:solidFill>
                <a:effectLst/>
                <a:latin typeface="+mn-lt"/>
                <a:ea typeface="+mn-ea"/>
                <a:cs typeface="+mn-cs"/>
              </a:rPr>
              <a:t>Transparent Case Management through one solution(Talk about milestones: Eligibility, Appraisal Order, Appraisal Rcvd, in for Final, Closing, Assigned to Servicer)</a:t>
            </a:r>
          </a:p>
          <a:p>
            <a:pPr lvl="1"/>
            <a:r>
              <a:rPr lang="en-US" sz="1200" kern="1200" dirty="0">
                <a:solidFill>
                  <a:schemeClr val="tx1"/>
                </a:solidFill>
                <a:effectLst/>
                <a:latin typeface="+mn-lt"/>
                <a:ea typeface="+mn-ea"/>
                <a:cs typeface="+mn-cs"/>
              </a:rPr>
              <a:t>Self Service capabilities/functionality</a:t>
            </a:r>
          </a:p>
          <a:p>
            <a:pPr lvl="2"/>
            <a:r>
              <a:rPr lang="en-US" sz="1200" kern="1200" dirty="0">
                <a:solidFill>
                  <a:schemeClr val="tx1"/>
                </a:solidFill>
                <a:effectLst/>
                <a:latin typeface="+mn-lt"/>
                <a:ea typeface="+mn-ea"/>
                <a:cs typeface="+mn-cs"/>
              </a:rPr>
              <a:t>Examples – make payments</a:t>
            </a:r>
          </a:p>
          <a:p>
            <a:pPr lvl="2"/>
            <a:r>
              <a:rPr lang="en-US" sz="1200" kern="1200" dirty="0">
                <a:solidFill>
                  <a:schemeClr val="tx1"/>
                </a:solidFill>
                <a:effectLst/>
                <a:latin typeface="+mn-lt"/>
                <a:ea typeface="+mn-ea"/>
                <a:cs typeface="+mn-cs"/>
              </a:rPr>
              <a:t>Lender administration</a:t>
            </a:r>
          </a:p>
          <a:p>
            <a:pPr lvl="2"/>
            <a:r>
              <a:rPr lang="en-US" sz="1200" kern="1200" dirty="0">
                <a:solidFill>
                  <a:schemeClr val="tx1"/>
                </a:solidFill>
                <a:effectLst/>
                <a:latin typeface="+mn-lt"/>
                <a:ea typeface="+mn-ea"/>
                <a:cs typeface="+mn-cs"/>
              </a:rPr>
              <a:t>Funding Fee </a:t>
            </a:r>
          </a:p>
          <a:p>
            <a:pPr lvl="1"/>
            <a:r>
              <a:rPr lang="en-US" sz="1200" kern="1200" dirty="0">
                <a:solidFill>
                  <a:schemeClr val="tx1"/>
                </a:solidFill>
                <a:effectLst/>
                <a:latin typeface="+mn-lt"/>
                <a:ea typeface="+mn-ea"/>
                <a:cs typeface="+mn-cs"/>
              </a:rPr>
              <a:t>Greater access to system data and reporting</a:t>
            </a:r>
          </a:p>
          <a:p>
            <a:pPr lvl="0"/>
            <a:r>
              <a:rPr lang="en-US" sz="1200" kern="1200" dirty="0">
                <a:solidFill>
                  <a:schemeClr val="tx1"/>
                </a:solidFill>
                <a:effectLst/>
                <a:latin typeface="+mn-lt"/>
                <a:ea typeface="+mn-ea"/>
                <a:cs typeface="+mn-cs"/>
              </a:rPr>
              <a:t>Accessibility to Program Resources (training, education, information)</a:t>
            </a:r>
          </a:p>
          <a:p>
            <a:pPr lvl="1"/>
            <a:r>
              <a:rPr lang="en-US" sz="1200" kern="1200" dirty="0">
                <a:solidFill>
                  <a:schemeClr val="tx1"/>
                </a:solidFill>
                <a:effectLst/>
                <a:latin typeface="+mn-lt"/>
                <a:ea typeface="+mn-ea"/>
                <a:cs typeface="+mn-cs"/>
              </a:rPr>
              <a:t>Web portal (information portal)</a:t>
            </a:r>
          </a:p>
          <a:p>
            <a:pPr lvl="1"/>
            <a:r>
              <a:rPr lang="en-US" sz="1200" kern="1200" dirty="0">
                <a:solidFill>
                  <a:schemeClr val="tx1"/>
                </a:solidFill>
                <a:effectLst/>
                <a:latin typeface="+mn-lt"/>
                <a:ea typeface="+mn-ea"/>
                <a:cs typeface="+mn-cs"/>
              </a:rPr>
              <a:t>eLearning – available anytime, anywhe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5091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2461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9 – VALERI: Background</a:t>
            </a:r>
          </a:p>
          <a:p>
            <a:pPr lvl="0"/>
            <a:r>
              <a:rPr lang="en-US" sz="1200" kern="1200" dirty="0">
                <a:solidFill>
                  <a:schemeClr val="tx1"/>
                </a:solidFill>
                <a:effectLst/>
                <a:latin typeface="+mn-lt"/>
                <a:ea typeface="+mn-ea"/>
                <a:cs typeface="+mn-cs"/>
              </a:rPr>
              <a:t>Deployed 2008</a:t>
            </a:r>
          </a:p>
          <a:p>
            <a:pPr lvl="0"/>
            <a:r>
              <a:rPr lang="en-US" sz="1200" kern="1200" dirty="0">
                <a:solidFill>
                  <a:schemeClr val="tx1"/>
                </a:solidFill>
                <a:effectLst/>
                <a:latin typeface="+mn-lt"/>
                <a:ea typeface="+mn-ea"/>
                <a:cs typeface="+mn-cs"/>
              </a:rPr>
              <a:t>Monitors VA-guaranteed loan information </a:t>
            </a:r>
          </a:p>
          <a:p>
            <a:pPr lvl="0"/>
            <a:r>
              <a:rPr lang="en-US" sz="1200" kern="1200" dirty="0">
                <a:solidFill>
                  <a:schemeClr val="tx1"/>
                </a:solidFill>
                <a:effectLst/>
                <a:latin typeface="+mn-lt"/>
                <a:ea typeface="+mn-ea"/>
                <a:cs typeface="+mn-cs"/>
              </a:rPr>
              <a:t>Enables servicers and the VA to work together</a:t>
            </a:r>
          </a:p>
          <a:p>
            <a:pPr lvl="0"/>
            <a:r>
              <a:rPr lang="en-US" sz="1200" kern="1200" dirty="0">
                <a:solidFill>
                  <a:schemeClr val="tx1"/>
                </a:solidFill>
                <a:effectLst/>
                <a:latin typeface="+mn-lt"/>
                <a:ea typeface="+mn-ea"/>
                <a:cs typeface="+mn-cs"/>
              </a:rPr>
              <a:t>Four main focuses of VALERI</a:t>
            </a:r>
          </a:p>
          <a:p>
            <a:pPr lvl="1"/>
            <a:r>
              <a:rPr lang="en-US" sz="1200" kern="1200" dirty="0">
                <a:solidFill>
                  <a:schemeClr val="tx1"/>
                </a:solidFill>
                <a:effectLst/>
                <a:latin typeface="+mn-lt"/>
                <a:ea typeface="+mn-ea"/>
                <a:cs typeface="+mn-cs"/>
              </a:rPr>
              <a:t>Mission Oriented</a:t>
            </a:r>
          </a:p>
          <a:p>
            <a:pPr lvl="1"/>
            <a:r>
              <a:rPr lang="en-US" sz="1200" kern="1200" dirty="0">
                <a:solidFill>
                  <a:schemeClr val="tx1"/>
                </a:solidFill>
                <a:effectLst/>
                <a:latin typeface="+mn-lt"/>
                <a:ea typeface="+mn-ea"/>
                <a:cs typeface="+mn-cs"/>
              </a:rPr>
              <a:t>Veteran Focused</a:t>
            </a:r>
          </a:p>
          <a:p>
            <a:pPr lvl="1"/>
            <a:r>
              <a:rPr lang="en-US" sz="1200" kern="1200" dirty="0">
                <a:solidFill>
                  <a:schemeClr val="tx1"/>
                </a:solidFill>
                <a:effectLst/>
                <a:latin typeface="+mn-lt"/>
                <a:ea typeface="+mn-ea"/>
                <a:cs typeface="+mn-cs"/>
              </a:rPr>
              <a:t>Oversight Enabled</a:t>
            </a:r>
          </a:p>
          <a:p>
            <a:pPr lvl="1"/>
            <a:r>
              <a:rPr lang="en-US" sz="1200" kern="1200" dirty="0">
                <a:solidFill>
                  <a:schemeClr val="tx1"/>
                </a:solidFill>
                <a:effectLst/>
                <a:latin typeface="+mn-lt"/>
                <a:ea typeface="+mn-ea"/>
                <a:cs typeface="+mn-cs"/>
              </a:rPr>
              <a:t>Communication Center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1733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10 – Improving LGY Systems: A History</a:t>
            </a:r>
          </a:p>
          <a:p>
            <a:pPr lvl="0"/>
            <a:r>
              <a:rPr lang="en-US" sz="1200" kern="1200" dirty="0">
                <a:solidFill>
                  <a:schemeClr val="tx1"/>
                </a:solidFill>
                <a:effectLst/>
                <a:latin typeface="+mn-lt"/>
                <a:ea typeface="+mn-ea"/>
                <a:cs typeface="+mn-cs"/>
              </a:rPr>
              <a:t>LGY has made significant improvements to its Guaranty Home Loan program since VALERI’s inception; but we’ve hit a point where incremental changes are not enough to fully meet the needs of our stakeholders. </a:t>
            </a:r>
          </a:p>
          <a:p>
            <a:pPr lvl="0"/>
            <a:r>
              <a:rPr lang="en-US" sz="1200" kern="1200" dirty="0">
                <a:solidFill>
                  <a:schemeClr val="tx1"/>
                </a:solidFill>
                <a:effectLst/>
                <a:latin typeface="+mn-lt"/>
                <a:ea typeface="+mn-ea"/>
                <a:cs typeface="+mn-cs"/>
              </a:rPr>
              <a:t>2008 – VALERI</a:t>
            </a:r>
          </a:p>
          <a:p>
            <a:pPr lvl="0"/>
            <a:r>
              <a:rPr lang="en-US" sz="1200" kern="1200" dirty="0">
                <a:solidFill>
                  <a:schemeClr val="tx1"/>
                </a:solidFill>
                <a:effectLst/>
                <a:latin typeface="+mn-lt"/>
                <a:ea typeface="+mn-ea"/>
                <a:cs typeface="+mn-cs"/>
              </a:rPr>
              <a:t>2012 – Automated Certificate of Eligibility (ACE)</a:t>
            </a:r>
          </a:p>
          <a:p>
            <a:pPr lvl="0"/>
            <a:r>
              <a:rPr lang="en-US" sz="1200" kern="1200" dirty="0">
                <a:solidFill>
                  <a:schemeClr val="tx1"/>
                </a:solidFill>
                <a:effectLst/>
                <a:latin typeface="+mn-lt"/>
                <a:ea typeface="+mn-ea"/>
                <a:cs typeface="+mn-cs"/>
              </a:rPr>
              <a:t>2014 – Electronic File Review</a:t>
            </a:r>
          </a:p>
          <a:p>
            <a:pPr lvl="0"/>
            <a:r>
              <a:rPr lang="en-US" sz="1200" kern="1200" dirty="0">
                <a:solidFill>
                  <a:schemeClr val="tx1"/>
                </a:solidFill>
                <a:effectLst/>
                <a:latin typeface="+mn-lt"/>
                <a:ea typeface="+mn-ea"/>
                <a:cs typeface="+mn-cs"/>
              </a:rPr>
              <a:t>2015 – National Work Que</a:t>
            </a:r>
          </a:p>
          <a:p>
            <a:pPr lvl="0"/>
            <a:r>
              <a:rPr lang="en-US" sz="1200" kern="1200" dirty="0">
                <a:solidFill>
                  <a:schemeClr val="tx1"/>
                </a:solidFill>
                <a:effectLst/>
                <a:latin typeface="+mn-lt"/>
                <a:ea typeface="+mn-ea"/>
                <a:cs typeface="+mn-cs"/>
              </a:rPr>
              <a:t>2016 – Funding Fee Payment System</a:t>
            </a:r>
          </a:p>
          <a:p>
            <a:pPr lvl="0"/>
            <a:r>
              <a:rPr lang="en-US" sz="1200" kern="1200" dirty="0">
                <a:solidFill>
                  <a:schemeClr val="tx1"/>
                </a:solidFill>
                <a:effectLst/>
                <a:latin typeface="+mn-lt"/>
                <a:ea typeface="+mn-ea"/>
                <a:cs typeface="+mn-cs"/>
              </a:rPr>
              <a:t>2017 – Updated Phone System</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3427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13: High Level VALERI Impacts</a:t>
            </a:r>
          </a:p>
          <a:p>
            <a:pPr lvl="0"/>
            <a:r>
              <a:rPr lang="en-US" sz="1200" kern="1200" dirty="0">
                <a:solidFill>
                  <a:schemeClr val="tx1"/>
                </a:solidFill>
                <a:effectLst/>
                <a:latin typeface="+mn-lt"/>
                <a:ea typeface="+mn-ea"/>
                <a:cs typeface="+mn-cs"/>
              </a:rPr>
              <a:t>For this audience focus on:</a:t>
            </a:r>
          </a:p>
          <a:p>
            <a:pPr lvl="1"/>
            <a:r>
              <a:rPr lang="en-US" sz="1200" kern="1200" dirty="0">
                <a:solidFill>
                  <a:schemeClr val="tx1"/>
                </a:solidFill>
                <a:effectLst/>
                <a:latin typeface="+mn-lt"/>
                <a:ea typeface="+mn-ea"/>
                <a:cs typeface="+mn-cs"/>
              </a:rPr>
              <a:t>Saved Time and Costs</a:t>
            </a:r>
          </a:p>
          <a:p>
            <a:pPr lvl="1"/>
            <a:r>
              <a:rPr lang="en-US" sz="1200" kern="1200" dirty="0">
                <a:solidFill>
                  <a:schemeClr val="tx1"/>
                </a:solidFill>
                <a:effectLst/>
                <a:latin typeface="+mn-lt"/>
                <a:ea typeface="+mn-ea"/>
                <a:cs typeface="+mn-cs"/>
              </a:rPr>
              <a:t>Improved Veteran Experience</a:t>
            </a:r>
          </a:p>
          <a:p>
            <a:pPr lvl="1"/>
            <a:r>
              <a:rPr lang="en-US" sz="1200" kern="1200" dirty="0">
                <a:solidFill>
                  <a:schemeClr val="tx1"/>
                </a:solidFill>
                <a:effectLst/>
                <a:latin typeface="+mn-lt"/>
                <a:ea typeface="+mn-ea"/>
                <a:cs typeface="+mn-cs"/>
              </a:rPr>
              <a:t>Modernized Business Process and System Usability</a:t>
            </a:r>
          </a:p>
          <a:p>
            <a:pPr lvl="1"/>
            <a:r>
              <a:rPr lang="en-US" sz="1200" kern="1200" dirty="0">
                <a:solidFill>
                  <a:schemeClr val="tx1"/>
                </a:solidFill>
                <a:effectLst/>
                <a:latin typeface="+mn-lt"/>
                <a:ea typeface="+mn-ea"/>
                <a:cs typeface="+mn-cs"/>
              </a:rPr>
              <a:t>Enhanced Business Intelligence, Data, Analytics, and Reporting</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0832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9 – VALERI: Background</a:t>
            </a:r>
          </a:p>
          <a:p>
            <a:pPr lvl="0"/>
            <a:r>
              <a:rPr lang="en-US" sz="1200" kern="1200" dirty="0">
                <a:solidFill>
                  <a:schemeClr val="tx1"/>
                </a:solidFill>
                <a:effectLst/>
                <a:latin typeface="+mn-lt"/>
                <a:ea typeface="+mn-ea"/>
                <a:cs typeface="+mn-cs"/>
              </a:rPr>
              <a:t>Deployed 2008</a:t>
            </a:r>
          </a:p>
          <a:p>
            <a:pPr lvl="0"/>
            <a:r>
              <a:rPr lang="en-US" sz="1200" kern="1200" dirty="0">
                <a:solidFill>
                  <a:schemeClr val="tx1"/>
                </a:solidFill>
                <a:effectLst/>
                <a:latin typeface="+mn-lt"/>
                <a:ea typeface="+mn-ea"/>
                <a:cs typeface="+mn-cs"/>
              </a:rPr>
              <a:t>Monitors VA-guaranteed loan information </a:t>
            </a:r>
          </a:p>
          <a:p>
            <a:pPr lvl="0"/>
            <a:r>
              <a:rPr lang="en-US" sz="1200" kern="1200" dirty="0">
                <a:solidFill>
                  <a:schemeClr val="tx1"/>
                </a:solidFill>
                <a:effectLst/>
                <a:latin typeface="+mn-lt"/>
                <a:ea typeface="+mn-ea"/>
                <a:cs typeface="+mn-cs"/>
              </a:rPr>
              <a:t>Enables servicers and the VA to work together</a:t>
            </a:r>
          </a:p>
          <a:p>
            <a:pPr lvl="0"/>
            <a:r>
              <a:rPr lang="en-US" sz="1200" kern="1200" dirty="0">
                <a:solidFill>
                  <a:schemeClr val="tx1"/>
                </a:solidFill>
                <a:effectLst/>
                <a:latin typeface="+mn-lt"/>
                <a:ea typeface="+mn-ea"/>
                <a:cs typeface="+mn-cs"/>
              </a:rPr>
              <a:t>Four main focuses of VALERI</a:t>
            </a:r>
          </a:p>
          <a:p>
            <a:pPr lvl="1"/>
            <a:r>
              <a:rPr lang="en-US" sz="1200" kern="1200" dirty="0">
                <a:solidFill>
                  <a:schemeClr val="tx1"/>
                </a:solidFill>
                <a:effectLst/>
                <a:latin typeface="+mn-lt"/>
                <a:ea typeface="+mn-ea"/>
                <a:cs typeface="+mn-cs"/>
              </a:rPr>
              <a:t>Mission Oriented</a:t>
            </a:r>
          </a:p>
          <a:p>
            <a:pPr lvl="1"/>
            <a:r>
              <a:rPr lang="en-US" sz="1200" kern="1200" dirty="0">
                <a:solidFill>
                  <a:schemeClr val="tx1"/>
                </a:solidFill>
                <a:effectLst/>
                <a:latin typeface="+mn-lt"/>
                <a:ea typeface="+mn-ea"/>
                <a:cs typeface="+mn-cs"/>
              </a:rPr>
              <a:t>Veteran Focused</a:t>
            </a:r>
          </a:p>
          <a:p>
            <a:pPr lvl="1"/>
            <a:r>
              <a:rPr lang="en-US" sz="1200" kern="1200" dirty="0">
                <a:solidFill>
                  <a:schemeClr val="tx1"/>
                </a:solidFill>
                <a:effectLst/>
                <a:latin typeface="+mn-lt"/>
                <a:ea typeface="+mn-ea"/>
                <a:cs typeface="+mn-cs"/>
              </a:rPr>
              <a:t>Oversight Enabled</a:t>
            </a:r>
          </a:p>
          <a:p>
            <a:pPr lvl="1"/>
            <a:r>
              <a:rPr lang="en-US" sz="1200" kern="1200" dirty="0">
                <a:solidFill>
                  <a:schemeClr val="tx1"/>
                </a:solidFill>
                <a:effectLst/>
                <a:latin typeface="+mn-lt"/>
                <a:ea typeface="+mn-ea"/>
                <a:cs typeface="+mn-cs"/>
              </a:rPr>
              <a:t>Communication Center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8150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Slide 7 – What are the Objectives for LGY Transformation?</a:t>
            </a:r>
          </a:p>
          <a:p>
            <a:pPr lvl="0"/>
            <a:r>
              <a:rPr lang="en-US" sz="1200" kern="1200" dirty="0">
                <a:solidFill>
                  <a:schemeClr val="tx1"/>
                </a:solidFill>
                <a:effectLst/>
                <a:latin typeface="+mn-lt"/>
                <a:ea typeface="+mn-ea"/>
                <a:cs typeface="+mn-cs"/>
              </a:rPr>
              <a:t>High level Goals</a:t>
            </a:r>
          </a:p>
          <a:p>
            <a:pPr lvl="1"/>
            <a:r>
              <a:rPr lang="en-US" sz="1200" kern="1200" dirty="0">
                <a:solidFill>
                  <a:schemeClr val="tx1"/>
                </a:solidFill>
                <a:effectLst/>
                <a:latin typeface="+mn-lt"/>
                <a:ea typeface="+mn-ea"/>
                <a:cs typeface="+mn-cs"/>
              </a:rPr>
              <a:t>Improve program performance to increase Veteran usage and VA loan market-share.</a:t>
            </a:r>
          </a:p>
          <a:p>
            <a:pPr lvl="1"/>
            <a:r>
              <a:rPr lang="en-US" sz="1200" kern="1200" dirty="0">
                <a:solidFill>
                  <a:schemeClr val="tx1"/>
                </a:solidFill>
                <a:effectLst/>
                <a:latin typeface="+mn-lt"/>
                <a:ea typeface="+mn-ea"/>
                <a:cs typeface="+mn-cs"/>
              </a:rPr>
              <a:t>Increase Veteran and industry partner knowledge of, and preference for, the VA Home Loan program.</a:t>
            </a:r>
          </a:p>
          <a:p>
            <a:pPr lvl="1"/>
            <a:r>
              <a:rPr lang="en-US" sz="1200" kern="1200" dirty="0">
                <a:solidFill>
                  <a:schemeClr val="tx1"/>
                </a:solidFill>
                <a:effectLst/>
                <a:latin typeface="+mn-lt"/>
                <a:ea typeface="+mn-ea"/>
                <a:cs typeface="+mn-cs"/>
              </a:rPr>
              <a:t>Increase industry awareness and ease of use for the VA Home Loan program.</a:t>
            </a:r>
          </a:p>
          <a:p>
            <a:pPr lvl="1"/>
            <a:r>
              <a:rPr lang="en-US" sz="1200" kern="1200" dirty="0">
                <a:solidFill>
                  <a:schemeClr val="tx1"/>
                </a:solidFill>
                <a:effectLst/>
                <a:latin typeface="+mn-lt"/>
                <a:ea typeface="+mn-ea"/>
                <a:cs typeface="+mn-cs"/>
              </a:rPr>
              <a:t>Foster innovation that continually enhances mortgage processes and technology.</a:t>
            </a:r>
          </a:p>
          <a:p>
            <a:pPr lvl="1"/>
            <a:r>
              <a:rPr lang="en-US" sz="1200" kern="1200" dirty="0">
                <a:solidFill>
                  <a:schemeClr val="tx1"/>
                </a:solidFill>
                <a:effectLst/>
                <a:latin typeface="+mn-lt"/>
                <a:ea typeface="+mn-ea"/>
                <a:cs typeface="+mn-cs"/>
              </a:rPr>
              <a:t>Deliver innovative, accessible and competitive products to meet Veteran needs. </a:t>
            </a:r>
          </a:p>
          <a:p>
            <a:pPr lvl="1"/>
            <a:r>
              <a:rPr lang="en-US" sz="1200" kern="1200" dirty="0">
                <a:solidFill>
                  <a:schemeClr val="tx1"/>
                </a:solidFill>
                <a:effectLst/>
                <a:latin typeface="+mn-lt"/>
                <a:ea typeface="+mn-ea"/>
                <a:cs typeface="+mn-cs"/>
              </a:rPr>
              <a:t>Deliver a quality customer experience to Veterans through consistent, timely, and accurate benefits and service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4003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7432" lvl="2" indent="0" defTabSz="457200">
              <a:spcBef>
                <a:spcPts val="1000"/>
              </a:spcBef>
              <a:buFont typeface="Arial" panose="020B0604020202020204" pitchFamily="34" charset="0"/>
              <a:buNone/>
            </a:pPr>
            <a:endParaRPr lang="en-US" sz="1600" dirty="0">
              <a:solidFill>
                <a:srgbClr val="26262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7313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Can we include any high-level detail on how this will be collected? Could help ease lenders' concerns about number of systems they may need to acc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2433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Do we know when in the VA process and through what system this will be collected? Would be helpful to include (I do not have the answers unfortunatel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6757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0" y="-16565"/>
            <a:ext cx="12192000" cy="17432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6" name="TextBox 5"/>
          <p:cNvSpPr txBox="1">
            <a:spLocks noChangeArrowheads="1"/>
          </p:cNvSpPr>
          <p:nvPr/>
        </p:nvSpPr>
        <p:spPr bwMode="auto">
          <a:xfrm>
            <a:off x="3208867" y="6259513"/>
            <a:ext cx="5003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a:solidFill>
                  <a:srgbClr val="7F7F7F"/>
                </a:solidFill>
                <a:cs typeface="+mn-cs"/>
              </a:rPr>
              <a:t>This document contains U.S. Department of Veterans Affairs proprietary business information and may not be reproduced without permission.</a:t>
            </a:r>
          </a:p>
        </p:txBody>
      </p:sp>
      <p:sp>
        <p:nvSpPr>
          <p:cNvPr id="8"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0" name="Slide Number Placeholder 5"/>
          <p:cNvSpPr txBox="1">
            <a:spLocks/>
          </p:cNvSpPr>
          <p:nvPr userDrawn="1"/>
        </p:nvSpPr>
        <p:spPr>
          <a:xfrm>
            <a:off x="9250440" y="6400139"/>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pPr/>
              <a:t>‹#›</a:t>
            </a:fld>
            <a:endParaRPr lang="en-US" sz="1200" dirty="0"/>
          </a:p>
        </p:txBody>
      </p:sp>
      <p:pic>
        <p:nvPicPr>
          <p:cNvPr id="11" name="Picture 10" descr="MyVA.color.vector.taglin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75639" y="819136"/>
            <a:ext cx="6738176" cy="1815106"/>
          </a:xfrm>
          <a:prstGeom prst="rect">
            <a:avLst/>
          </a:prstGeom>
        </p:spPr>
      </p:pic>
      <p:sp>
        <p:nvSpPr>
          <p:cNvPr id="12" name="Rectangle 11"/>
          <p:cNvSpPr/>
          <p:nvPr userDrawn="1"/>
        </p:nvSpPr>
        <p:spPr>
          <a:xfrm>
            <a:off x="0" y="5376863"/>
            <a:ext cx="12192000" cy="14811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14" name="Title 11"/>
          <p:cNvSpPr>
            <a:spLocks noGrp="1"/>
          </p:cNvSpPr>
          <p:nvPr>
            <p:ph type="ctrTitle"/>
          </p:nvPr>
        </p:nvSpPr>
        <p:spPr>
          <a:xfrm>
            <a:off x="944880" y="2439036"/>
            <a:ext cx="10363200" cy="1470025"/>
          </a:xfrm>
        </p:spPr>
        <p:txBody>
          <a:bodyPr/>
          <a:lstStyle/>
          <a:p>
            <a:r>
              <a:rPr lang="en-US">
                <a:solidFill>
                  <a:srgbClr val="0083BE"/>
                </a:solidFill>
              </a:rPr>
              <a:t>Click to edit Master title style</a:t>
            </a:r>
            <a:endParaRPr lang="en-US" dirty="0"/>
          </a:p>
        </p:txBody>
      </p:sp>
      <p:pic>
        <p:nvPicPr>
          <p:cNvPr id="15" name="Picture 14" descr="3. VA-PRIMARY-HORIZONTAL-WHITE-VECTOR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0" y="5687901"/>
            <a:ext cx="5181600" cy="865218"/>
          </a:xfrm>
          <a:prstGeom prst="rect">
            <a:avLst/>
          </a:prstGeom>
        </p:spPr>
      </p:pic>
      <p:sp>
        <p:nvSpPr>
          <p:cNvPr id="16" name="TextBox 15"/>
          <p:cNvSpPr txBox="1"/>
          <p:nvPr userDrawn="1"/>
        </p:nvSpPr>
        <p:spPr>
          <a:xfrm>
            <a:off x="186725" y="5935844"/>
            <a:ext cx="5909275" cy="400110"/>
          </a:xfrm>
          <a:prstGeom prst="rect">
            <a:avLst/>
          </a:prstGeom>
          <a:noFill/>
        </p:spPr>
        <p:txBody>
          <a:bodyPr wrap="square" rtlCol="0">
            <a:spAutoFit/>
          </a:bodyPr>
          <a:lstStyle/>
          <a:p>
            <a:r>
              <a:rPr lang="en-US" sz="2000" b="1" dirty="0">
                <a:solidFill>
                  <a:schemeClr val="bg1"/>
                </a:solidFill>
                <a:latin typeface="Myriad Pro"/>
              </a:rPr>
              <a:t>Veterans Benefits Administration</a:t>
            </a:r>
          </a:p>
        </p:txBody>
      </p:sp>
    </p:spTree>
    <p:extLst>
      <p:ext uri="{BB962C8B-B14F-4D97-AF65-F5344CB8AC3E}">
        <p14:creationId xmlns:p14="http://schemas.microsoft.com/office/powerpoint/2010/main" val="19155483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3"/>
          <p:cNvSpPr>
            <a:spLocks noGrp="1"/>
          </p:cNvSpPr>
          <p:nvPr>
            <p:ph type="dt" sz="half" idx="10"/>
          </p:nvPr>
        </p:nvSpPr>
        <p:spPr>
          <a:xfrm>
            <a:off x="914400" y="6248400"/>
            <a:ext cx="2540000" cy="457200"/>
          </a:xfrm>
          <a:prstGeom prst="rect">
            <a:avLst/>
          </a:prstGeom>
        </p:spPr>
        <p:txBody>
          <a:bodyPr/>
          <a:lstStyle>
            <a:lvl1pPr>
              <a:defRPr>
                <a:ea typeface="MS PGothic" pitchFamily="34" charset="-128"/>
                <a:cs typeface="+mn-cs"/>
              </a:defRPr>
            </a:lvl1pPr>
          </a:lstStyle>
          <a:p>
            <a:fld id="{47184EE2-098F-47FD-A3F0-C886E0E3775D}" type="datetime1">
              <a:rPr lang="en-US" smtClean="0"/>
              <a:t>07/10/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8829B6C4-39F8-4822-AF44-3E1909BEC45D}" type="slidenum">
              <a:rPr lang="en-US" smtClean="0"/>
              <a:t>‹#›</a:t>
            </a:fld>
            <a:endParaRPr lang="en-US" dirty="0"/>
          </a:p>
        </p:txBody>
      </p:sp>
    </p:spTree>
    <p:extLst>
      <p:ext uri="{BB962C8B-B14F-4D97-AF65-F5344CB8AC3E}">
        <p14:creationId xmlns:p14="http://schemas.microsoft.com/office/powerpoint/2010/main" val="19744025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918" y="1795463"/>
            <a:ext cx="11576049" cy="356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userDrawn="1"/>
        </p:nvSpPr>
        <p:spPr>
          <a:xfrm>
            <a:off x="304800" y="5867400"/>
            <a:ext cx="11578165" cy="804862"/>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anchor="ctr"/>
          <a:lstStyle/>
          <a:p>
            <a:pPr algn="ctr" defTabSz="457200" fontAlgn="base">
              <a:spcBef>
                <a:spcPct val="0"/>
              </a:spcBef>
              <a:spcAft>
                <a:spcPct val="0"/>
              </a:spcAft>
              <a:defRPr/>
            </a:pPr>
            <a:endParaRPr lang="en-US" sz="1800" dirty="0">
              <a:solidFill>
                <a:prstClr val="black"/>
              </a:solidFill>
            </a:endParaRPr>
          </a:p>
        </p:txBody>
      </p:sp>
      <p:sp>
        <p:nvSpPr>
          <p:cNvPr id="6" name="TextBox 5"/>
          <p:cNvSpPr txBox="1"/>
          <p:nvPr userDrawn="1"/>
        </p:nvSpPr>
        <p:spPr>
          <a:xfrm>
            <a:off x="491067" y="6131719"/>
            <a:ext cx="5746751" cy="277813"/>
          </a:xfrm>
          <a:prstGeom prst="rect">
            <a:avLst/>
          </a:prstGeom>
          <a:noFill/>
        </p:spPr>
        <p:txBody>
          <a:bodyPr>
            <a:spAutoFit/>
          </a:bodyPr>
          <a:lstStyle/>
          <a:p>
            <a:pPr defTabSz="457200">
              <a:defRPr/>
            </a:pPr>
            <a:r>
              <a:rPr lang="en-US" sz="1200" spc="100" dirty="0">
                <a:solidFill>
                  <a:prstClr val="white">
                    <a:lumMod val="65000"/>
                  </a:prstClr>
                </a:solidFill>
              </a:rPr>
              <a:t>VETERANS BENEFITS ADMINISTRATION</a:t>
            </a:r>
          </a:p>
        </p:txBody>
      </p:sp>
      <p:pic>
        <p:nvPicPr>
          <p:cNvPr id="7" name="Picture 11" descr="VA_PrimaryLogo_transparent_rgb.ti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41318" y="5977731"/>
            <a:ext cx="2711449"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Header_04.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4800" y="220663"/>
            <a:ext cx="115824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21425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997295"/>
            <a:ext cx="6815667"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4" name="Text Placeholder 3"/>
          <p:cNvSpPr>
            <a:spLocks noGrp="1"/>
          </p:cNvSpPr>
          <p:nvPr>
            <p:ph type="body" sz="half" idx="2"/>
          </p:nvPr>
        </p:nvSpPr>
        <p:spPr>
          <a:xfrm>
            <a:off x="609601" y="1997296"/>
            <a:ext cx="4011084"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0"/>
          </p:nvPr>
        </p:nvSpPr>
        <p:spPr/>
        <p:txBody>
          <a:bodyPr/>
          <a:lstStyle>
            <a:lvl1pPr>
              <a:defRPr/>
            </a:lvl1pPr>
          </a:lstStyle>
          <a:p>
            <a:pPr>
              <a:defRPr/>
            </a:pPr>
            <a:fld id="{040F8219-7C61-4C6E-A2C8-75729E47F9AB}" type="slidenum">
              <a:rPr lang="en-US"/>
              <a:pPr>
                <a:defRPr/>
              </a:pPr>
              <a:t>‹#›</a:t>
            </a:fld>
            <a:endParaRPr lang="en-US" dirty="0"/>
          </a:p>
        </p:txBody>
      </p:sp>
    </p:spTree>
    <p:extLst>
      <p:ext uri="{BB962C8B-B14F-4D97-AF65-F5344CB8AC3E}">
        <p14:creationId xmlns:p14="http://schemas.microsoft.com/office/powerpoint/2010/main" val="1783607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2391825"/>
            <a:ext cx="7315200" cy="272403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682602"/>
            <a:ext cx="7315200" cy="6135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Title 4"/>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lvl1pPr>
              <a:defRPr/>
            </a:lvl1pPr>
          </a:lstStyle>
          <a:p>
            <a:pPr>
              <a:defRPr/>
            </a:pPr>
            <a:fld id="{6465477C-2A8A-4738-B1C5-762CB0F5F16D}" type="slidenum">
              <a:rPr lang="en-US"/>
              <a:pPr>
                <a:defRPr/>
              </a:pPr>
              <a:t>‹#›</a:t>
            </a:fld>
            <a:endParaRPr lang="en-US" dirty="0"/>
          </a:p>
        </p:txBody>
      </p:sp>
    </p:spTree>
    <p:extLst>
      <p:ext uri="{BB962C8B-B14F-4D97-AF65-F5344CB8AC3E}">
        <p14:creationId xmlns:p14="http://schemas.microsoft.com/office/powerpoint/2010/main" val="3980003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476999"/>
            <a:ext cx="2844800" cy="274320"/>
          </a:xfrm>
          <a:prstGeom prst="rect">
            <a:avLst/>
          </a:prstGeom>
        </p:spPr>
        <p:txBody>
          <a:bodyPr/>
          <a:lstStyle/>
          <a:p>
            <a:fld id="{5F5863CD-9B6D-4C21-8573-2345ED3C490B}" type="datetimeFigureOut">
              <a:rPr lang="en-US" smtClean="0"/>
              <a:t>07/10/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06AC356-B650-49AE-978E-E4BA21000A02}" type="slidenum">
              <a:rPr lang="en-US" smtClean="0"/>
              <a:t>‹#›</a:t>
            </a:fld>
            <a:endParaRPr lang="en-US" dirty="0"/>
          </a:p>
        </p:txBody>
      </p:sp>
    </p:spTree>
    <p:extLst>
      <p:ext uri="{BB962C8B-B14F-4D97-AF65-F5344CB8AC3E}">
        <p14:creationId xmlns:p14="http://schemas.microsoft.com/office/powerpoint/2010/main" val="21313325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0" y="-16565"/>
            <a:ext cx="12192000" cy="17432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6" name="TextBox 5"/>
          <p:cNvSpPr txBox="1">
            <a:spLocks noChangeArrowheads="1"/>
          </p:cNvSpPr>
          <p:nvPr/>
        </p:nvSpPr>
        <p:spPr bwMode="auto">
          <a:xfrm>
            <a:off x="3208867" y="6259513"/>
            <a:ext cx="5003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a:solidFill>
                  <a:srgbClr val="7F7F7F"/>
                </a:solidFill>
              </a:rPr>
              <a:t>This document contains U.S. Department of Veterans Affairs proprietary business information and may not be reproduced without permission.</a:t>
            </a:r>
          </a:p>
        </p:txBody>
      </p:sp>
      <p:sp>
        <p:nvSpPr>
          <p:cNvPr id="8"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0" name="Slide Number Placeholder 5"/>
          <p:cNvSpPr txBox="1">
            <a:spLocks/>
          </p:cNvSpPr>
          <p:nvPr userDrawn="1"/>
        </p:nvSpPr>
        <p:spPr>
          <a:xfrm>
            <a:off x="9250440" y="6400139"/>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pic>
        <p:nvPicPr>
          <p:cNvPr id="11" name="Picture 10" descr="MyVA.color.vector.taglin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75639" y="819136"/>
            <a:ext cx="6738176" cy="1815106"/>
          </a:xfrm>
          <a:prstGeom prst="rect">
            <a:avLst/>
          </a:prstGeom>
        </p:spPr>
      </p:pic>
      <p:sp>
        <p:nvSpPr>
          <p:cNvPr id="12" name="Rectangle 11"/>
          <p:cNvSpPr/>
          <p:nvPr userDrawn="1"/>
        </p:nvSpPr>
        <p:spPr>
          <a:xfrm>
            <a:off x="0" y="5376863"/>
            <a:ext cx="12192000" cy="14811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14" name="Title 11"/>
          <p:cNvSpPr>
            <a:spLocks noGrp="1"/>
          </p:cNvSpPr>
          <p:nvPr>
            <p:ph type="ctrTitle"/>
          </p:nvPr>
        </p:nvSpPr>
        <p:spPr>
          <a:xfrm>
            <a:off x="944880" y="2439036"/>
            <a:ext cx="10363200" cy="1470025"/>
          </a:xfrm>
        </p:spPr>
        <p:txBody>
          <a:bodyPr/>
          <a:lstStyle/>
          <a:p>
            <a:r>
              <a:rPr lang="en-US">
                <a:solidFill>
                  <a:srgbClr val="0083BE"/>
                </a:solidFill>
              </a:rPr>
              <a:t>Click to edit Master title style</a:t>
            </a:r>
            <a:endParaRPr lang="en-US" dirty="0"/>
          </a:p>
        </p:txBody>
      </p:sp>
      <p:pic>
        <p:nvPicPr>
          <p:cNvPr id="15" name="Picture 14" descr="3. VA-PRIMARY-HORIZONTAL-WHITE-VECTOR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0" y="5687901"/>
            <a:ext cx="5181600" cy="865218"/>
          </a:xfrm>
          <a:prstGeom prst="rect">
            <a:avLst/>
          </a:prstGeom>
        </p:spPr>
      </p:pic>
      <p:sp>
        <p:nvSpPr>
          <p:cNvPr id="16" name="TextBox 15"/>
          <p:cNvSpPr txBox="1"/>
          <p:nvPr userDrawn="1"/>
        </p:nvSpPr>
        <p:spPr>
          <a:xfrm>
            <a:off x="186725" y="5935844"/>
            <a:ext cx="5909275" cy="400110"/>
          </a:xfrm>
          <a:prstGeom prst="rect">
            <a:avLst/>
          </a:prstGeom>
          <a:noFill/>
        </p:spPr>
        <p:txBody>
          <a:bodyPr wrap="square" rtlCol="0">
            <a:spAutoFit/>
          </a:bodyPr>
          <a:lstStyle/>
          <a:p>
            <a:r>
              <a:rPr lang="en-US" sz="2000" b="1" dirty="0">
                <a:solidFill>
                  <a:prstClr val="white"/>
                </a:solidFill>
                <a:latin typeface="Myriad Pro"/>
              </a:rPr>
              <a:t>Veterans Benefits Administration</a:t>
            </a:r>
          </a:p>
        </p:txBody>
      </p:sp>
    </p:spTree>
    <p:extLst>
      <p:ext uri="{BB962C8B-B14F-4D97-AF65-F5344CB8AC3E}">
        <p14:creationId xmlns:p14="http://schemas.microsoft.com/office/powerpoint/2010/main" val="41228674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a:defRPr>
                <a:ea typeface="MS PGothic" pitchFamily="34" charset="-128"/>
                <a:cs typeface="+mn-cs"/>
              </a:defRPr>
            </a:lvl1pPr>
          </a:lstStyle>
          <a:p>
            <a:fld id="{CD38BB02-19DD-44A7-8E9D-B6DC28DD4C3F}" type="datetime1">
              <a:rPr lang="en-US" smtClean="0">
                <a:solidFill>
                  <a:prstClr val="black"/>
                </a:solidFill>
              </a:rPr>
              <a:pPr/>
              <a:t>07/10/2019</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lvl1pPr>
              <a:defRPr/>
            </a:lvl1pPr>
          </a:lstStyle>
          <a:p>
            <a:fld id="{8829B6C4-39F8-4822-AF44-3E1909BEC45D}" type="slidenum">
              <a:rPr lang="en-US" smtClean="0"/>
              <a:pPr/>
              <a:t>‹#›</a:t>
            </a:fld>
            <a:endParaRPr lang="en-US" dirty="0"/>
          </a:p>
        </p:txBody>
      </p:sp>
    </p:spTree>
    <p:extLst>
      <p:ext uri="{BB962C8B-B14F-4D97-AF65-F5344CB8AC3E}">
        <p14:creationId xmlns:p14="http://schemas.microsoft.com/office/powerpoint/2010/main" val="9950482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a:xfrm>
            <a:off x="609600" y="6356351"/>
            <a:ext cx="2844800" cy="365125"/>
          </a:xfrm>
          <a:prstGeom prst="rect">
            <a:avLst/>
          </a:prstGeom>
        </p:spPr>
        <p:txBody>
          <a:bodyPr/>
          <a:lstStyle>
            <a:lvl1pPr>
              <a:defRPr>
                <a:ea typeface="MS PGothic" pitchFamily="34" charset="-128"/>
                <a:cs typeface="+mn-cs"/>
              </a:defRPr>
            </a:lvl1pPr>
          </a:lstStyle>
          <a:p>
            <a:fld id="{A14036B6-9E06-4FBC-B9BB-87160A972427}" type="datetime1">
              <a:rPr lang="en-US" smtClean="0">
                <a:solidFill>
                  <a:prstClr val="black"/>
                </a:solidFill>
              </a:rPr>
              <a:pPr/>
              <a:t>07/10/2019</a:t>
            </a:fld>
            <a:endParaRPr lang="en-US" dirty="0">
              <a:solidFill>
                <a:prstClr val="black"/>
              </a:solidFill>
            </a:endParaRPr>
          </a:p>
        </p:txBody>
      </p:sp>
      <p:sp>
        <p:nvSpPr>
          <p:cNvPr id="4" name="Footer Placeholder 4"/>
          <p:cNvSpPr>
            <a:spLocks noGrp="1"/>
          </p:cNvSpPr>
          <p:nvPr>
            <p:ph type="ftr" sz="quarter" idx="11"/>
          </p:nvPr>
        </p:nvSpPr>
        <p:spPr/>
        <p:txBody>
          <a:bodyPr/>
          <a:lstStyle>
            <a:lvl1pPr>
              <a:defRPr/>
            </a:lvl1pPr>
          </a:lstStyle>
          <a:p>
            <a:endParaRPr lang="en-US" dirty="0">
              <a:solidFill>
                <a:prstClr val="black">
                  <a:lumMod val="50000"/>
                  <a:lumOff val="50000"/>
                </a:prstClr>
              </a:solidFill>
            </a:endParaRPr>
          </a:p>
        </p:txBody>
      </p:sp>
      <p:sp>
        <p:nvSpPr>
          <p:cNvPr id="5" name="Slide Number Placeholder 5"/>
          <p:cNvSpPr>
            <a:spLocks noGrp="1"/>
          </p:cNvSpPr>
          <p:nvPr>
            <p:ph type="sldNum" sz="quarter" idx="12"/>
          </p:nvPr>
        </p:nvSpPr>
        <p:spPr/>
        <p:txBody>
          <a:bodyPr/>
          <a:lstStyle>
            <a:lvl1pPr>
              <a:defRPr/>
            </a:lvl1pPr>
          </a:lstStyle>
          <a:p>
            <a:fld id="{8829B6C4-39F8-4822-AF44-3E1909BEC45D}" type="slidenum">
              <a:rPr lang="en-US" smtClean="0"/>
              <a:pPr/>
              <a:t>‹#›</a:t>
            </a:fld>
            <a:endParaRPr lang="en-US" dirty="0"/>
          </a:p>
        </p:txBody>
      </p:sp>
    </p:spTree>
    <p:extLst>
      <p:ext uri="{BB962C8B-B14F-4D97-AF65-F5344CB8AC3E}">
        <p14:creationId xmlns:p14="http://schemas.microsoft.com/office/powerpoint/2010/main" val="34425713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00201"/>
            <a:ext cx="53848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lvl1pPr>
              <a:defRPr/>
            </a:lvl1pPr>
          </a:lstStyle>
          <a:p>
            <a:endParaRPr lang="en-US" dirty="0">
              <a:solidFill>
                <a:prstClr val="black">
                  <a:lumMod val="50000"/>
                  <a:lumOff val="50000"/>
                </a:prstClr>
              </a:solidFill>
            </a:endParaRPr>
          </a:p>
        </p:txBody>
      </p:sp>
      <p:sp>
        <p:nvSpPr>
          <p:cNvPr id="6" name="Slide Number Placeholder 5"/>
          <p:cNvSpPr>
            <a:spLocks noGrp="1"/>
          </p:cNvSpPr>
          <p:nvPr>
            <p:ph type="sldNum" sz="quarter" idx="11"/>
          </p:nvPr>
        </p:nvSpPr>
        <p:spPr/>
        <p:txBody>
          <a:bodyPr/>
          <a:lstStyle>
            <a:lvl1pPr>
              <a:defRPr/>
            </a:lvl1pPr>
          </a:lstStyle>
          <a:p>
            <a:fld id="{8829B6C4-39F8-4822-AF44-3E1909BEC45D}" type="slidenum">
              <a:rPr lang="en-US" smtClean="0"/>
              <a:pPr/>
              <a:t>‹#›</a:t>
            </a:fld>
            <a:endParaRPr lang="en-US" dirty="0"/>
          </a:p>
        </p:txBody>
      </p:sp>
    </p:spTree>
    <p:extLst>
      <p:ext uri="{BB962C8B-B14F-4D97-AF65-F5344CB8AC3E}">
        <p14:creationId xmlns:p14="http://schemas.microsoft.com/office/powerpoint/2010/main" val="20302668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535113"/>
            <a:ext cx="5386917" cy="639762"/>
          </a:xfrm>
        </p:spPr>
        <p:txBody>
          <a:bodyPr anchor="b">
            <a:normAutofit/>
          </a:bodyPr>
          <a:lstStyle>
            <a:lvl1pPr marL="0" indent="0">
              <a:buNone/>
              <a:defRPr sz="1800" b="1" cap="all" spc="5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b">
            <a:normAutofit/>
          </a:bodyPr>
          <a:lstStyle>
            <a:lvl1pPr marL="0" indent="0">
              <a:buNone/>
              <a:defRPr sz="1800" b="1" cap="all" spc="5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000"/>
            </a:lvl1pPr>
            <a:lvl2pPr>
              <a:defRPr sz="1800"/>
            </a:lvl2pPr>
            <a:lvl3pPr>
              <a:defRPr sz="17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4"/>
          <p:cNvSpPr>
            <a:spLocks noGrp="1"/>
          </p:cNvSpPr>
          <p:nvPr>
            <p:ph type="ftr" sz="quarter" idx="10"/>
          </p:nvPr>
        </p:nvSpPr>
        <p:spPr/>
        <p:txBody>
          <a:bodyPr/>
          <a:lstStyle>
            <a:lvl1pPr>
              <a:defRPr/>
            </a:lvl1pPr>
          </a:lstStyle>
          <a:p>
            <a:endParaRPr lang="en-US" dirty="0">
              <a:solidFill>
                <a:prstClr val="black">
                  <a:lumMod val="50000"/>
                  <a:lumOff val="50000"/>
                </a:prstClr>
              </a:solidFill>
            </a:endParaRPr>
          </a:p>
        </p:txBody>
      </p:sp>
      <p:sp>
        <p:nvSpPr>
          <p:cNvPr id="8" name="Slide Number Placeholder 5"/>
          <p:cNvSpPr>
            <a:spLocks noGrp="1"/>
          </p:cNvSpPr>
          <p:nvPr>
            <p:ph type="sldNum" sz="quarter" idx="11"/>
          </p:nvPr>
        </p:nvSpPr>
        <p:spPr/>
        <p:txBody>
          <a:bodyPr/>
          <a:lstStyle>
            <a:lvl1pPr>
              <a:defRPr/>
            </a:lvl1pPr>
          </a:lstStyle>
          <a:p>
            <a:fld id="{8829B6C4-39F8-4822-AF44-3E1909BEC45D}" type="slidenum">
              <a:rPr lang="en-US" smtClean="0"/>
              <a:pPr/>
              <a:t>‹#›</a:t>
            </a:fld>
            <a:endParaRPr lang="en-US" dirty="0"/>
          </a:p>
        </p:txBody>
      </p:sp>
    </p:spTree>
    <p:extLst>
      <p:ext uri="{BB962C8B-B14F-4D97-AF65-F5344CB8AC3E}">
        <p14:creationId xmlns:p14="http://schemas.microsoft.com/office/powerpoint/2010/main" val="39926833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a:defRPr>
                <a:ea typeface="MS PGothic" pitchFamily="34" charset="-128"/>
                <a:cs typeface="+mn-cs"/>
              </a:defRPr>
            </a:lvl1pPr>
          </a:lstStyle>
          <a:p>
            <a:fld id="{CD38BB02-19DD-44A7-8E9D-B6DC28DD4C3F}" type="datetime1">
              <a:rPr lang="en-US" smtClean="0"/>
              <a:t>07/10/2019</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8829B6C4-39F8-4822-AF44-3E1909BEC45D}" type="slidenum">
              <a:rPr lang="en-US" smtClean="0"/>
              <a:t>‹#›</a:t>
            </a:fld>
            <a:endParaRPr lang="en-US" dirty="0"/>
          </a:p>
        </p:txBody>
      </p:sp>
    </p:spTree>
    <p:extLst>
      <p:ext uri="{BB962C8B-B14F-4D97-AF65-F5344CB8AC3E}">
        <p14:creationId xmlns:p14="http://schemas.microsoft.com/office/powerpoint/2010/main" val="16909653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1"/>
            <a:ext cx="6690461" cy="601679"/>
          </a:xfrm>
        </p:spPr>
        <p:txBody>
          <a:bodyPr anchor="b">
            <a:norm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766733" y="1435101"/>
            <a:ext cx="6815667" cy="4691063"/>
          </a:xfrm>
        </p:spPr>
        <p:txBody>
          <a:bodyPr/>
          <a:lstStyle>
            <a:lvl1pPr>
              <a:defRPr sz="2400">
                <a:solidFill>
                  <a:schemeClr val="tx1">
                    <a:lumMod val="65000"/>
                    <a:lumOff val="35000"/>
                  </a:schemeClr>
                </a:solidFill>
              </a:defRPr>
            </a:lvl1pPr>
            <a:lvl2pPr>
              <a:defRPr sz="2200">
                <a:solidFill>
                  <a:schemeClr val="tx1">
                    <a:lumMod val="65000"/>
                    <a:lumOff val="35000"/>
                  </a:schemeClr>
                </a:solidFill>
              </a:defRPr>
            </a:lvl2pPr>
            <a:lvl3pPr>
              <a:defRPr sz="2000">
                <a:solidFill>
                  <a:schemeClr val="tx1">
                    <a:lumMod val="65000"/>
                    <a:lumOff val="35000"/>
                  </a:schemeClr>
                </a:solidFill>
              </a:defRPr>
            </a:lvl3pPr>
            <a:lvl4pPr>
              <a:defRPr sz="1800">
                <a:solidFill>
                  <a:schemeClr val="tx1">
                    <a:lumMod val="65000"/>
                    <a:lumOff val="35000"/>
                  </a:schemeClr>
                </a:solidFill>
              </a:defRPr>
            </a:lvl4pPr>
            <a:lvl5pPr>
              <a:defRPr sz="1600">
                <a:solidFill>
                  <a:schemeClr val="tx1">
                    <a:lumMod val="65000"/>
                    <a:lumOff val="3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endParaRPr lang="en-US" dirty="0">
              <a:solidFill>
                <a:prstClr val="black">
                  <a:lumMod val="50000"/>
                  <a:lumOff val="50000"/>
                </a:prstClr>
              </a:solidFill>
            </a:endParaRPr>
          </a:p>
        </p:txBody>
      </p:sp>
      <p:sp>
        <p:nvSpPr>
          <p:cNvPr id="6" name="Slide Number Placeholder 5"/>
          <p:cNvSpPr>
            <a:spLocks noGrp="1"/>
          </p:cNvSpPr>
          <p:nvPr>
            <p:ph type="sldNum" sz="quarter" idx="11"/>
          </p:nvPr>
        </p:nvSpPr>
        <p:spPr/>
        <p:txBody>
          <a:bodyPr/>
          <a:lstStyle>
            <a:lvl1pPr>
              <a:defRPr/>
            </a:lvl1pPr>
          </a:lstStyle>
          <a:p>
            <a:fld id="{8829B6C4-39F8-4822-AF44-3E1909BEC45D}" type="slidenum">
              <a:rPr lang="en-US" smtClean="0"/>
              <a:pPr/>
              <a:t>‹#›</a:t>
            </a:fld>
            <a:endParaRPr lang="en-US" dirty="0"/>
          </a:p>
        </p:txBody>
      </p:sp>
    </p:spTree>
    <p:extLst>
      <p:ext uri="{BB962C8B-B14F-4D97-AF65-F5344CB8AC3E}">
        <p14:creationId xmlns:p14="http://schemas.microsoft.com/office/powerpoint/2010/main" val="3090315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387791"/>
            <a:ext cx="7315200" cy="333978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endParaRPr lang="en-US" dirty="0">
              <a:solidFill>
                <a:prstClr val="black">
                  <a:lumMod val="50000"/>
                  <a:lumOff val="50000"/>
                </a:prstClr>
              </a:solidFill>
            </a:endParaRPr>
          </a:p>
        </p:txBody>
      </p:sp>
      <p:sp>
        <p:nvSpPr>
          <p:cNvPr id="6" name="Slide Number Placeholder 5"/>
          <p:cNvSpPr>
            <a:spLocks noGrp="1"/>
          </p:cNvSpPr>
          <p:nvPr>
            <p:ph type="sldNum" sz="quarter" idx="11"/>
          </p:nvPr>
        </p:nvSpPr>
        <p:spPr/>
        <p:txBody>
          <a:bodyPr/>
          <a:lstStyle>
            <a:lvl1pPr>
              <a:defRPr/>
            </a:lvl1pPr>
          </a:lstStyle>
          <a:p>
            <a:fld id="{8829B6C4-39F8-4822-AF44-3E1909BEC45D}" type="slidenum">
              <a:rPr lang="en-US" smtClean="0"/>
              <a:pPr/>
              <a:t>‹#›</a:t>
            </a:fld>
            <a:endParaRPr lang="en-US" dirty="0"/>
          </a:p>
        </p:txBody>
      </p:sp>
    </p:spTree>
    <p:extLst>
      <p:ext uri="{BB962C8B-B14F-4D97-AF65-F5344CB8AC3E}">
        <p14:creationId xmlns:p14="http://schemas.microsoft.com/office/powerpoint/2010/main" val="41491868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endParaRPr lang="en-US" dirty="0">
              <a:solidFill>
                <a:prstClr val="black">
                  <a:lumMod val="50000"/>
                  <a:lumOff val="50000"/>
                </a:prstClr>
              </a:solidFill>
            </a:endParaRPr>
          </a:p>
        </p:txBody>
      </p:sp>
      <p:sp>
        <p:nvSpPr>
          <p:cNvPr id="5" name="Slide Number Placeholder 5"/>
          <p:cNvSpPr>
            <a:spLocks noGrp="1"/>
          </p:cNvSpPr>
          <p:nvPr>
            <p:ph type="sldNum" sz="quarter" idx="11"/>
          </p:nvPr>
        </p:nvSpPr>
        <p:spPr/>
        <p:txBody>
          <a:bodyPr/>
          <a:lstStyle>
            <a:lvl1pPr>
              <a:defRPr/>
            </a:lvl1pPr>
          </a:lstStyle>
          <a:p>
            <a:fld id="{8829B6C4-39F8-4822-AF44-3E1909BEC45D}" type="slidenum">
              <a:rPr lang="en-US" smtClean="0"/>
              <a:pPr/>
              <a:t>‹#›</a:t>
            </a:fld>
            <a:endParaRPr lang="en-US" dirty="0"/>
          </a:p>
        </p:txBody>
      </p:sp>
    </p:spTree>
    <p:extLst>
      <p:ext uri="{BB962C8B-B14F-4D97-AF65-F5344CB8AC3E}">
        <p14:creationId xmlns:p14="http://schemas.microsoft.com/office/powerpoint/2010/main" val="5954431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1301"/>
            <a:ext cx="10972800" cy="790575"/>
          </a:xfr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endParaRPr lang="en-US" dirty="0">
              <a:solidFill>
                <a:prstClr val="black">
                  <a:lumMod val="50000"/>
                  <a:lumOff val="50000"/>
                </a:prstClr>
              </a:solidFill>
            </a:endParaRPr>
          </a:p>
        </p:txBody>
      </p:sp>
      <p:sp>
        <p:nvSpPr>
          <p:cNvPr id="5" name="Slide Number Placeholder 5"/>
          <p:cNvSpPr>
            <a:spLocks noGrp="1"/>
          </p:cNvSpPr>
          <p:nvPr>
            <p:ph type="sldNum" sz="quarter" idx="11"/>
          </p:nvPr>
        </p:nvSpPr>
        <p:spPr/>
        <p:txBody>
          <a:bodyPr/>
          <a:lstStyle>
            <a:lvl1pPr>
              <a:defRPr/>
            </a:lvl1pPr>
          </a:lstStyle>
          <a:p>
            <a:fld id="{8829B6C4-39F8-4822-AF44-3E1909BEC45D}" type="slidenum">
              <a:rPr lang="en-US" smtClean="0"/>
              <a:pPr/>
              <a:t>‹#›</a:t>
            </a:fld>
            <a:endParaRPr lang="en-US" dirty="0"/>
          </a:p>
        </p:txBody>
      </p:sp>
    </p:spTree>
    <p:extLst>
      <p:ext uri="{BB962C8B-B14F-4D97-AF65-F5344CB8AC3E}">
        <p14:creationId xmlns:p14="http://schemas.microsoft.com/office/powerpoint/2010/main" val="7661553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Date Placeholder 3"/>
          <p:cNvSpPr>
            <a:spLocks noGrp="1"/>
          </p:cNvSpPr>
          <p:nvPr>
            <p:ph type="dt" sz="half" idx="10"/>
          </p:nvPr>
        </p:nvSpPr>
        <p:spPr>
          <a:xfrm>
            <a:off x="914400" y="6248400"/>
            <a:ext cx="2540000" cy="457200"/>
          </a:xfrm>
          <a:prstGeom prst="rect">
            <a:avLst/>
          </a:prstGeom>
        </p:spPr>
        <p:txBody>
          <a:bodyPr/>
          <a:lstStyle>
            <a:lvl1pPr>
              <a:defRPr>
                <a:ea typeface="MS PGothic" pitchFamily="34" charset="-128"/>
                <a:cs typeface="+mn-cs"/>
              </a:defRPr>
            </a:lvl1pPr>
          </a:lstStyle>
          <a:p>
            <a:fld id="{47184EE2-098F-47FD-A3F0-C886E0E3775D}" type="datetime1">
              <a:rPr lang="en-US" smtClean="0">
                <a:solidFill>
                  <a:prstClr val="black"/>
                </a:solidFill>
              </a:rPr>
              <a:pPr/>
              <a:t>07/10/2019</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lvl1pPr>
              <a:defRPr/>
            </a:lvl1pPr>
          </a:lstStyle>
          <a:p>
            <a:fld id="{8829B6C4-39F8-4822-AF44-3E1909BEC45D}" type="slidenum">
              <a:rPr lang="en-US" smtClean="0"/>
              <a:pPr/>
              <a:t>‹#›</a:t>
            </a:fld>
            <a:endParaRPr lang="en-US" dirty="0"/>
          </a:p>
        </p:txBody>
      </p:sp>
    </p:spTree>
    <p:extLst>
      <p:ext uri="{BB962C8B-B14F-4D97-AF65-F5344CB8AC3E}">
        <p14:creationId xmlns:p14="http://schemas.microsoft.com/office/powerpoint/2010/main" val="25182088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918" y="1795463"/>
            <a:ext cx="11576049" cy="356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userDrawn="1"/>
        </p:nvSpPr>
        <p:spPr>
          <a:xfrm>
            <a:off x="304800" y="5867400"/>
            <a:ext cx="11578165" cy="804862"/>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anchor="ctr"/>
          <a:lstStyle/>
          <a:p>
            <a:pPr algn="ctr" defTabSz="457200" fontAlgn="base">
              <a:spcBef>
                <a:spcPct val="0"/>
              </a:spcBef>
              <a:spcAft>
                <a:spcPct val="0"/>
              </a:spcAft>
              <a:defRPr/>
            </a:pPr>
            <a:endParaRPr lang="en-US" sz="1800" dirty="0">
              <a:solidFill>
                <a:prstClr val="black"/>
              </a:solidFill>
            </a:endParaRPr>
          </a:p>
        </p:txBody>
      </p:sp>
      <p:sp>
        <p:nvSpPr>
          <p:cNvPr id="6" name="TextBox 5"/>
          <p:cNvSpPr txBox="1"/>
          <p:nvPr userDrawn="1"/>
        </p:nvSpPr>
        <p:spPr>
          <a:xfrm>
            <a:off x="491067" y="6131719"/>
            <a:ext cx="5746751" cy="277813"/>
          </a:xfrm>
          <a:prstGeom prst="rect">
            <a:avLst/>
          </a:prstGeom>
          <a:noFill/>
        </p:spPr>
        <p:txBody>
          <a:bodyPr>
            <a:spAutoFit/>
          </a:bodyPr>
          <a:lstStyle/>
          <a:p>
            <a:pPr defTabSz="457200">
              <a:defRPr/>
            </a:pPr>
            <a:r>
              <a:rPr lang="en-US" sz="1200" spc="100" dirty="0">
                <a:solidFill>
                  <a:prstClr val="white">
                    <a:lumMod val="65000"/>
                  </a:prstClr>
                </a:solidFill>
              </a:rPr>
              <a:t>VETERANS BENEFITS ADMINISTRATION</a:t>
            </a:r>
          </a:p>
        </p:txBody>
      </p:sp>
      <p:pic>
        <p:nvPicPr>
          <p:cNvPr id="7" name="Picture 11" descr="VA_PrimaryLogo_transparent_rgb.ti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841318" y="5977731"/>
            <a:ext cx="2711449"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Header_04.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4800" y="220663"/>
            <a:ext cx="115824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163384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6733" y="1997295"/>
            <a:ext cx="6815667"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4" name="Text Placeholder 3"/>
          <p:cNvSpPr>
            <a:spLocks noGrp="1"/>
          </p:cNvSpPr>
          <p:nvPr>
            <p:ph type="body" sz="half" idx="2"/>
          </p:nvPr>
        </p:nvSpPr>
        <p:spPr>
          <a:xfrm>
            <a:off x="609601" y="1997296"/>
            <a:ext cx="4011084"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5"/>
          <p:cNvSpPr>
            <a:spLocks noGrp="1"/>
          </p:cNvSpPr>
          <p:nvPr>
            <p:ph type="sldNum" sz="quarter" idx="10"/>
          </p:nvPr>
        </p:nvSpPr>
        <p:spPr/>
        <p:txBody>
          <a:bodyPr/>
          <a:lstStyle>
            <a:lvl1pPr>
              <a:defRPr/>
            </a:lvl1pPr>
          </a:lstStyle>
          <a:p>
            <a:pPr>
              <a:defRPr/>
            </a:pPr>
            <a:fld id="{040F8219-7C61-4C6E-A2C8-75729E47F9AB}" type="slidenum">
              <a:rPr lang="en-US"/>
              <a:pPr>
                <a:defRPr/>
              </a:pPr>
              <a:t>‹#›</a:t>
            </a:fld>
            <a:endParaRPr lang="en-US" dirty="0"/>
          </a:p>
        </p:txBody>
      </p:sp>
    </p:spTree>
    <p:extLst>
      <p:ext uri="{BB962C8B-B14F-4D97-AF65-F5344CB8AC3E}">
        <p14:creationId xmlns:p14="http://schemas.microsoft.com/office/powerpoint/2010/main" val="42190941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2391825"/>
            <a:ext cx="7315200" cy="272403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682602"/>
            <a:ext cx="7315200" cy="6135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Title 4"/>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lvl1pPr>
              <a:defRPr/>
            </a:lvl1pPr>
          </a:lstStyle>
          <a:p>
            <a:pPr>
              <a:defRPr/>
            </a:pPr>
            <a:fld id="{6465477C-2A8A-4738-B1C5-762CB0F5F16D}" type="slidenum">
              <a:rPr lang="en-US"/>
              <a:pPr>
                <a:defRPr/>
              </a:pPr>
              <a:t>‹#›</a:t>
            </a:fld>
            <a:endParaRPr lang="en-US" dirty="0"/>
          </a:p>
        </p:txBody>
      </p:sp>
    </p:spTree>
    <p:extLst>
      <p:ext uri="{BB962C8B-B14F-4D97-AF65-F5344CB8AC3E}">
        <p14:creationId xmlns:p14="http://schemas.microsoft.com/office/powerpoint/2010/main" val="15540560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829B6C4-39F8-4822-AF44-3E1909BEC45D}" type="slidenum">
              <a:rPr lang="en-US" smtClean="0"/>
              <a:t>‹#›</a:t>
            </a:fld>
            <a:endParaRPr lang="en-US" dirty="0"/>
          </a:p>
        </p:txBody>
      </p:sp>
      <p:sp>
        <p:nvSpPr>
          <p:cNvPr id="4" name="Rectangle 3"/>
          <p:cNvSpPr/>
          <p:nvPr/>
        </p:nvSpPr>
        <p:spPr>
          <a:xfrm>
            <a:off x="0" y="5376955"/>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solidFill>
                <a:prstClr val="white"/>
              </a:solidFill>
            </a:endParaRPr>
          </a:p>
        </p:txBody>
      </p:sp>
      <p:sp>
        <p:nvSpPr>
          <p:cNvPr id="6" name="Title 1"/>
          <p:cNvSpPr txBox="1">
            <a:spLocks/>
          </p:cNvSpPr>
          <p:nvPr/>
        </p:nvSpPr>
        <p:spPr>
          <a:xfrm>
            <a:off x="3895120" y="4803734"/>
            <a:ext cx="7700433" cy="450535"/>
          </a:xfrm>
          <a:prstGeom prst="rect">
            <a:avLst/>
          </a:prstGeom>
          <a:ln>
            <a:solidFill>
              <a:schemeClr val="bg1"/>
            </a:solidFill>
          </a:ln>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2000" dirty="0">
                <a:solidFill>
                  <a:srgbClr val="000000"/>
                </a:solidFill>
              </a:rPr>
              <a:t>August 30, 2017</a:t>
            </a:r>
          </a:p>
        </p:txBody>
      </p:sp>
      <p:grpSp>
        <p:nvGrpSpPr>
          <p:cNvPr id="12" name="Group 11"/>
          <p:cNvGrpSpPr/>
          <p:nvPr/>
        </p:nvGrpSpPr>
        <p:grpSpPr>
          <a:xfrm>
            <a:off x="1714248" y="1694039"/>
            <a:ext cx="8763504"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11500" b="1" spc="-100" dirty="0">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5400" b="1" dirty="0">
                  <a:solidFill>
                    <a:srgbClr val="00B0F0"/>
                  </a:solidFill>
                  <a:latin typeface="Arial" panose="020B0604020202020204" pitchFamily="34" charset="0"/>
                  <a:cs typeface="Arial" panose="020B0604020202020204" pitchFamily="34" charset="0"/>
                </a:rPr>
                <a:t>Key Leaders </a:t>
              </a:r>
              <a:br>
                <a:rPr lang="en-US" sz="5400" b="1" dirty="0">
                  <a:solidFill>
                    <a:srgbClr val="00B0F0"/>
                  </a:solidFill>
                  <a:latin typeface="Arial" panose="020B0604020202020204" pitchFamily="34" charset="0"/>
                  <a:cs typeface="Arial" panose="020B0604020202020204" pitchFamily="34" charset="0"/>
                </a:rPr>
              </a:br>
              <a:r>
                <a:rPr lang="en-US" sz="5400" b="1" dirty="0">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31552" y="5644912"/>
            <a:ext cx="4064000" cy="820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10051"/>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829B6C4-39F8-4822-AF44-3E1909BEC45D}" type="slidenum">
              <a:rPr lang="en-US" smtClean="0"/>
              <a:t>‹#›</a:t>
            </a:fld>
            <a:endParaRPr lang="en-US" dirty="0"/>
          </a:p>
        </p:txBody>
      </p:sp>
      <p:sp>
        <p:nvSpPr>
          <p:cNvPr id="4" name="Rectangle 3"/>
          <p:cNvSpPr/>
          <p:nvPr/>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Agenda</a:t>
            </a:r>
            <a:endParaRPr lang="en-US" sz="3600" u="sng" dirty="0"/>
          </a:p>
        </p:txBody>
      </p:sp>
      <p:sp>
        <p:nvSpPr>
          <p:cNvPr id="6" name="TextBox 5"/>
          <p:cNvSpPr txBox="1"/>
          <p:nvPr/>
        </p:nvSpPr>
        <p:spPr>
          <a:xfrm>
            <a:off x="441832" y="1659466"/>
            <a:ext cx="11308337" cy="369332"/>
          </a:xfrm>
          <a:prstGeom prst="rect">
            <a:avLst/>
          </a:prstGeom>
          <a:solidFill>
            <a:srgbClr val="00B0F0"/>
          </a:solidFill>
        </p:spPr>
        <p:txBody>
          <a:bodyPr wrap="square" lIns="91440" tIns="45720" rIns="91440" bIns="45720" rtlCol="0">
            <a:spAutoFit/>
          </a:bodyPr>
          <a:lstStyle/>
          <a:p>
            <a:endParaRPr lang="en-US" sz="1800" dirty="0">
              <a:solidFill>
                <a:srgbClr val="000000"/>
              </a:solidFill>
            </a:endParaRPr>
          </a:p>
        </p:txBody>
      </p:sp>
      <p:sp>
        <p:nvSpPr>
          <p:cNvPr id="7" name="TextBox 6"/>
          <p:cNvSpPr txBox="1"/>
          <p:nvPr/>
        </p:nvSpPr>
        <p:spPr>
          <a:xfrm>
            <a:off x="863591" y="2749897"/>
            <a:ext cx="10522964" cy="861774"/>
          </a:xfrm>
          <a:prstGeom prst="rect">
            <a:avLst/>
          </a:prstGeom>
          <a:noFill/>
        </p:spPr>
        <p:txBody>
          <a:bodyPr wrap="square" lIns="91440" tIns="45720" rIns="91440" bIns="45720" rtlCol="0" anchor="ctr">
            <a:spAutoFit/>
          </a:bodyPr>
          <a:lstStyle/>
          <a:p>
            <a:pPr marL="0" lvl="1" indent="-342900">
              <a:spcBef>
                <a:spcPts val="1200"/>
              </a:spcBef>
              <a:buFont typeface="+mj-lt"/>
              <a:buAutoNum type="arabicPeriod"/>
            </a:pPr>
            <a:r>
              <a:rPr lang="en-US" sz="2000" b="1" dirty="0">
                <a:solidFill>
                  <a:srgbClr val="000000"/>
                </a:solidFill>
              </a:rPr>
              <a:t>Good News Story</a:t>
            </a:r>
          </a:p>
          <a:p>
            <a:pPr marL="0" lvl="1">
              <a:spcBef>
                <a:spcPts val="1200"/>
              </a:spcBef>
            </a:pPr>
            <a:endParaRPr lang="en-US" sz="2000" b="1" dirty="0">
              <a:solidFill>
                <a:srgbClr val="000000"/>
              </a:solidFill>
            </a:endParaRPr>
          </a:p>
        </p:txBody>
      </p:sp>
    </p:spTree>
    <p:extLst>
      <p:ext uri="{BB962C8B-B14F-4D97-AF65-F5344CB8AC3E}">
        <p14:creationId xmlns:p14="http://schemas.microsoft.com/office/powerpoint/2010/main" val="76269951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a:xfrm>
            <a:off x="609600" y="6356351"/>
            <a:ext cx="2844800" cy="365125"/>
          </a:xfrm>
          <a:prstGeom prst="rect">
            <a:avLst/>
          </a:prstGeom>
        </p:spPr>
        <p:txBody>
          <a:bodyPr/>
          <a:lstStyle>
            <a:lvl1pPr>
              <a:defRPr>
                <a:ea typeface="MS PGothic" pitchFamily="34" charset="-128"/>
                <a:cs typeface="+mn-cs"/>
              </a:defRPr>
            </a:lvl1pPr>
          </a:lstStyle>
          <a:p>
            <a:fld id="{A14036B6-9E06-4FBC-B9BB-87160A972427}" type="datetime1">
              <a:rPr lang="en-US" smtClean="0"/>
              <a:t>07/10/2019</a:t>
            </a:fld>
            <a:endParaRPr lang="en-US" dirty="0"/>
          </a:p>
        </p:txBody>
      </p:sp>
      <p:sp>
        <p:nvSpPr>
          <p:cNvPr id="4" name="Footer Placeholder 4"/>
          <p:cNvSpPr>
            <a:spLocks noGrp="1"/>
          </p:cNvSpPr>
          <p:nvPr>
            <p:ph type="ftr" sz="quarter" idx="11"/>
          </p:nvPr>
        </p:nvSpPr>
        <p:spPr/>
        <p:txBody>
          <a:bodyPr/>
          <a:lstStyle>
            <a:lvl1pPr>
              <a:defRPr/>
            </a:lvl1pPr>
          </a:lstStyle>
          <a:p>
            <a:endParaRPr lang="en-US" dirty="0"/>
          </a:p>
        </p:txBody>
      </p:sp>
      <p:sp>
        <p:nvSpPr>
          <p:cNvPr id="5" name="Slide Number Placeholder 5"/>
          <p:cNvSpPr>
            <a:spLocks noGrp="1"/>
          </p:cNvSpPr>
          <p:nvPr>
            <p:ph type="sldNum" sz="quarter" idx="12"/>
          </p:nvPr>
        </p:nvSpPr>
        <p:spPr/>
        <p:txBody>
          <a:bodyPr/>
          <a:lstStyle>
            <a:lvl1pPr>
              <a:defRPr/>
            </a:lvl1pPr>
          </a:lstStyle>
          <a:p>
            <a:fld id="{8829B6C4-39F8-4822-AF44-3E1909BEC45D}" type="slidenum">
              <a:rPr lang="en-US" smtClean="0"/>
              <a:t>‹#›</a:t>
            </a:fld>
            <a:endParaRPr lang="en-US" dirty="0"/>
          </a:p>
        </p:txBody>
      </p:sp>
    </p:spTree>
    <p:extLst>
      <p:ext uri="{BB962C8B-B14F-4D97-AF65-F5344CB8AC3E}">
        <p14:creationId xmlns:p14="http://schemas.microsoft.com/office/powerpoint/2010/main" val="23537997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829B6C4-39F8-4822-AF44-3E1909BEC45D}" type="slidenum">
              <a:rPr lang="en-US" smtClean="0"/>
              <a:t>‹#›</a:t>
            </a:fld>
            <a:endParaRPr lang="en-US" dirty="0"/>
          </a:p>
        </p:txBody>
      </p:sp>
      <p:sp>
        <p:nvSpPr>
          <p:cNvPr id="4" name="Rectangle 3"/>
          <p:cNvSpPr/>
          <p:nvPr/>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2308025020"/>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p:nvSpPr>
        <p:spPr>
          <a:xfrm>
            <a:off x="9250441" y="6400233"/>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Tree>
    <p:extLst>
      <p:ext uri="{BB962C8B-B14F-4D97-AF65-F5344CB8AC3E}">
        <p14:creationId xmlns:p14="http://schemas.microsoft.com/office/powerpoint/2010/main" val="702332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990601"/>
            <a:ext cx="10972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829B6C4-39F8-4822-AF44-3E1909BEC45D}" type="slidenum">
              <a:rPr lang="en-US" smtClean="0"/>
              <a:t>‹#›</a:t>
            </a:fld>
            <a:endParaRPr lang="en-US" dirty="0"/>
          </a:p>
        </p:txBody>
      </p:sp>
      <p:sp>
        <p:nvSpPr>
          <p:cNvPr id="5" name="Rectangle 4"/>
          <p:cNvSpPr/>
          <p:nvPr/>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7"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5038498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8829B6C4-39F8-4822-AF44-3E1909BEC45D}" type="slidenum">
              <a:rPr lang="en-US" smtClean="0"/>
              <a:t>‹#›</a:t>
            </a:fld>
            <a:endParaRPr lang="en-US" dirty="0"/>
          </a:p>
        </p:txBody>
      </p:sp>
      <p:sp>
        <p:nvSpPr>
          <p:cNvPr id="4" name="Rectangle 3"/>
          <p:cNvSpPr/>
          <p:nvPr/>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6"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
        <p:nvSpPr>
          <p:cNvPr id="7" name="TextBox 6"/>
          <p:cNvSpPr txBox="1"/>
          <p:nvPr/>
        </p:nvSpPr>
        <p:spPr>
          <a:xfrm>
            <a:off x="3962400" y="6336268"/>
            <a:ext cx="3962400" cy="369332"/>
          </a:xfrm>
          <a:prstGeom prst="rect">
            <a:avLst/>
          </a:prstGeom>
          <a:noFill/>
        </p:spPr>
        <p:txBody>
          <a:bodyPr wrap="square" rtlCol="0">
            <a:spAutoFit/>
          </a:bodyPr>
          <a:lstStyle/>
          <a:p>
            <a:pPr algn="ctr"/>
            <a:endParaRPr lang="en-US" sz="1800" b="1" dirty="0">
              <a:solidFill>
                <a:srgbClr val="C00000"/>
              </a:solidFill>
            </a:endParaRPr>
          </a:p>
        </p:txBody>
      </p:sp>
    </p:spTree>
    <p:extLst>
      <p:ext uri="{BB962C8B-B14F-4D97-AF65-F5344CB8AC3E}">
        <p14:creationId xmlns:p14="http://schemas.microsoft.com/office/powerpoint/2010/main" val="2090621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7" y="273056"/>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6"/>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7" name="Slide Number Placeholder 6"/>
          <p:cNvSpPr>
            <a:spLocks noGrp="1"/>
          </p:cNvSpPr>
          <p:nvPr>
            <p:ph type="sldNum" sz="quarter" idx="12"/>
          </p:nvPr>
        </p:nvSpPr>
        <p:spPr/>
        <p:txBody>
          <a:bodyPr/>
          <a:lstStyle/>
          <a:p>
            <a:fld id="{8829B6C4-39F8-4822-AF44-3E1909BEC45D}" type="slidenum">
              <a:rPr lang="en-US" smtClean="0"/>
              <a:t>‹#›</a:t>
            </a:fld>
            <a:endParaRPr lang="en-US" dirty="0"/>
          </a:p>
        </p:txBody>
      </p:sp>
      <p:sp>
        <p:nvSpPr>
          <p:cNvPr id="6" name="TextBox 5"/>
          <p:cNvSpPr txBox="1"/>
          <p:nvPr/>
        </p:nvSpPr>
        <p:spPr>
          <a:xfrm>
            <a:off x="3962400" y="6336268"/>
            <a:ext cx="3962400" cy="369332"/>
          </a:xfrm>
          <a:prstGeom prst="rect">
            <a:avLst/>
          </a:prstGeom>
          <a:noFill/>
        </p:spPr>
        <p:txBody>
          <a:bodyPr wrap="square" rtlCol="0">
            <a:spAutoFit/>
          </a:bodyPr>
          <a:lstStyle/>
          <a:p>
            <a:pPr algn="ctr"/>
            <a:r>
              <a:rPr lang="en-US" sz="1800" b="1" dirty="0">
                <a:solidFill>
                  <a:srgbClr val="C00000"/>
                </a:solidFill>
              </a:rPr>
              <a:t>FOR VA INTERAL USE ONLY</a:t>
            </a:r>
          </a:p>
        </p:txBody>
      </p:sp>
    </p:spTree>
    <p:extLst>
      <p:ext uri="{BB962C8B-B14F-4D97-AF65-F5344CB8AC3E}">
        <p14:creationId xmlns:p14="http://schemas.microsoft.com/office/powerpoint/2010/main" val="42247735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829B6C4-39F8-4822-AF44-3E1909BEC45D}" type="slidenum">
              <a:rPr lang="en-US" smtClean="0"/>
              <a:t>‹#›</a:t>
            </a:fld>
            <a:endParaRPr lang="en-US" dirty="0"/>
          </a:p>
        </p:txBody>
      </p:sp>
      <p:sp>
        <p:nvSpPr>
          <p:cNvPr id="3" name="TextBox 2"/>
          <p:cNvSpPr txBox="1"/>
          <p:nvPr/>
        </p:nvSpPr>
        <p:spPr>
          <a:xfrm>
            <a:off x="3962400" y="6336268"/>
            <a:ext cx="3962400" cy="369332"/>
          </a:xfrm>
          <a:prstGeom prst="rect">
            <a:avLst/>
          </a:prstGeom>
          <a:noFill/>
        </p:spPr>
        <p:txBody>
          <a:bodyPr wrap="square" rtlCol="0">
            <a:spAutoFit/>
          </a:bodyPr>
          <a:lstStyle/>
          <a:p>
            <a:pPr algn="ctr"/>
            <a:r>
              <a:rPr lang="en-US" sz="1800" b="1" dirty="0">
                <a:solidFill>
                  <a:srgbClr val="C00000"/>
                </a:solidFill>
              </a:rPr>
              <a:t>FOR VA INTERAL USE ONLY</a:t>
            </a:r>
          </a:p>
        </p:txBody>
      </p:sp>
    </p:spTree>
    <p:extLst>
      <p:ext uri="{BB962C8B-B14F-4D97-AF65-F5344CB8AC3E}">
        <p14:creationId xmlns:p14="http://schemas.microsoft.com/office/powerpoint/2010/main" val="2626280183"/>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829B6C4-39F8-4822-AF44-3E1909BEC45D}" type="slidenum">
              <a:rPr lang="en-US" smtClean="0"/>
              <a:t>‹#›</a:t>
            </a:fld>
            <a:endParaRPr lang="en-US" dirty="0"/>
          </a:p>
        </p:txBody>
      </p:sp>
      <p:sp>
        <p:nvSpPr>
          <p:cNvPr id="7" name="TextBox 6"/>
          <p:cNvSpPr txBox="1"/>
          <p:nvPr/>
        </p:nvSpPr>
        <p:spPr>
          <a:xfrm>
            <a:off x="3962400" y="6324600"/>
            <a:ext cx="3962400" cy="369332"/>
          </a:xfrm>
          <a:prstGeom prst="rect">
            <a:avLst/>
          </a:prstGeom>
          <a:noFill/>
        </p:spPr>
        <p:txBody>
          <a:bodyPr wrap="square" rtlCol="0">
            <a:spAutoFit/>
          </a:bodyPr>
          <a:lstStyle/>
          <a:p>
            <a:pPr algn="ctr"/>
            <a:r>
              <a:rPr lang="en-US" sz="1800" b="1" dirty="0">
                <a:solidFill>
                  <a:srgbClr val="C00000"/>
                </a:solidFill>
              </a:rPr>
              <a:t>FOR VA INTERAL USE ONLY</a:t>
            </a:r>
          </a:p>
        </p:txBody>
      </p:sp>
    </p:spTree>
    <p:extLst>
      <p:ext uri="{BB962C8B-B14F-4D97-AF65-F5344CB8AC3E}">
        <p14:creationId xmlns:p14="http://schemas.microsoft.com/office/powerpoint/2010/main" val="31852761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829B6C4-39F8-4822-AF44-3E1909BEC45D}" type="slidenum">
              <a:rPr lang="en-US" smtClean="0"/>
              <a:t>‹#›</a:t>
            </a:fld>
            <a:endParaRPr lang="en-US" dirty="0"/>
          </a:p>
        </p:txBody>
      </p:sp>
    </p:spTree>
    <p:extLst>
      <p:ext uri="{BB962C8B-B14F-4D97-AF65-F5344CB8AC3E}">
        <p14:creationId xmlns:p14="http://schemas.microsoft.com/office/powerpoint/2010/main" val="187199172"/>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18904972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11035621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00201"/>
            <a:ext cx="53848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lvl1pPr>
              <a:defRPr/>
            </a:lvl1pPr>
          </a:lstStyle>
          <a:p>
            <a:endParaRPr lang="en-US" dirty="0"/>
          </a:p>
        </p:txBody>
      </p:sp>
      <p:sp>
        <p:nvSpPr>
          <p:cNvPr id="6" name="Slide Number Placeholder 5"/>
          <p:cNvSpPr>
            <a:spLocks noGrp="1"/>
          </p:cNvSpPr>
          <p:nvPr>
            <p:ph type="sldNum" sz="quarter" idx="11"/>
          </p:nvPr>
        </p:nvSpPr>
        <p:spPr/>
        <p:txBody>
          <a:bodyPr/>
          <a:lstStyle>
            <a:lvl1pPr>
              <a:defRPr/>
            </a:lvl1pPr>
          </a:lstStyle>
          <a:p>
            <a:fld id="{8829B6C4-39F8-4822-AF44-3E1909BEC45D}" type="slidenum">
              <a:rPr lang="en-US" smtClean="0"/>
              <a:t>‹#›</a:t>
            </a:fld>
            <a:endParaRPr lang="en-US" dirty="0"/>
          </a:p>
        </p:txBody>
      </p:sp>
    </p:spTree>
    <p:extLst>
      <p:ext uri="{BB962C8B-B14F-4D97-AF65-F5344CB8AC3E}">
        <p14:creationId xmlns:p14="http://schemas.microsoft.com/office/powerpoint/2010/main" val="42161327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661884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26117500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17845807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17264931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6370173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28509358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24653747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32421452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5ED316-A095-4798-BA6F-ADC1D3092531}" type="datetimeFigureOut">
              <a:rPr lang="en-US" smtClean="0"/>
              <a:t>07/1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3C9919F-1677-44F2-BEEF-EAD82A0FC6EF}" type="slidenum">
              <a:rPr lang="en-US" smtClean="0"/>
              <a:t>‹#›</a:t>
            </a:fld>
            <a:endParaRPr lang="en-US" dirty="0"/>
          </a:p>
        </p:txBody>
      </p:sp>
    </p:spTree>
    <p:extLst>
      <p:ext uri="{BB962C8B-B14F-4D97-AF65-F5344CB8AC3E}">
        <p14:creationId xmlns:p14="http://schemas.microsoft.com/office/powerpoint/2010/main" val="8766613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0"/>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3"/>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Tree>
    <p:extLst>
      <p:ext uri="{BB962C8B-B14F-4D97-AF65-F5344CB8AC3E}">
        <p14:creationId xmlns:p14="http://schemas.microsoft.com/office/powerpoint/2010/main" val="3597448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1535113"/>
            <a:ext cx="5386917" cy="639762"/>
          </a:xfrm>
        </p:spPr>
        <p:txBody>
          <a:bodyPr anchor="b">
            <a:normAutofit/>
          </a:bodyPr>
          <a:lstStyle>
            <a:lvl1pPr marL="0" indent="0">
              <a:buNone/>
              <a:defRPr sz="1800" b="1" cap="all" spc="5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535113"/>
            <a:ext cx="5389033" cy="639762"/>
          </a:xfrm>
        </p:spPr>
        <p:txBody>
          <a:bodyPr anchor="b">
            <a:normAutofit/>
          </a:bodyPr>
          <a:lstStyle>
            <a:lvl1pPr marL="0" indent="0">
              <a:buNone/>
              <a:defRPr sz="1800" b="1" cap="all" spc="5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000"/>
            </a:lvl1pPr>
            <a:lvl2pPr>
              <a:defRPr sz="1800"/>
            </a:lvl2pPr>
            <a:lvl3pPr>
              <a:defRPr sz="17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4"/>
          <p:cNvSpPr>
            <a:spLocks noGrp="1"/>
          </p:cNvSpPr>
          <p:nvPr>
            <p:ph type="ftr" sz="quarter" idx="10"/>
          </p:nvPr>
        </p:nvSpPr>
        <p:spPr/>
        <p:txBody>
          <a:bodyPr/>
          <a:lstStyle>
            <a:lvl1pPr>
              <a:defRPr/>
            </a:lvl1pPr>
          </a:lstStyle>
          <a:p>
            <a:endParaRPr lang="en-US" dirty="0"/>
          </a:p>
        </p:txBody>
      </p:sp>
      <p:sp>
        <p:nvSpPr>
          <p:cNvPr id="8" name="Slide Number Placeholder 5"/>
          <p:cNvSpPr>
            <a:spLocks noGrp="1"/>
          </p:cNvSpPr>
          <p:nvPr>
            <p:ph type="sldNum" sz="quarter" idx="11"/>
          </p:nvPr>
        </p:nvSpPr>
        <p:spPr/>
        <p:txBody>
          <a:bodyPr/>
          <a:lstStyle>
            <a:lvl1pPr>
              <a:defRPr/>
            </a:lvl1pPr>
          </a:lstStyle>
          <a:p>
            <a:fld id="{8829B6C4-39F8-4822-AF44-3E1909BEC45D}" type="slidenum">
              <a:rPr lang="en-US" smtClean="0"/>
              <a:t>‹#›</a:t>
            </a:fld>
            <a:endParaRPr lang="en-US" dirty="0"/>
          </a:p>
        </p:txBody>
      </p:sp>
    </p:spTree>
    <p:extLst>
      <p:ext uri="{BB962C8B-B14F-4D97-AF65-F5344CB8AC3E}">
        <p14:creationId xmlns:p14="http://schemas.microsoft.com/office/powerpoint/2010/main" val="15689866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481113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25248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4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57" y="273056"/>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6"/>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100724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94"/>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41"/>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219851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45"/>
            <a:ext cx="28448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4165600" y="6356445"/>
            <a:ext cx="38608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468675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32"/>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32"/>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45"/>
            <a:ext cx="28448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4165600" y="6356445"/>
            <a:ext cx="38608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445288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05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ctrTitle"/>
          </p:nvPr>
        </p:nvSpPr>
        <p:spPr>
          <a:xfrm>
            <a:off x="3934670" y="2591311"/>
            <a:ext cx="7928345"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3895115" y="4803731"/>
            <a:ext cx="7968015"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9250441" y="6400233"/>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
        <p:nvSpPr>
          <p:cNvPr id="8" name="Rectangle 7"/>
          <p:cNvSpPr/>
          <p:nvPr userDrawn="1"/>
        </p:nvSpPr>
        <p:spPr>
          <a:xfrm>
            <a:off x="0" y="5376955"/>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096000" y="5687904"/>
            <a:ext cx="5181600" cy="865219"/>
          </a:xfrm>
          <a:prstGeom prst="rect">
            <a:avLst/>
          </a:prstGeom>
        </p:spPr>
      </p:pic>
    </p:spTree>
    <p:extLst>
      <p:ext uri="{BB962C8B-B14F-4D97-AF65-F5344CB8AC3E}">
        <p14:creationId xmlns:p14="http://schemas.microsoft.com/office/powerpoint/2010/main" val="13906079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08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3" name="Content Placeholder 2"/>
          <p:cNvSpPr>
            <a:spLocks noGrp="1"/>
          </p:cNvSpPr>
          <p:nvPr>
            <p:ph idx="1"/>
          </p:nvPr>
        </p:nvSpPr>
        <p:spPr>
          <a:xfrm>
            <a:off x="609600" y="838201"/>
            <a:ext cx="109728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5"/>
            <a:ext cx="12192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2" name="Title 1"/>
          <p:cNvSpPr>
            <a:spLocks noGrp="1"/>
          </p:cNvSpPr>
          <p:nvPr>
            <p:ph type="title"/>
          </p:nvPr>
        </p:nvSpPr>
        <p:spPr>
          <a:xfrm>
            <a:off x="0" y="0"/>
            <a:ext cx="12192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411566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937742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RED - 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7BC6E3-8A52-4E9C-B233-49F6C277FA9F}"/>
              </a:ext>
            </a:extLst>
          </p:cNvPr>
          <p:cNvPicPr>
            <a:picLocks noChangeAspect="1"/>
          </p:cNvPicPr>
          <p:nvPr userDrawn="1"/>
        </p:nvPicPr>
        <p:blipFill>
          <a:blip r:embed="rId2"/>
          <a:stretch>
            <a:fillRect/>
          </a:stretch>
        </p:blipFill>
        <p:spPr>
          <a:xfrm>
            <a:off x="5065384" y="0"/>
            <a:ext cx="7129877" cy="6858000"/>
          </a:xfrm>
          <a:prstGeom prst="rect">
            <a:avLst/>
          </a:prstGeom>
        </p:spPr>
      </p:pic>
      <p:sp>
        <p:nvSpPr>
          <p:cNvPr id="10" name="Title 1"/>
          <p:cNvSpPr>
            <a:spLocks noGrp="1"/>
          </p:cNvSpPr>
          <p:nvPr userDrawn="1">
            <p:ph type="title"/>
          </p:nvPr>
        </p:nvSpPr>
        <p:spPr bwMode="gray">
          <a:xfrm>
            <a:off x="692473" y="1877005"/>
            <a:ext cx="3264747" cy="2032001"/>
          </a:xfrm>
        </p:spPr>
        <p:txBody>
          <a:bodyPr anchor="ctr" anchorCtr="0"/>
          <a:lstStyle>
            <a:lvl1pPr algn="l">
              <a:defRPr sz="3200" b="0">
                <a:solidFill>
                  <a:schemeClr val="tx1"/>
                </a:solidFill>
                <a:latin typeface="Century Gothic" panose="020B0502020202020204" pitchFamily="34" charset="0"/>
              </a:defRPr>
            </a:lvl1pPr>
          </a:lstStyle>
          <a:p>
            <a:endParaRPr lang="en-US" dirty="0"/>
          </a:p>
        </p:txBody>
      </p:sp>
      <p:sp>
        <p:nvSpPr>
          <p:cNvPr id="14" name="Text Placeholder 3"/>
          <p:cNvSpPr>
            <a:spLocks noGrp="1"/>
          </p:cNvSpPr>
          <p:nvPr userDrawn="1">
            <p:ph type="body" sz="quarter" idx="10" hasCustomPrompt="1"/>
          </p:nvPr>
        </p:nvSpPr>
        <p:spPr>
          <a:xfrm>
            <a:off x="827944" y="4970447"/>
            <a:ext cx="3264745" cy="1209224"/>
          </a:xfrm>
        </p:spPr>
        <p:txBody>
          <a:bodyPr anchor="b" anchorCtr="0"/>
          <a:lstStyle>
            <a:lvl1pPr marL="0" indent="0" algn="l">
              <a:spcBef>
                <a:spcPts val="451"/>
              </a:spcBef>
              <a:buNone/>
              <a:defRPr sz="1800">
                <a:solidFill>
                  <a:schemeClr val="tx2"/>
                </a:solidFill>
                <a:latin typeface="Century Gothic" panose="020B0502020202020204" pitchFamily="34" charset="0"/>
              </a:defRPr>
            </a:lvl1pPr>
            <a:lvl2pPr marL="0" indent="0">
              <a:buNone/>
              <a:defRPr sz="2400">
                <a:solidFill>
                  <a:srgbClr val="6E6259"/>
                </a:solidFill>
              </a:defRPr>
            </a:lvl2pPr>
            <a:lvl3pPr marL="0" indent="0">
              <a:buNone/>
              <a:defRPr sz="2400"/>
            </a:lvl3pPr>
            <a:lvl4pPr marL="0" indent="0">
              <a:buNone/>
              <a:defRPr sz="2400"/>
            </a:lvl4pPr>
            <a:lvl5pPr marL="0" indent="0">
              <a:buNone/>
              <a:defRPr sz="2400"/>
            </a:lvl5pPr>
          </a:lstStyle>
          <a:p>
            <a:pPr lvl="0"/>
            <a:r>
              <a:rPr lang="en-US" dirty="0"/>
              <a:t>Month ##,####</a:t>
            </a:r>
          </a:p>
        </p:txBody>
      </p:sp>
      <p:pic>
        <p:nvPicPr>
          <p:cNvPr id="8" name="Picture 7">
            <a:extLst>
              <a:ext uri="{FF2B5EF4-FFF2-40B4-BE49-F238E27FC236}">
                <a16:creationId xmlns:a16="http://schemas.microsoft.com/office/drawing/2014/main" id="{ECE23789-0E2B-4AE6-9B58-92EF5FBB7553}"/>
              </a:ext>
            </a:extLst>
          </p:cNvPr>
          <p:cNvPicPr>
            <a:picLocks noChangeAspect="1"/>
          </p:cNvPicPr>
          <p:nvPr userDrawn="1"/>
        </p:nvPicPr>
        <p:blipFill>
          <a:blip r:embed="rId3"/>
          <a:stretch>
            <a:fillRect/>
          </a:stretch>
        </p:blipFill>
        <p:spPr>
          <a:xfrm>
            <a:off x="468722" y="291527"/>
            <a:ext cx="2595746" cy="1059155"/>
          </a:xfrm>
          <a:prstGeom prst="rect">
            <a:avLst/>
          </a:prstGeom>
        </p:spPr>
      </p:pic>
    </p:spTree>
    <p:extLst>
      <p:ext uri="{BB962C8B-B14F-4D97-AF65-F5344CB8AC3E}">
        <p14:creationId xmlns:p14="http://schemas.microsoft.com/office/powerpoint/2010/main" val="180435053"/>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1"/>
            <a:ext cx="6690461" cy="601679"/>
          </a:xfrm>
        </p:spPr>
        <p:txBody>
          <a:bodyPr anchor="b">
            <a:norm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766733" y="1435101"/>
            <a:ext cx="6815667" cy="4691063"/>
          </a:xfrm>
        </p:spPr>
        <p:txBody>
          <a:bodyPr/>
          <a:lstStyle>
            <a:lvl1pPr>
              <a:defRPr sz="2400">
                <a:solidFill>
                  <a:schemeClr val="tx1">
                    <a:lumMod val="65000"/>
                    <a:lumOff val="35000"/>
                  </a:schemeClr>
                </a:solidFill>
              </a:defRPr>
            </a:lvl1pPr>
            <a:lvl2pPr>
              <a:defRPr sz="2200">
                <a:solidFill>
                  <a:schemeClr val="tx1">
                    <a:lumMod val="65000"/>
                    <a:lumOff val="35000"/>
                  </a:schemeClr>
                </a:solidFill>
              </a:defRPr>
            </a:lvl2pPr>
            <a:lvl3pPr>
              <a:defRPr sz="2000">
                <a:solidFill>
                  <a:schemeClr val="tx1">
                    <a:lumMod val="65000"/>
                    <a:lumOff val="35000"/>
                  </a:schemeClr>
                </a:solidFill>
              </a:defRPr>
            </a:lvl3pPr>
            <a:lvl4pPr>
              <a:defRPr sz="1800">
                <a:solidFill>
                  <a:schemeClr val="tx1">
                    <a:lumMod val="65000"/>
                    <a:lumOff val="35000"/>
                  </a:schemeClr>
                </a:solidFill>
              </a:defRPr>
            </a:lvl4pPr>
            <a:lvl5pPr>
              <a:defRPr sz="1600">
                <a:solidFill>
                  <a:schemeClr val="tx1">
                    <a:lumMod val="65000"/>
                    <a:lumOff val="3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endParaRPr lang="en-US" dirty="0"/>
          </a:p>
        </p:txBody>
      </p:sp>
      <p:sp>
        <p:nvSpPr>
          <p:cNvPr id="6" name="Slide Number Placeholder 5"/>
          <p:cNvSpPr>
            <a:spLocks noGrp="1"/>
          </p:cNvSpPr>
          <p:nvPr>
            <p:ph type="sldNum" sz="quarter" idx="11"/>
          </p:nvPr>
        </p:nvSpPr>
        <p:spPr/>
        <p:txBody>
          <a:bodyPr/>
          <a:lstStyle>
            <a:lvl1pPr>
              <a:defRPr/>
            </a:lvl1pPr>
          </a:lstStyle>
          <a:p>
            <a:fld id="{8829B6C4-39F8-4822-AF44-3E1909BEC45D}" type="slidenum">
              <a:rPr lang="en-US" smtClean="0"/>
              <a:t>‹#›</a:t>
            </a:fld>
            <a:endParaRPr lang="en-US" dirty="0"/>
          </a:p>
        </p:txBody>
      </p:sp>
    </p:spTree>
    <p:extLst>
      <p:ext uri="{BB962C8B-B14F-4D97-AF65-F5344CB8AC3E}">
        <p14:creationId xmlns:p14="http://schemas.microsoft.com/office/powerpoint/2010/main" val="13198661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RED - Divider">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C367BEBC-11CC-4680-9B62-1FFD41D3B45B}"/>
              </a:ext>
            </a:extLst>
          </p:cNvPr>
          <p:cNvPicPr preferRelativeResize="0">
            <a:picLocks/>
          </p:cNvPicPr>
          <p:nvPr userDrawn="1"/>
        </p:nvPicPr>
        <p:blipFill>
          <a:blip r:embed="rId2"/>
          <a:stretch>
            <a:fillRect/>
          </a:stretch>
        </p:blipFill>
        <p:spPr>
          <a:xfrm>
            <a:off x="6104585" y="7221"/>
            <a:ext cx="6078833" cy="6267487"/>
          </a:xfrm>
          <a:prstGeom prst="rect">
            <a:avLst/>
          </a:prstGeom>
        </p:spPr>
      </p:pic>
      <p:sp>
        <p:nvSpPr>
          <p:cNvPr id="2" name="Title 1"/>
          <p:cNvSpPr>
            <a:spLocks noGrp="1"/>
          </p:cNvSpPr>
          <p:nvPr userDrawn="1">
            <p:ph type="title" hasCustomPrompt="1"/>
          </p:nvPr>
        </p:nvSpPr>
        <p:spPr bwMode="gray">
          <a:xfrm>
            <a:off x="759012" y="1958561"/>
            <a:ext cx="4230624" cy="1204859"/>
          </a:xfrm>
        </p:spPr>
        <p:txBody>
          <a:bodyPr anchor="b" anchorCtr="0"/>
          <a:lstStyle>
            <a:lvl1pPr>
              <a:defRPr sz="3600" b="0">
                <a:solidFill>
                  <a:schemeClr val="tx1"/>
                </a:solidFill>
              </a:defRPr>
            </a:lvl1pPr>
          </a:lstStyle>
          <a:p>
            <a:r>
              <a:rPr lang="en-US" dirty="0"/>
              <a:t>Click to add title</a:t>
            </a:r>
          </a:p>
        </p:txBody>
      </p:sp>
      <p:sp>
        <p:nvSpPr>
          <p:cNvPr id="8" name="Text Placeholder 7"/>
          <p:cNvSpPr>
            <a:spLocks noGrp="1"/>
          </p:cNvSpPr>
          <p:nvPr userDrawn="1">
            <p:ph type="body" sz="quarter" idx="13" hasCustomPrompt="1"/>
          </p:nvPr>
        </p:nvSpPr>
        <p:spPr>
          <a:xfrm>
            <a:off x="778099" y="3569448"/>
            <a:ext cx="4230624" cy="1104153"/>
          </a:xfrm>
        </p:spPr>
        <p:txBody>
          <a:bodyPr/>
          <a:lstStyle>
            <a:lvl1pPr marL="0" indent="0">
              <a:buNone/>
              <a:defRPr sz="2400">
                <a:solidFill>
                  <a:schemeClr val="bg2"/>
                </a:solidFill>
              </a:defRPr>
            </a:lvl1pPr>
            <a:lvl2pPr marL="227008" indent="0">
              <a:buNone/>
              <a:defRPr sz="2000">
                <a:solidFill>
                  <a:srgbClr val="6E6259"/>
                </a:solidFill>
              </a:defRPr>
            </a:lvl2pPr>
            <a:lvl3pPr marL="514338" indent="0">
              <a:buNone/>
              <a:defRPr sz="2000">
                <a:solidFill>
                  <a:srgbClr val="6E6259"/>
                </a:solidFill>
              </a:defRPr>
            </a:lvl3pPr>
            <a:lvl4pPr marL="687371" indent="0">
              <a:buNone/>
              <a:defRPr sz="2000">
                <a:solidFill>
                  <a:srgbClr val="6E6259"/>
                </a:solidFill>
              </a:defRPr>
            </a:lvl4pPr>
            <a:lvl5pPr marL="877866" indent="0">
              <a:buNone/>
              <a:defRPr sz="2000">
                <a:solidFill>
                  <a:srgbClr val="6E6259"/>
                </a:solidFill>
              </a:defRPr>
            </a:lvl5pPr>
          </a:lstStyle>
          <a:p>
            <a:pPr lvl="0"/>
            <a:r>
              <a:rPr lang="en-US" dirty="0"/>
              <a:t>Click to add subtitle</a:t>
            </a:r>
          </a:p>
        </p:txBody>
      </p:sp>
      <p:sp>
        <p:nvSpPr>
          <p:cNvPr id="9" name="Slide Number Placeholder 2">
            <a:extLst>
              <a:ext uri="{FF2B5EF4-FFF2-40B4-BE49-F238E27FC236}">
                <a16:creationId xmlns:a16="http://schemas.microsoft.com/office/drawing/2014/main" id="{36ACCE17-FA59-4242-B1FB-9CBE66A15C94}"/>
              </a:ext>
            </a:extLst>
          </p:cNvPr>
          <p:cNvSpPr>
            <a:spLocks noGrp="1"/>
          </p:cNvSpPr>
          <p:nvPr>
            <p:ph type="sldNum" sz="quarter" idx="4"/>
          </p:nvPr>
        </p:nvSpPr>
        <p:spPr bwMode="gray">
          <a:xfrm>
            <a:off x="11633200" y="6423214"/>
            <a:ext cx="508000" cy="380999"/>
          </a:xfrm>
          <a:prstGeom prst="rect">
            <a:avLst/>
          </a:prstGeom>
        </p:spPr>
        <p:txBody>
          <a:bodyPr vert="horz" lIns="0" tIns="45720" rIns="0" bIns="45720" rtlCol="0" anchor="ctr" anchorCtr="1"/>
          <a:lstStyle>
            <a:lvl1pPr algn="r">
              <a:defRPr sz="900" b="0">
                <a:solidFill>
                  <a:schemeClr val="tx1"/>
                </a:solidFill>
                <a:latin typeface="Century Gothic" panose="020B0502020202020204" pitchFamily="34" charset="0"/>
                <a:cs typeface="Arial" charset="0"/>
              </a:defRPr>
            </a:lvl1pPr>
          </a:lstStyle>
          <a:p>
            <a:pPr>
              <a:defRPr/>
            </a:pPr>
            <a:fld id="{6D89E75D-4F18-41C4-8550-92ADAD8A39F0}" type="slidenum">
              <a:rPr lang="en-US" smtClean="0"/>
              <a:pPr>
                <a:defRPr/>
              </a:pPr>
              <a:t>‹#›</a:t>
            </a:fld>
            <a:endParaRPr lang="en-US" dirty="0"/>
          </a:p>
        </p:txBody>
      </p:sp>
    </p:spTree>
    <p:extLst>
      <p:ext uri="{BB962C8B-B14F-4D97-AF65-F5344CB8AC3E}">
        <p14:creationId xmlns:p14="http://schemas.microsoft.com/office/powerpoint/2010/main" val="1345100833"/>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RED - Title, Subtitle and Content">
    <p:bg bwMode="gray">
      <p:bgPr>
        <a:solidFill>
          <a:schemeClr val="bg1"/>
        </a:solidFill>
        <a:effectLst/>
      </p:bgPr>
    </p:bg>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A2637B7E-6569-4D8D-B056-80CAEF21FFC7}"/>
              </a:ext>
            </a:extLst>
          </p:cNvPr>
          <p:cNvSpPr>
            <a:spLocks noGrp="1"/>
          </p:cNvSpPr>
          <p:nvPr>
            <p:ph type="sldNum" sz="quarter" idx="4"/>
          </p:nvPr>
        </p:nvSpPr>
        <p:spPr bwMode="gray">
          <a:xfrm>
            <a:off x="11633200" y="6423214"/>
            <a:ext cx="508000" cy="380999"/>
          </a:xfrm>
          <a:prstGeom prst="rect">
            <a:avLst/>
          </a:prstGeom>
        </p:spPr>
        <p:txBody>
          <a:bodyPr vert="horz" lIns="0" tIns="45720" rIns="0" bIns="45720" rtlCol="0" anchor="ctr" anchorCtr="1"/>
          <a:lstStyle>
            <a:lvl1pPr algn="r">
              <a:defRPr sz="900" b="0">
                <a:solidFill>
                  <a:schemeClr val="tx1"/>
                </a:solidFill>
                <a:latin typeface="Century Gothic" panose="020B0502020202020204" pitchFamily="34" charset="0"/>
                <a:cs typeface="Arial" charset="0"/>
              </a:defRPr>
            </a:lvl1pPr>
          </a:lstStyle>
          <a:p>
            <a:pPr>
              <a:defRPr/>
            </a:pPr>
            <a:fld id="{6D89E75D-4F18-41C4-8550-92ADAD8A39F0}" type="slidenum">
              <a:rPr lang="en-US" smtClean="0"/>
              <a:pPr>
                <a:defRPr/>
              </a:pPr>
              <a:t>‹#›</a:t>
            </a:fld>
            <a:endParaRPr lang="en-US" dirty="0"/>
          </a:p>
        </p:txBody>
      </p:sp>
      <p:sp>
        <p:nvSpPr>
          <p:cNvPr id="7" name="Rectangle 2">
            <a:extLst>
              <a:ext uri="{FF2B5EF4-FFF2-40B4-BE49-F238E27FC236}">
                <a16:creationId xmlns:a16="http://schemas.microsoft.com/office/drawing/2014/main" id="{1931464B-90D4-4DCF-8C38-D5E0806A5845}"/>
              </a:ext>
            </a:extLst>
          </p:cNvPr>
          <p:cNvSpPr>
            <a:spLocks noGrp="1" noChangeArrowheads="1"/>
          </p:cNvSpPr>
          <p:nvPr>
            <p:ph type="title"/>
          </p:nvPr>
        </p:nvSpPr>
        <p:spPr bwMode="auto">
          <a:xfrm>
            <a:off x="506305" y="127836"/>
            <a:ext cx="1138732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b" anchorCtr="0" compatLnSpc="1">
            <a:prstTxWarp prst="textNoShape">
              <a:avLst/>
            </a:prstTxWarp>
            <a:noAutofit/>
          </a:bodyPr>
          <a:lstStyle>
            <a:lvl1pPr>
              <a:defRPr>
                <a:solidFill>
                  <a:schemeClr val="tx1"/>
                </a:solidFill>
              </a:defRPr>
            </a:lvl1pPr>
          </a:lstStyle>
          <a:p>
            <a:pPr lvl="0"/>
            <a:r>
              <a:rPr lang="en-US" altLang="en-US" dirty="0"/>
              <a:t>Click to edit Master title style</a:t>
            </a:r>
          </a:p>
        </p:txBody>
      </p:sp>
      <p:sp>
        <p:nvSpPr>
          <p:cNvPr id="8" name="Text Placeholder 4">
            <a:extLst>
              <a:ext uri="{FF2B5EF4-FFF2-40B4-BE49-F238E27FC236}">
                <a16:creationId xmlns:a16="http://schemas.microsoft.com/office/drawing/2014/main" id="{DF8D73E2-ADCF-4F46-8054-03BE64843631}"/>
              </a:ext>
            </a:extLst>
          </p:cNvPr>
          <p:cNvSpPr>
            <a:spLocks noGrp="1"/>
          </p:cNvSpPr>
          <p:nvPr>
            <p:ph type="body" sz="quarter" idx="10"/>
          </p:nvPr>
        </p:nvSpPr>
        <p:spPr>
          <a:xfrm>
            <a:off x="506307" y="942823"/>
            <a:ext cx="11371928" cy="521159"/>
          </a:xfrm>
        </p:spPr>
        <p:txBody>
          <a:bodyPr/>
          <a:lstStyle>
            <a:lvl1pPr marL="0" indent="0">
              <a:buNone/>
              <a:defRPr sz="2400">
                <a:solidFill>
                  <a:schemeClr val="bg2"/>
                </a:solidFill>
              </a:defRPr>
            </a:lvl1pPr>
            <a:lvl2pPr>
              <a:buNone/>
              <a:defRPr sz="2000"/>
            </a:lvl2pPr>
            <a:lvl3pPr>
              <a:buNone/>
              <a:defRPr sz="2000"/>
            </a:lvl3pPr>
            <a:lvl4pPr>
              <a:buNone/>
              <a:defRPr sz="2000"/>
            </a:lvl4pPr>
            <a:lvl5pPr>
              <a:buNone/>
              <a:defRPr sz="2000"/>
            </a:lvl5pPr>
          </a:lstStyle>
          <a:p>
            <a:pPr lvl="0"/>
            <a:r>
              <a:rPr lang="en-US" dirty="0"/>
              <a:t>Click to edit Master text styles</a:t>
            </a:r>
          </a:p>
        </p:txBody>
      </p:sp>
      <p:sp>
        <p:nvSpPr>
          <p:cNvPr id="9" name="Rectangle 3">
            <a:extLst>
              <a:ext uri="{FF2B5EF4-FFF2-40B4-BE49-F238E27FC236}">
                <a16:creationId xmlns:a16="http://schemas.microsoft.com/office/drawing/2014/main" id="{4F606659-F26A-4E81-99AF-737D1C3F49DC}"/>
              </a:ext>
            </a:extLst>
          </p:cNvPr>
          <p:cNvSpPr>
            <a:spLocks noGrp="1" noChangeArrowheads="1"/>
          </p:cNvSpPr>
          <p:nvPr>
            <p:ph idx="1"/>
          </p:nvPr>
        </p:nvSpPr>
        <p:spPr bwMode="auto">
          <a:xfrm>
            <a:off x="506307" y="1676399"/>
            <a:ext cx="11380893" cy="4568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0" compatLnSpc="1">
            <a:prstTxWarp prst="textNoShape">
              <a:avLst/>
            </a:prstTxWarp>
          </a:bodyPr>
          <a:lstStyle/>
          <a:p>
            <a:pPr lvl="0"/>
            <a:r>
              <a:rPr lang="en-US" altLang="en-US" dirty="0"/>
              <a:t>Click to edit Master text styles</a:t>
            </a:r>
          </a:p>
          <a:p>
            <a:pPr marL="400041" marR="0" lvl="1" indent="-179384" algn="l" defTabSz="914400" rtl="0" eaLnBrk="1" fontAlgn="base" latinLnBrk="0" hangingPunct="1">
              <a:lnSpc>
                <a:spcPct val="100000"/>
              </a:lnSpc>
              <a:spcBef>
                <a:spcPts val="475"/>
              </a:spcBef>
              <a:spcAft>
                <a:spcPct val="0"/>
              </a:spcAft>
              <a:buClr>
                <a:srgbClr val="38424A"/>
              </a:buClr>
              <a:buSzTx/>
              <a:buFont typeface="Century Gothic" panose="020B0502020202020204" pitchFamily="34" charset="0"/>
              <a:buChar char="−"/>
              <a:tabLst/>
              <a:defRPr/>
            </a:pPr>
            <a:r>
              <a:rPr kumimoji="0" lang="en-US" altLang="en-US" sz="1600" b="0" i="0" u="none" strike="noStrike" kern="0" cap="none" spc="0" normalizeH="0" baseline="0" noProof="0" dirty="0">
                <a:ln>
                  <a:noFill/>
                </a:ln>
                <a:solidFill>
                  <a:srgbClr val="38424A"/>
                </a:solidFill>
                <a:effectLst/>
                <a:uLnTx/>
                <a:uFillTx/>
                <a:latin typeface="+mn-lt"/>
                <a:ea typeface="MS PGothic" pitchFamily="34" charset="-128"/>
              </a:rPr>
              <a:t>Second level</a:t>
            </a:r>
          </a:p>
          <a:p>
            <a:pPr marL="627047" marR="0" lvl="2" indent="-173034" algn="l" defTabSz="914400" rtl="0" eaLnBrk="1" fontAlgn="base" latinLnBrk="0" hangingPunct="1">
              <a:lnSpc>
                <a:spcPct val="100000"/>
              </a:lnSpc>
              <a:spcBef>
                <a:spcPct val="0"/>
              </a:spcBef>
              <a:spcAft>
                <a:spcPct val="0"/>
              </a:spcAft>
              <a:buClr>
                <a:srgbClr val="38424A"/>
              </a:buClr>
              <a:buSzTx/>
              <a:buFont typeface="Wingdings" panose="05000000000000000000" pitchFamily="2" charset="2"/>
              <a:buChar char="§"/>
              <a:tabLst/>
              <a:defRPr/>
            </a:pPr>
            <a:r>
              <a:rPr kumimoji="0" lang="en-US" altLang="en-US" sz="1400" b="0" i="0" u="none" strike="noStrike" kern="0" cap="none" spc="0" normalizeH="0" baseline="0" noProof="0" dirty="0">
                <a:ln>
                  <a:noFill/>
                </a:ln>
                <a:solidFill>
                  <a:srgbClr val="38424A"/>
                </a:solidFill>
                <a:effectLst/>
                <a:uLnTx/>
                <a:uFillTx/>
                <a:latin typeface="+mn-lt"/>
                <a:ea typeface="MS PGothic" pitchFamily="34" charset="-128"/>
              </a:rPr>
              <a:t>Third level</a:t>
            </a:r>
          </a:p>
          <a:p>
            <a:pPr marL="804843" marR="0" lvl="3" indent="-168270" algn="l" defTabSz="914400" rtl="0" eaLnBrk="1" fontAlgn="base" latinLnBrk="0" hangingPunct="1">
              <a:lnSpc>
                <a:spcPct val="100000"/>
              </a:lnSpc>
              <a:spcBef>
                <a:spcPct val="0"/>
              </a:spcBef>
              <a:spcAft>
                <a:spcPct val="0"/>
              </a:spcAft>
              <a:buClr>
                <a:srgbClr val="38424A"/>
              </a:buClr>
              <a:buSzTx/>
              <a:buFont typeface="Century Gothic" panose="020B0502020202020204" pitchFamily="34" charset="0"/>
              <a:buChar char="−"/>
              <a:tabLst/>
              <a:defRPr/>
            </a:pPr>
            <a:r>
              <a:rPr kumimoji="0" lang="en-US" altLang="en-US" sz="1200" b="0" i="0" u="none" strike="noStrike" kern="0" cap="none" spc="0" normalizeH="0" baseline="0" noProof="0" dirty="0">
                <a:ln>
                  <a:noFill/>
                </a:ln>
                <a:solidFill>
                  <a:srgbClr val="38424A"/>
                </a:solidFill>
                <a:effectLst/>
                <a:uLnTx/>
                <a:uFillTx/>
                <a:latin typeface="+mn-lt"/>
                <a:ea typeface="MS PGothic" pitchFamily="34" charset="-128"/>
              </a:rPr>
              <a:t>Fourth level</a:t>
            </a:r>
          </a:p>
          <a:p>
            <a:pPr marL="914377" marR="0" lvl="4" indent="-87311" algn="l" defTabSz="914400" rtl="0" eaLnBrk="1" fontAlgn="base" latinLnBrk="0" hangingPunct="1">
              <a:lnSpc>
                <a:spcPct val="100000"/>
              </a:lnSpc>
              <a:spcBef>
                <a:spcPct val="0"/>
              </a:spcBef>
              <a:spcAft>
                <a:spcPct val="0"/>
              </a:spcAft>
              <a:buClr>
                <a:srgbClr val="38424A"/>
              </a:buClr>
              <a:buSzPct val="70000"/>
              <a:buFont typeface="Arial" panose="020B0604020202020204" pitchFamily="34" charset="0"/>
              <a:buChar char="•"/>
              <a:tabLst/>
              <a:defRPr/>
            </a:pPr>
            <a:r>
              <a:rPr kumimoji="0" lang="en-US" altLang="en-US" sz="1050" b="0" i="0" u="none" strike="noStrike" kern="0" cap="none" spc="0" normalizeH="0" baseline="0" noProof="0" dirty="0">
                <a:ln>
                  <a:noFill/>
                </a:ln>
                <a:solidFill>
                  <a:srgbClr val="38424A"/>
                </a:solidFill>
                <a:effectLst/>
                <a:uLnTx/>
                <a:uFillTx/>
                <a:latin typeface="+mn-lt"/>
                <a:ea typeface="MS PGothic" pitchFamily="34" charset="-128"/>
              </a:rPr>
              <a:t>Fifth level</a:t>
            </a:r>
          </a:p>
        </p:txBody>
      </p:sp>
    </p:spTree>
    <p:extLst>
      <p:ext uri="{BB962C8B-B14F-4D97-AF65-F5344CB8AC3E}">
        <p14:creationId xmlns:p14="http://schemas.microsoft.com/office/powerpoint/2010/main" val="1642405797"/>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RED - Comparison">
    <p:bg bwMode="gray">
      <p:bgPr>
        <a:solidFill>
          <a:schemeClr val="bg1"/>
        </a:solidFill>
        <a:effectLst/>
      </p:bgPr>
    </p:bg>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518499" y="1778000"/>
            <a:ext cx="5477435" cy="4394200"/>
          </a:xfrm>
        </p:spPr>
        <p:txBody>
          <a:bodyPr/>
          <a:lstStyle>
            <a:lvl1pPr>
              <a:buClr>
                <a:schemeClr val="bg2"/>
              </a:buClr>
              <a:defRPr sz="1800"/>
            </a:lvl1pPr>
            <a:lvl2pPr marL="400041" marR="0" indent="-179384" algn="l" defTabSz="914400" rtl="0" eaLnBrk="1" fontAlgn="base" latinLnBrk="0" hangingPunct="1">
              <a:lnSpc>
                <a:spcPct val="100000"/>
              </a:lnSpc>
              <a:spcBef>
                <a:spcPts val="475"/>
              </a:spcBef>
              <a:spcAft>
                <a:spcPct val="0"/>
              </a:spcAft>
              <a:buClr>
                <a:srgbClr val="38424A"/>
              </a:buClr>
              <a:buSzTx/>
              <a:buFont typeface="Century Gothic" panose="020B0502020202020204" pitchFamily="34" charset="0"/>
              <a:buChar char="−"/>
              <a:tabLst/>
              <a:defRPr sz="1600"/>
            </a:lvl2pPr>
            <a:lvl3pPr marL="627047" marR="0" indent="-173034" algn="l" defTabSz="914400" rtl="0" eaLnBrk="1" fontAlgn="base" latinLnBrk="0" hangingPunct="1">
              <a:lnSpc>
                <a:spcPct val="100000"/>
              </a:lnSpc>
              <a:spcBef>
                <a:spcPct val="0"/>
              </a:spcBef>
              <a:spcAft>
                <a:spcPct val="0"/>
              </a:spcAft>
              <a:buClr>
                <a:srgbClr val="38424A"/>
              </a:buClr>
              <a:buSzTx/>
              <a:buFont typeface="Wingdings" panose="05000000000000000000" pitchFamily="2" charset="2"/>
              <a:buChar char="§"/>
              <a:tabLst/>
              <a:defRPr sz="1400"/>
            </a:lvl3pPr>
            <a:lvl4pPr marL="804843" marR="0" indent="-168270" algn="l" defTabSz="914400" rtl="0" eaLnBrk="1" fontAlgn="base" latinLnBrk="0" hangingPunct="1">
              <a:lnSpc>
                <a:spcPct val="100000"/>
              </a:lnSpc>
              <a:spcBef>
                <a:spcPct val="0"/>
              </a:spcBef>
              <a:spcAft>
                <a:spcPct val="0"/>
              </a:spcAft>
              <a:buClr>
                <a:srgbClr val="38424A"/>
              </a:buClr>
              <a:buSzTx/>
              <a:buFont typeface="Century Gothic" panose="020B0502020202020204" pitchFamily="34" charset="0"/>
              <a:buChar char="−"/>
              <a:tabLst/>
              <a:defRPr sz="1200"/>
            </a:lvl4pPr>
            <a:lvl5pPr marL="914377" marR="0" indent="-87311" algn="l" defTabSz="914400" rtl="0" eaLnBrk="1" fontAlgn="base" latinLnBrk="0" hangingPunct="1">
              <a:lnSpc>
                <a:spcPct val="100000"/>
              </a:lnSpc>
              <a:spcBef>
                <a:spcPct val="0"/>
              </a:spcBef>
              <a:spcAft>
                <a:spcPct val="0"/>
              </a:spcAft>
              <a:buClr>
                <a:srgbClr val="38424A"/>
              </a:buClr>
              <a:buSzPct val="70000"/>
              <a:buFont typeface="Arial" panose="020B0604020202020204" pitchFamily="34" charset="0"/>
              <a:buChar char="•"/>
              <a:tabLst/>
              <a:defRPr sz="1050"/>
            </a:lvl5pPr>
            <a:lvl6pPr>
              <a:defRPr sz="1600"/>
            </a:lvl6pPr>
            <a:lvl7pPr>
              <a:defRPr sz="1600"/>
            </a:lvl7pPr>
            <a:lvl8pPr>
              <a:defRPr sz="1600"/>
            </a:lvl8pPr>
            <a:lvl9pPr>
              <a:defRPr sz="1600"/>
            </a:lvl9pPr>
          </a:lstStyle>
          <a:p>
            <a:pPr lvl="0"/>
            <a:r>
              <a:rPr lang="en-US" altLang="en-US" dirty="0"/>
              <a:t>Click to edit Master text styles</a:t>
            </a:r>
          </a:p>
          <a:p>
            <a:pPr marL="400041" marR="0" lvl="1" indent="-179384" algn="l" defTabSz="914400" rtl="0" eaLnBrk="1" fontAlgn="base" latinLnBrk="0" hangingPunct="1">
              <a:lnSpc>
                <a:spcPct val="100000"/>
              </a:lnSpc>
              <a:spcBef>
                <a:spcPts val="475"/>
              </a:spcBef>
              <a:spcAft>
                <a:spcPct val="0"/>
              </a:spcAft>
              <a:buClr>
                <a:srgbClr val="38424A"/>
              </a:buClr>
              <a:buSzTx/>
              <a:buFont typeface="Century Gothic" panose="020B0502020202020204" pitchFamily="34" charset="0"/>
              <a:buChar char="−"/>
              <a:tabLst/>
              <a:defRPr/>
            </a:pPr>
            <a:r>
              <a:rPr kumimoji="0" lang="en-US" altLang="en-US" sz="1600" b="0" i="0" u="none" strike="noStrike" kern="0" cap="none" spc="0" normalizeH="0" baseline="0" noProof="0" dirty="0">
                <a:ln>
                  <a:noFill/>
                </a:ln>
                <a:solidFill>
                  <a:srgbClr val="38424A"/>
                </a:solidFill>
                <a:effectLst/>
                <a:uLnTx/>
                <a:uFillTx/>
                <a:latin typeface="+mn-lt"/>
                <a:ea typeface="MS PGothic" pitchFamily="34" charset="-128"/>
              </a:rPr>
              <a:t>Second level</a:t>
            </a:r>
          </a:p>
          <a:p>
            <a:pPr marL="627047" marR="0" lvl="2" indent="-173034" algn="l" defTabSz="914400" rtl="0" eaLnBrk="1" fontAlgn="base" latinLnBrk="0" hangingPunct="1">
              <a:lnSpc>
                <a:spcPct val="100000"/>
              </a:lnSpc>
              <a:spcBef>
                <a:spcPct val="0"/>
              </a:spcBef>
              <a:spcAft>
                <a:spcPct val="0"/>
              </a:spcAft>
              <a:buClr>
                <a:srgbClr val="38424A"/>
              </a:buClr>
              <a:buSzTx/>
              <a:buFont typeface="Wingdings" panose="05000000000000000000" pitchFamily="2" charset="2"/>
              <a:buChar char="§"/>
              <a:tabLst/>
              <a:defRPr/>
            </a:pPr>
            <a:r>
              <a:rPr kumimoji="0" lang="en-US" altLang="en-US" sz="1400" b="0" i="0" u="none" strike="noStrike" kern="0" cap="none" spc="0" normalizeH="0" baseline="0" noProof="0" dirty="0">
                <a:ln>
                  <a:noFill/>
                </a:ln>
                <a:solidFill>
                  <a:srgbClr val="38424A"/>
                </a:solidFill>
                <a:effectLst/>
                <a:uLnTx/>
                <a:uFillTx/>
                <a:latin typeface="+mn-lt"/>
                <a:ea typeface="MS PGothic" pitchFamily="34" charset="-128"/>
              </a:rPr>
              <a:t>Third level</a:t>
            </a:r>
          </a:p>
          <a:p>
            <a:pPr marL="804843" marR="0" lvl="3" indent="-168270" algn="l" defTabSz="914400" rtl="0" eaLnBrk="1" fontAlgn="base" latinLnBrk="0" hangingPunct="1">
              <a:lnSpc>
                <a:spcPct val="100000"/>
              </a:lnSpc>
              <a:spcBef>
                <a:spcPct val="0"/>
              </a:spcBef>
              <a:spcAft>
                <a:spcPct val="0"/>
              </a:spcAft>
              <a:buClr>
                <a:srgbClr val="38424A"/>
              </a:buClr>
              <a:buSzTx/>
              <a:buFont typeface="Century Gothic" panose="020B0502020202020204" pitchFamily="34" charset="0"/>
              <a:buChar char="−"/>
              <a:tabLst/>
              <a:defRPr/>
            </a:pPr>
            <a:r>
              <a:rPr kumimoji="0" lang="en-US" altLang="en-US" sz="1200" b="0" i="0" u="none" strike="noStrike" kern="0" cap="none" spc="0" normalizeH="0" baseline="0" noProof="0" dirty="0">
                <a:ln>
                  <a:noFill/>
                </a:ln>
                <a:solidFill>
                  <a:srgbClr val="38424A"/>
                </a:solidFill>
                <a:effectLst/>
                <a:uLnTx/>
                <a:uFillTx/>
                <a:latin typeface="+mn-lt"/>
                <a:ea typeface="MS PGothic" pitchFamily="34" charset="-128"/>
              </a:rPr>
              <a:t>Fourth level</a:t>
            </a:r>
          </a:p>
          <a:p>
            <a:pPr marL="914377" marR="0" lvl="4" indent="-87311" algn="l" defTabSz="914400" rtl="0" eaLnBrk="1" fontAlgn="base" latinLnBrk="0" hangingPunct="1">
              <a:lnSpc>
                <a:spcPct val="100000"/>
              </a:lnSpc>
              <a:spcBef>
                <a:spcPct val="0"/>
              </a:spcBef>
              <a:spcAft>
                <a:spcPct val="0"/>
              </a:spcAft>
              <a:buClr>
                <a:srgbClr val="38424A"/>
              </a:buClr>
              <a:buSzPct val="70000"/>
              <a:buFont typeface="Arial" panose="020B0604020202020204" pitchFamily="34" charset="0"/>
              <a:buChar char="•"/>
              <a:tabLst/>
              <a:defRPr/>
            </a:pPr>
            <a:r>
              <a:rPr kumimoji="0" lang="en-US" altLang="en-US" sz="1050" b="0" i="0" u="none" strike="noStrike" kern="0" cap="none" spc="0" normalizeH="0" baseline="0" noProof="0" dirty="0">
                <a:ln>
                  <a:noFill/>
                </a:ln>
                <a:solidFill>
                  <a:srgbClr val="38424A"/>
                </a:solidFill>
                <a:effectLst/>
                <a:uLnTx/>
                <a:uFillTx/>
                <a:latin typeface="+mn-lt"/>
                <a:ea typeface="MS PGothic" pitchFamily="34" charset="-128"/>
              </a:rPr>
              <a:t>Fifth level</a:t>
            </a:r>
          </a:p>
        </p:txBody>
      </p:sp>
      <p:sp>
        <p:nvSpPr>
          <p:cNvPr id="6" name="Content Placeholder 5"/>
          <p:cNvSpPr>
            <a:spLocks noGrp="1"/>
          </p:cNvSpPr>
          <p:nvPr>
            <p:ph sz="quarter" idx="4" hasCustomPrompt="1"/>
          </p:nvPr>
        </p:nvSpPr>
        <p:spPr>
          <a:xfrm>
            <a:off x="6400800" y="1778000"/>
            <a:ext cx="5477435" cy="4394200"/>
          </a:xfrm>
        </p:spPr>
        <p:txBody>
          <a:bodyPr/>
          <a:lstStyle>
            <a:lvl1pPr>
              <a:buClr>
                <a:schemeClr val="bg2"/>
              </a:buClr>
              <a:defRPr sz="1800"/>
            </a:lvl1pPr>
            <a:lvl2pPr marL="400041" marR="0" indent="-179384" algn="l" defTabSz="914400" rtl="0" eaLnBrk="1" fontAlgn="base" latinLnBrk="0" hangingPunct="1">
              <a:lnSpc>
                <a:spcPct val="100000"/>
              </a:lnSpc>
              <a:spcBef>
                <a:spcPts val="475"/>
              </a:spcBef>
              <a:spcAft>
                <a:spcPct val="0"/>
              </a:spcAft>
              <a:buClr>
                <a:srgbClr val="38424A"/>
              </a:buClr>
              <a:buSzTx/>
              <a:buFont typeface="Century Gothic" panose="020B0502020202020204" pitchFamily="34" charset="0"/>
              <a:buChar char="−"/>
              <a:tabLst/>
              <a:defRPr sz="1600"/>
            </a:lvl2pPr>
            <a:lvl3pPr marL="627047" marR="0" indent="-173034" algn="l" defTabSz="914400" rtl="0" eaLnBrk="1" fontAlgn="base" latinLnBrk="0" hangingPunct="1">
              <a:lnSpc>
                <a:spcPct val="100000"/>
              </a:lnSpc>
              <a:spcBef>
                <a:spcPct val="0"/>
              </a:spcBef>
              <a:spcAft>
                <a:spcPct val="0"/>
              </a:spcAft>
              <a:buClr>
                <a:srgbClr val="38424A"/>
              </a:buClr>
              <a:buSzTx/>
              <a:buFont typeface="Wingdings" panose="05000000000000000000" pitchFamily="2" charset="2"/>
              <a:buChar char="§"/>
              <a:tabLst/>
              <a:defRPr sz="1400"/>
            </a:lvl3pPr>
            <a:lvl4pPr marL="804843" marR="0" indent="-168270" algn="l" defTabSz="914400" rtl="0" eaLnBrk="1" fontAlgn="base" latinLnBrk="0" hangingPunct="1">
              <a:lnSpc>
                <a:spcPct val="100000"/>
              </a:lnSpc>
              <a:spcBef>
                <a:spcPct val="0"/>
              </a:spcBef>
              <a:spcAft>
                <a:spcPct val="0"/>
              </a:spcAft>
              <a:buClr>
                <a:srgbClr val="38424A"/>
              </a:buClr>
              <a:buSzTx/>
              <a:buFont typeface="Century Gothic" panose="020B0502020202020204" pitchFamily="34" charset="0"/>
              <a:buChar char="−"/>
              <a:tabLst/>
              <a:defRPr sz="1200"/>
            </a:lvl4pPr>
            <a:lvl5pPr marL="914377" marR="0" indent="-87311" algn="l" defTabSz="914400" rtl="0" eaLnBrk="1" fontAlgn="base" latinLnBrk="0" hangingPunct="1">
              <a:lnSpc>
                <a:spcPct val="100000"/>
              </a:lnSpc>
              <a:spcBef>
                <a:spcPct val="0"/>
              </a:spcBef>
              <a:spcAft>
                <a:spcPct val="0"/>
              </a:spcAft>
              <a:buClr>
                <a:srgbClr val="38424A"/>
              </a:buClr>
              <a:buSzPct val="70000"/>
              <a:buFont typeface="Arial" panose="020B0604020202020204" pitchFamily="34" charset="0"/>
              <a:buChar char="•"/>
              <a:tabLst/>
              <a:defRPr sz="1050"/>
            </a:lvl5pPr>
            <a:lvl6pPr>
              <a:defRPr sz="1600"/>
            </a:lvl6pPr>
            <a:lvl7pPr>
              <a:defRPr sz="1600"/>
            </a:lvl7pPr>
            <a:lvl8pPr>
              <a:defRPr sz="1600"/>
            </a:lvl8pPr>
            <a:lvl9pPr>
              <a:defRPr sz="1600"/>
            </a:lvl9pPr>
          </a:lstStyle>
          <a:p>
            <a:pPr lvl="0"/>
            <a:r>
              <a:rPr lang="en-US" dirty="0"/>
              <a:t>Click to edit Master text styles</a:t>
            </a:r>
          </a:p>
          <a:p>
            <a:pPr marL="400041" marR="0" lvl="1" indent="-179384" algn="l" defTabSz="914400" rtl="0" eaLnBrk="1" fontAlgn="base" latinLnBrk="0" hangingPunct="1">
              <a:lnSpc>
                <a:spcPct val="100000"/>
              </a:lnSpc>
              <a:spcBef>
                <a:spcPts val="475"/>
              </a:spcBef>
              <a:spcAft>
                <a:spcPct val="0"/>
              </a:spcAft>
              <a:buClr>
                <a:srgbClr val="38424A"/>
              </a:buClr>
              <a:buSzTx/>
              <a:buFont typeface="Century Gothic" panose="020B0502020202020204" pitchFamily="34" charset="0"/>
              <a:buChar char="−"/>
              <a:tabLst/>
              <a:defRPr/>
            </a:pPr>
            <a:r>
              <a:rPr kumimoji="0" lang="en-US" altLang="en-US" sz="1600" b="0" i="0" u="none" strike="noStrike" kern="0" cap="none" spc="0" normalizeH="0" baseline="0" noProof="0" dirty="0">
                <a:ln>
                  <a:noFill/>
                </a:ln>
                <a:solidFill>
                  <a:srgbClr val="38424A"/>
                </a:solidFill>
                <a:effectLst/>
                <a:uLnTx/>
                <a:uFillTx/>
                <a:latin typeface="+mn-lt"/>
                <a:ea typeface="MS PGothic" pitchFamily="34" charset="-128"/>
              </a:rPr>
              <a:t>Second level</a:t>
            </a:r>
          </a:p>
          <a:p>
            <a:pPr marL="627047" marR="0" lvl="2" indent="-173034" algn="l" defTabSz="914400" rtl="0" eaLnBrk="1" fontAlgn="base" latinLnBrk="0" hangingPunct="1">
              <a:lnSpc>
                <a:spcPct val="100000"/>
              </a:lnSpc>
              <a:spcBef>
                <a:spcPct val="0"/>
              </a:spcBef>
              <a:spcAft>
                <a:spcPct val="0"/>
              </a:spcAft>
              <a:buClr>
                <a:srgbClr val="38424A"/>
              </a:buClr>
              <a:buSzTx/>
              <a:buFont typeface="Wingdings" panose="05000000000000000000" pitchFamily="2" charset="2"/>
              <a:buChar char="§"/>
              <a:tabLst/>
              <a:defRPr/>
            </a:pPr>
            <a:r>
              <a:rPr kumimoji="0" lang="en-US" altLang="en-US" sz="1400" b="0" i="0" u="none" strike="noStrike" kern="0" cap="none" spc="0" normalizeH="0" baseline="0" noProof="0" dirty="0">
                <a:ln>
                  <a:noFill/>
                </a:ln>
                <a:solidFill>
                  <a:srgbClr val="38424A"/>
                </a:solidFill>
                <a:effectLst/>
                <a:uLnTx/>
                <a:uFillTx/>
                <a:latin typeface="+mn-lt"/>
                <a:ea typeface="MS PGothic" pitchFamily="34" charset="-128"/>
              </a:rPr>
              <a:t>Third level</a:t>
            </a:r>
          </a:p>
          <a:p>
            <a:pPr marL="804843" marR="0" lvl="3" indent="-168270" algn="l" defTabSz="914400" rtl="0" eaLnBrk="1" fontAlgn="base" latinLnBrk="0" hangingPunct="1">
              <a:lnSpc>
                <a:spcPct val="100000"/>
              </a:lnSpc>
              <a:spcBef>
                <a:spcPct val="0"/>
              </a:spcBef>
              <a:spcAft>
                <a:spcPct val="0"/>
              </a:spcAft>
              <a:buClr>
                <a:srgbClr val="38424A"/>
              </a:buClr>
              <a:buSzTx/>
              <a:buFont typeface="Century Gothic" panose="020B0502020202020204" pitchFamily="34" charset="0"/>
              <a:buChar char="−"/>
              <a:tabLst/>
              <a:defRPr/>
            </a:pPr>
            <a:r>
              <a:rPr kumimoji="0" lang="en-US" altLang="en-US" sz="1200" b="0" i="0" u="none" strike="noStrike" kern="0" cap="none" spc="0" normalizeH="0" baseline="0" noProof="0" dirty="0">
                <a:ln>
                  <a:noFill/>
                </a:ln>
                <a:solidFill>
                  <a:srgbClr val="38424A"/>
                </a:solidFill>
                <a:effectLst/>
                <a:uLnTx/>
                <a:uFillTx/>
                <a:latin typeface="+mn-lt"/>
                <a:ea typeface="MS PGothic" pitchFamily="34" charset="-128"/>
              </a:rPr>
              <a:t>Fourth level</a:t>
            </a:r>
          </a:p>
          <a:p>
            <a:pPr marL="914377" marR="0" lvl="4" indent="-87311" algn="l" defTabSz="914400" rtl="0" eaLnBrk="1" fontAlgn="base" latinLnBrk="0" hangingPunct="1">
              <a:lnSpc>
                <a:spcPct val="100000"/>
              </a:lnSpc>
              <a:spcBef>
                <a:spcPct val="0"/>
              </a:spcBef>
              <a:spcAft>
                <a:spcPct val="0"/>
              </a:spcAft>
              <a:buClr>
                <a:srgbClr val="38424A"/>
              </a:buClr>
              <a:buSzPct val="70000"/>
              <a:buFont typeface="Arial" panose="020B0604020202020204" pitchFamily="34" charset="0"/>
              <a:buChar char="•"/>
              <a:tabLst/>
              <a:defRPr/>
            </a:pPr>
            <a:r>
              <a:rPr kumimoji="0" lang="en-US" altLang="en-US" sz="1050" b="0" i="0" u="none" strike="noStrike" kern="0" cap="none" spc="0" normalizeH="0" baseline="0" noProof="0" dirty="0">
                <a:ln>
                  <a:noFill/>
                </a:ln>
                <a:solidFill>
                  <a:srgbClr val="38424A"/>
                </a:solidFill>
                <a:effectLst/>
                <a:uLnTx/>
                <a:uFillTx/>
                <a:latin typeface="+mn-lt"/>
                <a:ea typeface="MS PGothic" pitchFamily="34" charset="-128"/>
              </a:rPr>
              <a:t>Fifth level</a:t>
            </a:r>
          </a:p>
        </p:txBody>
      </p:sp>
      <p:sp>
        <p:nvSpPr>
          <p:cNvPr id="19" name="Rectangle 2"/>
          <p:cNvSpPr>
            <a:spLocks noGrp="1" noChangeArrowheads="1"/>
          </p:cNvSpPr>
          <p:nvPr>
            <p:ph type="title"/>
          </p:nvPr>
        </p:nvSpPr>
        <p:spPr bwMode="auto">
          <a:xfrm>
            <a:off x="506305" y="127836"/>
            <a:ext cx="1138732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b" anchorCtr="0" compatLnSpc="1">
            <a:prstTxWarp prst="textNoShape">
              <a:avLst/>
            </a:prstTxWarp>
            <a:noAutofit/>
          </a:bodyPr>
          <a:lstStyle>
            <a:lvl1pPr>
              <a:defRPr>
                <a:solidFill>
                  <a:schemeClr val="tx1"/>
                </a:solidFill>
              </a:defRPr>
            </a:lvl1pPr>
          </a:lstStyle>
          <a:p>
            <a:pPr lvl="0"/>
            <a:r>
              <a:rPr lang="en-US" altLang="en-US" dirty="0"/>
              <a:t>Click to edit Master title style</a:t>
            </a:r>
          </a:p>
        </p:txBody>
      </p:sp>
      <p:sp>
        <p:nvSpPr>
          <p:cNvPr id="21" name="Text Placeholder 4"/>
          <p:cNvSpPr>
            <a:spLocks noGrp="1"/>
          </p:cNvSpPr>
          <p:nvPr>
            <p:ph type="body" sz="quarter" idx="10"/>
          </p:nvPr>
        </p:nvSpPr>
        <p:spPr>
          <a:xfrm>
            <a:off x="506307" y="942823"/>
            <a:ext cx="11371928" cy="521159"/>
          </a:xfrm>
        </p:spPr>
        <p:txBody>
          <a:bodyPr/>
          <a:lstStyle>
            <a:lvl1pPr marL="0" indent="0">
              <a:buNone/>
              <a:defRPr sz="2400">
                <a:solidFill>
                  <a:schemeClr val="bg2"/>
                </a:solidFill>
              </a:defRPr>
            </a:lvl1pPr>
            <a:lvl2pPr>
              <a:buNone/>
              <a:defRPr sz="2000"/>
            </a:lvl2pPr>
            <a:lvl3pPr>
              <a:buNone/>
              <a:defRPr sz="2000"/>
            </a:lvl3pPr>
            <a:lvl4pPr>
              <a:buNone/>
              <a:defRPr sz="2000"/>
            </a:lvl4pPr>
            <a:lvl5pPr>
              <a:buNone/>
              <a:defRPr sz="2000"/>
            </a:lvl5pPr>
          </a:lstStyle>
          <a:p>
            <a:pPr lvl="0"/>
            <a:r>
              <a:rPr lang="en-US" dirty="0"/>
              <a:t>Click to edit Master text styles</a:t>
            </a:r>
          </a:p>
        </p:txBody>
      </p:sp>
      <p:sp>
        <p:nvSpPr>
          <p:cNvPr id="7" name="Slide Number Placeholder 2">
            <a:extLst>
              <a:ext uri="{FF2B5EF4-FFF2-40B4-BE49-F238E27FC236}">
                <a16:creationId xmlns:a16="http://schemas.microsoft.com/office/drawing/2014/main" id="{C1D8D338-5723-4275-BF17-AF58FD5F24D4}"/>
              </a:ext>
            </a:extLst>
          </p:cNvPr>
          <p:cNvSpPr>
            <a:spLocks noGrp="1"/>
          </p:cNvSpPr>
          <p:nvPr>
            <p:ph type="sldNum" sz="quarter" idx="11"/>
          </p:nvPr>
        </p:nvSpPr>
        <p:spPr bwMode="gray">
          <a:xfrm>
            <a:off x="11633200" y="6423214"/>
            <a:ext cx="508000" cy="380999"/>
          </a:xfrm>
          <a:prstGeom prst="rect">
            <a:avLst/>
          </a:prstGeom>
        </p:spPr>
        <p:txBody>
          <a:bodyPr vert="horz" lIns="0" tIns="45720" rIns="0" bIns="45720" rtlCol="0" anchor="ctr" anchorCtr="1"/>
          <a:lstStyle>
            <a:lvl1pPr algn="r">
              <a:defRPr sz="900" b="0">
                <a:solidFill>
                  <a:schemeClr val="tx1"/>
                </a:solidFill>
                <a:latin typeface="Century Gothic" panose="020B0502020202020204" pitchFamily="34" charset="0"/>
                <a:cs typeface="Arial" charset="0"/>
              </a:defRPr>
            </a:lvl1pPr>
          </a:lstStyle>
          <a:p>
            <a:pPr>
              <a:defRPr/>
            </a:pPr>
            <a:fld id="{6D89E75D-4F18-41C4-8550-92ADAD8A39F0}" type="slidenum">
              <a:rPr lang="en-US" smtClean="0"/>
              <a:pPr>
                <a:defRPr/>
              </a:pPr>
              <a:t>‹#›</a:t>
            </a:fld>
            <a:endParaRPr lang="en-US" dirty="0"/>
          </a:p>
        </p:txBody>
      </p:sp>
    </p:spTree>
    <p:extLst>
      <p:ext uri="{BB962C8B-B14F-4D97-AF65-F5344CB8AC3E}">
        <p14:creationId xmlns:p14="http://schemas.microsoft.com/office/powerpoint/2010/main" val="1841148524"/>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2_RED - Title Only">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06305" y="127280"/>
            <a:ext cx="11387328" cy="914400"/>
          </a:xfrm>
        </p:spPr>
        <p:txBody>
          <a:bodyPr/>
          <a:lstStyle>
            <a:lvl1pPr>
              <a:defRPr>
                <a:solidFill>
                  <a:schemeClr val="tx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7A3E236E-0026-4405-9921-108DD9F0C985}"/>
              </a:ext>
            </a:extLst>
          </p:cNvPr>
          <p:cNvSpPr>
            <a:spLocks noGrp="1"/>
          </p:cNvSpPr>
          <p:nvPr>
            <p:ph type="sldNum" sz="quarter" idx="4"/>
          </p:nvPr>
        </p:nvSpPr>
        <p:spPr bwMode="gray">
          <a:xfrm>
            <a:off x="11633200" y="6423214"/>
            <a:ext cx="508000" cy="380999"/>
          </a:xfrm>
          <a:prstGeom prst="rect">
            <a:avLst/>
          </a:prstGeom>
        </p:spPr>
        <p:txBody>
          <a:bodyPr vert="horz" lIns="0" tIns="45720" rIns="0" bIns="45720" rtlCol="0" anchor="ctr" anchorCtr="1"/>
          <a:lstStyle>
            <a:lvl1pPr algn="r">
              <a:defRPr sz="900" b="0">
                <a:solidFill>
                  <a:schemeClr val="tx1"/>
                </a:solidFill>
                <a:latin typeface="Century Gothic" panose="020B0502020202020204" pitchFamily="34" charset="0"/>
                <a:cs typeface="Arial" charset="0"/>
              </a:defRPr>
            </a:lvl1pPr>
          </a:lstStyle>
          <a:p>
            <a:pPr>
              <a:defRPr/>
            </a:pPr>
            <a:fld id="{6D89E75D-4F18-41C4-8550-92ADAD8A39F0}" type="slidenum">
              <a:rPr lang="en-US" smtClean="0"/>
              <a:pPr>
                <a:defRPr/>
              </a:pPr>
              <a:t>‹#›</a:t>
            </a:fld>
            <a:endParaRPr lang="en-US" dirty="0"/>
          </a:p>
        </p:txBody>
      </p:sp>
    </p:spTree>
    <p:extLst>
      <p:ext uri="{BB962C8B-B14F-4D97-AF65-F5344CB8AC3E}">
        <p14:creationId xmlns:p14="http://schemas.microsoft.com/office/powerpoint/2010/main" val="3089602897"/>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2_RED - Blank">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E8878849-8DAD-43B7-B460-D55A255D9D09}"/>
              </a:ext>
            </a:extLst>
          </p:cNvPr>
          <p:cNvSpPr>
            <a:spLocks noGrp="1"/>
          </p:cNvSpPr>
          <p:nvPr>
            <p:ph type="sldNum" sz="quarter" idx="4"/>
          </p:nvPr>
        </p:nvSpPr>
        <p:spPr bwMode="gray">
          <a:xfrm>
            <a:off x="11633200" y="6423214"/>
            <a:ext cx="508000" cy="380999"/>
          </a:xfrm>
          <a:prstGeom prst="rect">
            <a:avLst/>
          </a:prstGeom>
        </p:spPr>
        <p:txBody>
          <a:bodyPr vert="horz" lIns="0" tIns="45720" rIns="0" bIns="45720" rtlCol="0" anchor="ctr" anchorCtr="1"/>
          <a:lstStyle>
            <a:lvl1pPr algn="r">
              <a:defRPr sz="900" b="0">
                <a:solidFill>
                  <a:schemeClr val="tx1"/>
                </a:solidFill>
                <a:latin typeface="Century Gothic" panose="020B0502020202020204" pitchFamily="34" charset="0"/>
                <a:cs typeface="Arial" charset="0"/>
              </a:defRPr>
            </a:lvl1pPr>
          </a:lstStyle>
          <a:p>
            <a:pPr>
              <a:defRPr/>
            </a:pPr>
            <a:fld id="{6D89E75D-4F18-41C4-8550-92ADAD8A39F0}" type="slidenum">
              <a:rPr lang="en-US" smtClean="0"/>
              <a:pPr>
                <a:defRPr/>
              </a:pPr>
              <a:t>‹#›</a:t>
            </a:fld>
            <a:endParaRPr lang="en-US" dirty="0"/>
          </a:p>
        </p:txBody>
      </p:sp>
    </p:spTree>
    <p:extLst>
      <p:ext uri="{BB962C8B-B14F-4D97-AF65-F5344CB8AC3E}">
        <p14:creationId xmlns:p14="http://schemas.microsoft.com/office/powerpoint/2010/main" val="4264711330"/>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387791"/>
            <a:ext cx="7315200" cy="333978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endParaRPr lang="en-US" dirty="0"/>
          </a:p>
        </p:txBody>
      </p:sp>
      <p:sp>
        <p:nvSpPr>
          <p:cNvPr id="6" name="Slide Number Placeholder 5"/>
          <p:cNvSpPr>
            <a:spLocks noGrp="1"/>
          </p:cNvSpPr>
          <p:nvPr>
            <p:ph type="sldNum" sz="quarter" idx="11"/>
          </p:nvPr>
        </p:nvSpPr>
        <p:spPr/>
        <p:txBody>
          <a:bodyPr/>
          <a:lstStyle>
            <a:lvl1pPr>
              <a:defRPr/>
            </a:lvl1pPr>
          </a:lstStyle>
          <a:p>
            <a:fld id="{8829B6C4-39F8-4822-AF44-3E1909BEC45D}" type="slidenum">
              <a:rPr lang="en-US" smtClean="0"/>
              <a:t>‹#›</a:t>
            </a:fld>
            <a:endParaRPr lang="en-US" dirty="0"/>
          </a:p>
        </p:txBody>
      </p:sp>
    </p:spTree>
    <p:extLst>
      <p:ext uri="{BB962C8B-B14F-4D97-AF65-F5344CB8AC3E}">
        <p14:creationId xmlns:p14="http://schemas.microsoft.com/office/powerpoint/2010/main" val="7875396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endParaRPr lang="en-US" dirty="0"/>
          </a:p>
        </p:txBody>
      </p:sp>
      <p:sp>
        <p:nvSpPr>
          <p:cNvPr id="5" name="Slide Number Placeholder 5"/>
          <p:cNvSpPr>
            <a:spLocks noGrp="1"/>
          </p:cNvSpPr>
          <p:nvPr>
            <p:ph type="sldNum" sz="quarter" idx="11"/>
          </p:nvPr>
        </p:nvSpPr>
        <p:spPr/>
        <p:txBody>
          <a:bodyPr/>
          <a:lstStyle>
            <a:lvl1pPr>
              <a:defRPr/>
            </a:lvl1pPr>
          </a:lstStyle>
          <a:p>
            <a:fld id="{8829B6C4-39F8-4822-AF44-3E1909BEC45D}" type="slidenum">
              <a:rPr lang="en-US" smtClean="0"/>
              <a:t>‹#›</a:t>
            </a:fld>
            <a:endParaRPr lang="en-US" dirty="0"/>
          </a:p>
        </p:txBody>
      </p:sp>
    </p:spTree>
    <p:extLst>
      <p:ext uri="{BB962C8B-B14F-4D97-AF65-F5344CB8AC3E}">
        <p14:creationId xmlns:p14="http://schemas.microsoft.com/office/powerpoint/2010/main" val="37231802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1301"/>
            <a:ext cx="10972800" cy="790575"/>
          </a:xfr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endParaRPr lang="en-US" dirty="0"/>
          </a:p>
        </p:txBody>
      </p:sp>
      <p:sp>
        <p:nvSpPr>
          <p:cNvPr id="5" name="Slide Number Placeholder 5"/>
          <p:cNvSpPr>
            <a:spLocks noGrp="1"/>
          </p:cNvSpPr>
          <p:nvPr>
            <p:ph type="sldNum" sz="quarter" idx="11"/>
          </p:nvPr>
        </p:nvSpPr>
        <p:spPr/>
        <p:txBody>
          <a:bodyPr/>
          <a:lstStyle>
            <a:lvl1pPr>
              <a:defRPr/>
            </a:lvl1pPr>
          </a:lstStyle>
          <a:p>
            <a:fld id="{8829B6C4-39F8-4822-AF44-3E1909BEC45D}" type="slidenum">
              <a:rPr lang="en-US" smtClean="0"/>
              <a:t>‹#›</a:t>
            </a:fld>
            <a:endParaRPr lang="en-US" dirty="0"/>
          </a:p>
        </p:txBody>
      </p:sp>
    </p:spTree>
    <p:extLst>
      <p:ext uri="{BB962C8B-B14F-4D97-AF65-F5344CB8AC3E}">
        <p14:creationId xmlns:p14="http://schemas.microsoft.com/office/powerpoint/2010/main" val="17957092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3.png"/><Relationship Id="rId2" Type="http://schemas.openxmlformats.org/officeDocument/2006/relationships/slideLayout" Target="../slideLayouts/slideLayout16.xml"/><Relationship Id="rId16" Type="http://schemas.openxmlformats.org/officeDocument/2006/relationships/image" Target="../media/image2.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10.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9.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58.xml"/><Relationship Id="rId7" Type="http://schemas.openxmlformats.org/officeDocument/2006/relationships/oleObject" Target="../embeddings/oleObject1.bin"/><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6.xml"/><Relationship Id="rId9"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61.xml"/><Relationship Id="rId7" Type="http://schemas.openxmlformats.org/officeDocument/2006/relationships/theme" Target="../theme/theme7.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PPT_Design_withSmallPhotos_Round3_Page_9.png"/>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 y="0"/>
            <a:ext cx="121898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609600" y="241301"/>
            <a:ext cx="109728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5207001" y="6356351"/>
            <a:ext cx="4855633"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lumMod val="50000"/>
                    <a:lumOff val="50000"/>
                  </a:schemeClr>
                </a:solidFill>
                <a:latin typeface="+mn-lt"/>
                <a:ea typeface="+mn-ea"/>
                <a:cs typeface="+mn-cs"/>
              </a:defRPr>
            </a:lvl1pPr>
          </a:lstStyle>
          <a:p>
            <a:endParaRPr lang="en-US" dirty="0"/>
          </a:p>
        </p:txBody>
      </p:sp>
      <p:sp>
        <p:nvSpPr>
          <p:cNvPr id="6" name="Slide Number Placeholder 5"/>
          <p:cNvSpPr>
            <a:spLocks noGrp="1"/>
          </p:cNvSpPr>
          <p:nvPr>
            <p:ph type="sldNum" sz="quarter" idx="4"/>
          </p:nvPr>
        </p:nvSpPr>
        <p:spPr>
          <a:xfrm>
            <a:off x="10526184" y="6356351"/>
            <a:ext cx="1056216"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F7F7F"/>
                </a:solidFill>
                <a:ea typeface="MS PGothic" pitchFamily="34" charset="-128"/>
                <a:cs typeface="+mn-cs"/>
              </a:defRPr>
            </a:lvl1pPr>
          </a:lstStyle>
          <a:p>
            <a:fld id="{8829B6C4-39F8-4822-AF44-3E1909BEC45D}" type="slidenum">
              <a:rPr lang="en-US" smtClean="0"/>
              <a:t>‹#›</a:t>
            </a:fld>
            <a:endParaRPr lang="en-US" dirty="0"/>
          </a:p>
        </p:txBody>
      </p:sp>
      <p:sp>
        <p:nvSpPr>
          <p:cNvPr id="1031" name="TextBox 6"/>
          <p:cNvSpPr txBox="1">
            <a:spLocks noChangeArrowheads="1"/>
          </p:cNvSpPr>
          <p:nvPr/>
        </p:nvSpPr>
        <p:spPr bwMode="auto">
          <a:xfrm>
            <a:off x="480485" y="6348414"/>
            <a:ext cx="580178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a:solidFill>
                  <a:srgbClr val="7F7F7F"/>
                </a:solidFill>
                <a:cs typeface="+mn-cs"/>
              </a:rPr>
              <a:t>VA Benefits Briefing</a:t>
            </a:r>
          </a:p>
        </p:txBody>
      </p:sp>
      <p:sp>
        <p:nvSpPr>
          <p:cNvPr id="8" name="Rectangle 7"/>
          <p:cNvSpPr/>
          <p:nvPr userDrawn="1"/>
        </p:nvSpPr>
        <p:spPr>
          <a:xfrm>
            <a:off x="0" y="6140677"/>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9" name="Picture 8" descr="myVa.White.Vector.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89353" y="6386544"/>
            <a:ext cx="1088020" cy="415925"/>
          </a:xfrm>
          <a:prstGeom prst="rect">
            <a:avLst/>
          </a:prstGeom>
        </p:spPr>
      </p:pic>
      <p:pic>
        <p:nvPicPr>
          <p:cNvPr id="10" name="Picture 9" descr="3. VA-PRIMARY-HORIZONTAL-WHITE-VECTOR2.pn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387965" y="6271406"/>
            <a:ext cx="2946400" cy="491986"/>
          </a:xfrm>
          <a:prstGeom prst="rect">
            <a:avLst/>
          </a:prstGeom>
        </p:spPr>
      </p:pic>
      <p:sp>
        <p:nvSpPr>
          <p:cNvPr id="11" name="Rectangle 10"/>
          <p:cNvSpPr/>
          <p:nvPr userDrawn="1"/>
        </p:nvSpPr>
        <p:spPr>
          <a:xfrm>
            <a:off x="0" y="0"/>
            <a:ext cx="12192000" cy="10668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cSld>
  <p:clrMap bg1="lt1" tx1="dk1" bg2="lt2" tx2="dk2" accent1="accent1" accent2="accent2" accent3="accent3" accent4="accent4" accent5="accent5" accent6="accent6" hlink="hlink" folHlink="folHlink"/>
  <p:sldLayoutIdLst>
    <p:sldLayoutId id="2147483662"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92" r:id="rId11"/>
    <p:sldLayoutId id="2147483699" r:id="rId12"/>
    <p:sldLayoutId id="2147483700" r:id="rId13"/>
    <p:sldLayoutId id="2147483701" r:id="rId14"/>
  </p:sldLayoutIdLst>
  <p:hf hdr="0" ftr="0" dt="0"/>
  <p:txStyles>
    <p:titleStyle>
      <a:lvl1pPr algn="l" defTabSz="457200" rtl="0" eaLnBrk="1" fontAlgn="base" hangingPunct="1">
        <a:spcBef>
          <a:spcPct val="0"/>
        </a:spcBef>
        <a:spcAft>
          <a:spcPct val="0"/>
        </a:spcAft>
        <a:defRPr sz="2400" kern="1200">
          <a:solidFill>
            <a:srgbClr val="FFFFFF"/>
          </a:solidFill>
          <a:latin typeface="Georgia"/>
          <a:ea typeface="MS PGothic" pitchFamily="34" charset="-128"/>
          <a:cs typeface="Georgia"/>
        </a:defRPr>
      </a:lvl1pPr>
      <a:lvl2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2pPr>
      <a:lvl3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3pPr>
      <a:lvl4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4pPr>
      <a:lvl5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5pPr>
      <a:lvl6pPr marL="4572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6pPr>
      <a:lvl7pPr marL="9144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7pPr>
      <a:lvl8pPr marL="13716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8pPr>
      <a:lvl9pPr marL="18288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000" kern="1200">
          <a:solidFill>
            <a:srgbClr val="404040"/>
          </a:solidFill>
          <a:latin typeface="+mn-lt"/>
          <a:ea typeface="MS PGothic" pitchFamily="34" charset="-128"/>
          <a:cs typeface="+mn-cs"/>
        </a:defRPr>
      </a:lvl1pPr>
      <a:lvl2pPr marL="742950" indent="-285750" algn="l" defTabSz="457200" rtl="0" eaLnBrk="1" fontAlgn="base" hangingPunct="1">
        <a:spcBef>
          <a:spcPct val="20000"/>
        </a:spcBef>
        <a:spcAft>
          <a:spcPct val="0"/>
        </a:spcAft>
        <a:buFont typeface="Arial" charset="0"/>
        <a:buChar char="–"/>
        <a:defRPr kern="1200">
          <a:solidFill>
            <a:srgbClr val="404040"/>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1600" kern="1200">
          <a:solidFill>
            <a:srgbClr val="404040"/>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1400" kern="1200">
          <a:solidFill>
            <a:srgbClr val="404040"/>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PPT_Design_withSmallPhotos_Round3_Page_9.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 y="0"/>
            <a:ext cx="1218988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609600" y="241301"/>
            <a:ext cx="109728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5207001" y="6356351"/>
            <a:ext cx="4855633"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lumMod val="50000"/>
                    <a:lumOff val="50000"/>
                  </a:schemeClr>
                </a:solidFill>
                <a:latin typeface="+mn-lt"/>
                <a:ea typeface="+mn-ea"/>
                <a:cs typeface="+mn-cs"/>
              </a:defRPr>
            </a:lvl1pPr>
          </a:lstStyle>
          <a:p>
            <a:endParaRPr lang="en-US" dirty="0">
              <a:solidFill>
                <a:prstClr val="black">
                  <a:lumMod val="50000"/>
                  <a:lumOff val="50000"/>
                </a:prstClr>
              </a:solidFill>
            </a:endParaRPr>
          </a:p>
        </p:txBody>
      </p:sp>
      <p:sp>
        <p:nvSpPr>
          <p:cNvPr id="6" name="Slide Number Placeholder 5"/>
          <p:cNvSpPr>
            <a:spLocks noGrp="1"/>
          </p:cNvSpPr>
          <p:nvPr>
            <p:ph type="sldNum" sz="quarter" idx="4"/>
          </p:nvPr>
        </p:nvSpPr>
        <p:spPr>
          <a:xfrm>
            <a:off x="10526184" y="6356351"/>
            <a:ext cx="1056216"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F7F7F"/>
                </a:solidFill>
                <a:ea typeface="MS PGothic" pitchFamily="34" charset="-128"/>
                <a:cs typeface="+mn-cs"/>
              </a:defRPr>
            </a:lvl1pPr>
          </a:lstStyle>
          <a:p>
            <a:fld id="{8829B6C4-39F8-4822-AF44-3E1909BEC45D}" type="slidenum">
              <a:rPr lang="en-US" smtClean="0"/>
              <a:pPr/>
              <a:t>‹#›</a:t>
            </a:fld>
            <a:endParaRPr lang="en-US" dirty="0"/>
          </a:p>
        </p:txBody>
      </p:sp>
      <p:sp>
        <p:nvSpPr>
          <p:cNvPr id="1031" name="TextBox 6"/>
          <p:cNvSpPr txBox="1">
            <a:spLocks noChangeArrowheads="1"/>
          </p:cNvSpPr>
          <p:nvPr/>
        </p:nvSpPr>
        <p:spPr bwMode="auto">
          <a:xfrm>
            <a:off x="480485" y="6348414"/>
            <a:ext cx="580178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a:solidFill>
                  <a:srgbClr val="7F7F7F"/>
                </a:solidFill>
              </a:rPr>
              <a:t>VA Benefits Briefing</a:t>
            </a:r>
          </a:p>
        </p:txBody>
      </p:sp>
      <p:sp>
        <p:nvSpPr>
          <p:cNvPr id="8" name="Rectangle 7"/>
          <p:cNvSpPr/>
          <p:nvPr userDrawn="1"/>
        </p:nvSpPr>
        <p:spPr>
          <a:xfrm>
            <a:off x="0" y="6140677"/>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pic>
        <p:nvPicPr>
          <p:cNvPr id="9" name="Picture 8" descr="myVa.White.Vector.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89353" y="6386544"/>
            <a:ext cx="1088020" cy="415925"/>
          </a:xfrm>
          <a:prstGeom prst="rect">
            <a:avLst/>
          </a:prstGeom>
        </p:spPr>
      </p:pic>
      <p:pic>
        <p:nvPicPr>
          <p:cNvPr id="10" name="Picture 9" descr="3. VA-PRIMARY-HORIZONTAL-WHITE-VECTOR2.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387965" y="6271406"/>
            <a:ext cx="2946400" cy="491986"/>
          </a:xfrm>
          <a:prstGeom prst="rect">
            <a:avLst/>
          </a:prstGeom>
        </p:spPr>
      </p:pic>
      <p:sp>
        <p:nvSpPr>
          <p:cNvPr id="11" name="Rectangle 10"/>
          <p:cNvSpPr/>
          <p:nvPr userDrawn="1"/>
        </p:nvSpPr>
        <p:spPr>
          <a:xfrm>
            <a:off x="0" y="0"/>
            <a:ext cx="12192000" cy="10668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Tree>
    <p:extLst>
      <p:ext uri="{BB962C8B-B14F-4D97-AF65-F5344CB8AC3E}">
        <p14:creationId xmlns:p14="http://schemas.microsoft.com/office/powerpoint/2010/main" val="113864458"/>
      </p:ext>
    </p:extLst>
  </p:cSld>
  <p:clrMap bg1="lt1" tx1="dk1" bg2="lt2" tx2="dk2" accent1="accent1" accent2="accent2" accent3="accent3" accent4="accent4" accent5="accent5" accent6="accent6" hlink="hlink" folHlink="folHlink"/>
  <p:sldLayoutIdLst>
    <p:sldLayoutId id="2147483703"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Lst>
  <p:hf hdr="0" ftr="0" dt="0"/>
  <p:txStyles>
    <p:titleStyle>
      <a:lvl1pPr algn="l" defTabSz="457200" rtl="0" eaLnBrk="1" fontAlgn="base" hangingPunct="1">
        <a:spcBef>
          <a:spcPct val="0"/>
        </a:spcBef>
        <a:spcAft>
          <a:spcPct val="0"/>
        </a:spcAft>
        <a:defRPr sz="2400" kern="1200">
          <a:solidFill>
            <a:srgbClr val="FFFFFF"/>
          </a:solidFill>
          <a:latin typeface="Georgia"/>
          <a:ea typeface="MS PGothic" pitchFamily="34" charset="-128"/>
          <a:cs typeface="Georgia"/>
        </a:defRPr>
      </a:lvl1pPr>
      <a:lvl2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2pPr>
      <a:lvl3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3pPr>
      <a:lvl4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4pPr>
      <a:lvl5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5pPr>
      <a:lvl6pPr marL="4572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6pPr>
      <a:lvl7pPr marL="9144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7pPr>
      <a:lvl8pPr marL="13716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8pPr>
      <a:lvl9pPr marL="18288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000" kern="1200">
          <a:solidFill>
            <a:srgbClr val="404040"/>
          </a:solidFill>
          <a:latin typeface="+mn-lt"/>
          <a:ea typeface="MS PGothic" pitchFamily="34" charset="-128"/>
          <a:cs typeface="+mn-cs"/>
        </a:defRPr>
      </a:lvl1pPr>
      <a:lvl2pPr marL="742950" indent="-285750" algn="l" defTabSz="457200" rtl="0" eaLnBrk="1" fontAlgn="base" hangingPunct="1">
        <a:spcBef>
          <a:spcPct val="20000"/>
        </a:spcBef>
        <a:spcAft>
          <a:spcPct val="0"/>
        </a:spcAft>
        <a:buFont typeface="Arial" charset="0"/>
        <a:buChar char="–"/>
        <a:defRPr kern="1200">
          <a:solidFill>
            <a:srgbClr val="404040"/>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1600" kern="1200">
          <a:solidFill>
            <a:srgbClr val="404040"/>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1400" kern="1200">
          <a:solidFill>
            <a:srgbClr val="404040"/>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a:off x="0" y="6140681"/>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6" name="Slide Number Placeholder 5"/>
          <p:cNvSpPr>
            <a:spLocks noGrp="1"/>
          </p:cNvSpPr>
          <p:nvPr>
            <p:ph type="sldNum" sz="quarter" idx="4"/>
          </p:nvPr>
        </p:nvSpPr>
        <p:spPr>
          <a:xfrm>
            <a:off x="11582400" y="6400233"/>
            <a:ext cx="512840" cy="365125"/>
          </a:xfrm>
          <a:prstGeom prst="rect">
            <a:avLst/>
          </a:prstGeom>
        </p:spPr>
        <p:txBody>
          <a:bodyPr vert="horz" lIns="91440" tIns="45720" rIns="91440" bIns="45720" rtlCol="0" anchor="ctr"/>
          <a:lstStyle>
            <a:lvl1pPr algn="r">
              <a:defRPr sz="1200">
                <a:solidFill>
                  <a:schemeClr val="bg1"/>
                </a:solidFill>
              </a:defRPr>
            </a:lvl1pPr>
          </a:lstStyle>
          <a:p>
            <a:fld id="{8829B6C4-39F8-4822-AF44-3E1909BEC45D}" type="slidenum">
              <a:rPr lang="en-US" smtClean="0"/>
              <a:t>‹#›</a:t>
            </a:fld>
            <a:endParaRPr lang="en-US" dirty="0"/>
          </a:p>
        </p:txBody>
      </p:sp>
      <p:pic>
        <p:nvPicPr>
          <p:cNvPr id="2050" name="Picture 2" descr="C:\Users\vacoGrovem\AppData\Local\Microsoft\Windows\Temporary Internet Files\Content.Outlook\83QVOJUE\CHOOSE-VA-rev.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33592479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5ED316-A095-4798-BA6F-ADC1D3092531}" type="datetimeFigureOut">
              <a:rPr lang="en-US" smtClean="0"/>
              <a:t>07/10/2019</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C9919F-1677-44F2-BEEF-EAD82A0FC6EF}" type="slidenum">
              <a:rPr lang="en-US" smtClean="0"/>
              <a:t>‹#›</a:t>
            </a:fld>
            <a:endParaRPr lang="en-US" dirty="0"/>
          </a:p>
        </p:txBody>
      </p:sp>
    </p:spTree>
    <p:extLst>
      <p:ext uri="{BB962C8B-B14F-4D97-AF65-F5344CB8AC3E}">
        <p14:creationId xmlns:p14="http://schemas.microsoft.com/office/powerpoint/2010/main" val="361877723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1"/>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87965" y="6271501"/>
            <a:ext cx="2946400" cy="491987"/>
          </a:xfrm>
          <a:prstGeom prst="rect">
            <a:avLst/>
          </a:prstGeom>
        </p:spPr>
      </p:pic>
      <p:sp>
        <p:nvSpPr>
          <p:cNvPr id="6" name="Slide Number Placeholder 5"/>
          <p:cNvSpPr>
            <a:spLocks noGrp="1"/>
          </p:cNvSpPr>
          <p:nvPr>
            <p:ph type="sldNum" sz="quarter" idx="4"/>
          </p:nvPr>
        </p:nvSpPr>
        <p:spPr>
          <a:xfrm>
            <a:off x="9250441" y="6400233"/>
            <a:ext cx="28448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051201093"/>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32"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1"/>
            <a:ext cx="12192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9250441" y="6400233"/>
            <a:ext cx="28448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77568410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06305" y="127280"/>
            <a:ext cx="1138732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b" anchorCtr="0" compatLnSpc="1">
            <a:prstTxWarp prst="textNoShape">
              <a:avLst/>
            </a:prstTxWarp>
            <a:noAutofit/>
          </a:bodyPr>
          <a:lstStyle/>
          <a:p>
            <a:pPr lvl="0"/>
            <a:r>
              <a:rPr lang="en-US" altLang="en-US" dirty="0"/>
              <a:t>Click to edit Master title style</a:t>
            </a:r>
          </a:p>
        </p:txBody>
      </p:sp>
      <p:sp>
        <p:nvSpPr>
          <p:cNvPr id="1027" name="Rectangle 3"/>
          <p:cNvSpPr>
            <a:spLocks noGrp="1" noChangeArrowheads="1"/>
          </p:cNvSpPr>
          <p:nvPr>
            <p:ph type="body" idx="1"/>
          </p:nvPr>
        </p:nvSpPr>
        <p:spPr bwMode="auto">
          <a:xfrm>
            <a:off x="506307" y="1207247"/>
            <a:ext cx="11380893" cy="4919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0" compatLnSpc="1">
            <a:prstTxWarp prst="textNoShape">
              <a:avLst/>
            </a:prstTxWarp>
          </a:bodyPr>
          <a:lstStyle/>
          <a:p>
            <a:pPr lvl="0"/>
            <a:r>
              <a:rPr lang="en-US" altLang="en-US" dirty="0"/>
              <a:t>Click to edit Master text styles</a:t>
            </a:r>
          </a:p>
          <a:p>
            <a:pPr marL="400041" marR="0" lvl="1" indent="-179384" algn="l" defTabSz="914400" rtl="0" eaLnBrk="1" fontAlgn="base" latinLnBrk="0" hangingPunct="1">
              <a:lnSpc>
                <a:spcPct val="100000"/>
              </a:lnSpc>
              <a:spcBef>
                <a:spcPts val="475"/>
              </a:spcBef>
              <a:spcAft>
                <a:spcPct val="0"/>
              </a:spcAft>
              <a:buClr>
                <a:srgbClr val="38424A"/>
              </a:buClr>
              <a:buSzTx/>
              <a:buFont typeface="Century Gothic" panose="020B0502020202020204" pitchFamily="34" charset="0"/>
              <a:buChar char="−"/>
              <a:tabLst/>
              <a:defRPr/>
            </a:pPr>
            <a:r>
              <a:rPr kumimoji="0" lang="en-US" altLang="en-US" sz="1600" b="0" i="0" u="none" strike="noStrike" kern="0" cap="none" spc="0" normalizeH="0" baseline="0" noProof="0" dirty="0">
                <a:ln>
                  <a:noFill/>
                </a:ln>
                <a:solidFill>
                  <a:srgbClr val="38424A"/>
                </a:solidFill>
                <a:effectLst/>
                <a:uLnTx/>
                <a:uFillTx/>
                <a:latin typeface="+mn-lt"/>
                <a:ea typeface="MS PGothic" pitchFamily="34" charset="-128"/>
              </a:rPr>
              <a:t>Second level</a:t>
            </a:r>
          </a:p>
          <a:p>
            <a:pPr marL="627047" marR="0" lvl="2" indent="-173034" algn="l" defTabSz="914400" rtl="0" eaLnBrk="1" fontAlgn="base" latinLnBrk="0" hangingPunct="1">
              <a:lnSpc>
                <a:spcPct val="100000"/>
              </a:lnSpc>
              <a:spcBef>
                <a:spcPct val="0"/>
              </a:spcBef>
              <a:spcAft>
                <a:spcPct val="0"/>
              </a:spcAft>
              <a:buClr>
                <a:srgbClr val="38424A"/>
              </a:buClr>
              <a:buSzTx/>
              <a:buFont typeface="Wingdings" panose="05000000000000000000" pitchFamily="2" charset="2"/>
              <a:buChar char="§"/>
              <a:tabLst/>
              <a:defRPr/>
            </a:pPr>
            <a:r>
              <a:rPr kumimoji="0" lang="en-US" altLang="en-US" sz="1400" b="0" i="0" u="none" strike="noStrike" kern="0" cap="none" spc="0" normalizeH="0" baseline="0" noProof="0" dirty="0">
                <a:ln>
                  <a:noFill/>
                </a:ln>
                <a:solidFill>
                  <a:srgbClr val="38424A"/>
                </a:solidFill>
                <a:effectLst/>
                <a:uLnTx/>
                <a:uFillTx/>
                <a:latin typeface="+mn-lt"/>
                <a:ea typeface="MS PGothic" pitchFamily="34" charset="-128"/>
              </a:rPr>
              <a:t>Third level</a:t>
            </a:r>
          </a:p>
          <a:p>
            <a:pPr marL="804843" marR="0" lvl="3" indent="-168270" algn="l" defTabSz="914400" rtl="0" eaLnBrk="1" fontAlgn="base" latinLnBrk="0" hangingPunct="1">
              <a:lnSpc>
                <a:spcPct val="100000"/>
              </a:lnSpc>
              <a:spcBef>
                <a:spcPct val="0"/>
              </a:spcBef>
              <a:spcAft>
                <a:spcPct val="0"/>
              </a:spcAft>
              <a:buClr>
                <a:srgbClr val="38424A"/>
              </a:buClr>
              <a:buSzTx/>
              <a:buFont typeface="Century Gothic" panose="020B0502020202020204" pitchFamily="34" charset="0"/>
              <a:buChar char="−"/>
              <a:tabLst/>
              <a:defRPr/>
            </a:pPr>
            <a:r>
              <a:rPr kumimoji="0" lang="en-US" altLang="en-US" sz="1200" b="0" i="0" u="none" strike="noStrike" kern="0" cap="none" spc="0" normalizeH="0" baseline="0" noProof="0" dirty="0">
                <a:ln>
                  <a:noFill/>
                </a:ln>
                <a:solidFill>
                  <a:srgbClr val="38424A"/>
                </a:solidFill>
                <a:effectLst/>
                <a:uLnTx/>
                <a:uFillTx/>
                <a:latin typeface="+mn-lt"/>
                <a:ea typeface="MS PGothic" pitchFamily="34" charset="-128"/>
              </a:rPr>
              <a:t>Fourth level</a:t>
            </a:r>
          </a:p>
          <a:p>
            <a:pPr marL="914377" marR="0" lvl="4" indent="-87311" algn="l" defTabSz="914400" rtl="0" eaLnBrk="1" fontAlgn="base" latinLnBrk="0" hangingPunct="1">
              <a:lnSpc>
                <a:spcPct val="100000"/>
              </a:lnSpc>
              <a:spcBef>
                <a:spcPct val="0"/>
              </a:spcBef>
              <a:spcAft>
                <a:spcPct val="0"/>
              </a:spcAft>
              <a:buClr>
                <a:srgbClr val="38424A"/>
              </a:buClr>
              <a:buSzPct val="70000"/>
              <a:buFont typeface="Arial" panose="020B0604020202020204" pitchFamily="34" charset="0"/>
              <a:buChar char="•"/>
              <a:tabLst/>
              <a:defRPr/>
            </a:pPr>
            <a:r>
              <a:rPr kumimoji="0" lang="en-US" altLang="en-US" sz="1050" b="0" i="0" u="none" strike="noStrike" kern="0" cap="none" spc="0" normalizeH="0" baseline="0" noProof="0" dirty="0">
                <a:ln>
                  <a:noFill/>
                </a:ln>
                <a:solidFill>
                  <a:srgbClr val="38424A"/>
                </a:solidFill>
                <a:effectLst/>
                <a:uLnTx/>
                <a:uFillTx/>
                <a:latin typeface="+mn-lt"/>
                <a:ea typeface="MS PGothic" pitchFamily="34" charset="-128"/>
              </a:rPr>
              <a:t>Fifth level</a:t>
            </a:r>
          </a:p>
        </p:txBody>
      </p:sp>
      <p:sp>
        <p:nvSpPr>
          <p:cNvPr id="14" name="Slide Number Placeholder 2"/>
          <p:cNvSpPr>
            <a:spLocks noGrp="1"/>
          </p:cNvSpPr>
          <p:nvPr>
            <p:ph type="sldNum" sz="quarter" idx="4"/>
          </p:nvPr>
        </p:nvSpPr>
        <p:spPr bwMode="gray">
          <a:xfrm>
            <a:off x="11633200" y="6423214"/>
            <a:ext cx="508000" cy="380999"/>
          </a:xfrm>
          <a:prstGeom prst="rect">
            <a:avLst/>
          </a:prstGeom>
        </p:spPr>
        <p:txBody>
          <a:bodyPr vert="horz" lIns="0" tIns="45720" rIns="0" bIns="45720" rtlCol="0" anchor="ctr" anchorCtr="1"/>
          <a:lstStyle>
            <a:lvl1pPr algn="r">
              <a:defRPr sz="900" b="0">
                <a:solidFill>
                  <a:schemeClr val="tx1"/>
                </a:solidFill>
                <a:latin typeface="Century Gothic" panose="020B0502020202020204" pitchFamily="34" charset="0"/>
                <a:cs typeface="Arial" charset="0"/>
              </a:defRPr>
            </a:lvl1pPr>
          </a:lstStyle>
          <a:p>
            <a:pPr>
              <a:defRPr/>
            </a:pPr>
            <a:fld id="{6D89E75D-4F18-41C4-8550-92ADAD8A39F0}" type="slidenum">
              <a:rPr lang="en-US" smtClean="0"/>
              <a:pPr>
                <a:defRPr/>
              </a:pPr>
              <a:t>‹#›</a:t>
            </a:fld>
            <a:endParaRPr lang="en-US" dirty="0"/>
          </a:p>
        </p:txBody>
      </p:sp>
      <p:sp>
        <p:nvSpPr>
          <p:cNvPr id="15" name="Rectangle 10"/>
          <p:cNvSpPr>
            <a:spLocks noChangeArrowheads="1"/>
          </p:cNvSpPr>
          <p:nvPr userDrawn="1"/>
        </p:nvSpPr>
        <p:spPr bwMode="gray">
          <a:xfrm>
            <a:off x="6127878" y="6423214"/>
            <a:ext cx="5377517"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nchor="ctr" anchorCtr="0">
            <a:no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r>
              <a:rPr lang="en-US" altLang="en-US" sz="900" dirty="0">
                <a:solidFill>
                  <a:schemeClr val="tx1"/>
                </a:solidFill>
                <a:latin typeface="Century Gothic" panose="020B0502020202020204" pitchFamily="34" charset="0"/>
              </a:rPr>
              <a:t>© 2019 CoreLogic, Inc.  NYSE:CLGX]  All Rights Reserved.  Proprietary. </a:t>
            </a:r>
          </a:p>
        </p:txBody>
      </p:sp>
      <p:sp>
        <p:nvSpPr>
          <p:cNvPr id="11" name="Rectangle 10">
            <a:extLst>
              <a:ext uri="{FF2B5EF4-FFF2-40B4-BE49-F238E27FC236}">
                <a16:creationId xmlns:a16="http://schemas.microsoft.com/office/drawing/2014/main" id="{C69AAF09-6E99-45AA-AB3A-D7006AD02EA9}"/>
              </a:ext>
            </a:extLst>
          </p:cNvPr>
          <p:cNvSpPr>
            <a:spLocks noChangeArrowheads="1"/>
          </p:cNvSpPr>
          <p:nvPr userDrawn="1"/>
        </p:nvSpPr>
        <p:spPr bwMode="gray">
          <a:xfrm>
            <a:off x="2350745" y="6423214"/>
            <a:ext cx="2398557"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nchor="ctr" anchorCtr="0">
            <a:no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l" eaLnBrk="1" hangingPunct="1">
              <a:defRPr/>
            </a:pPr>
            <a:r>
              <a:rPr lang="en-US" altLang="en-US" sz="900" dirty="0">
                <a:solidFill>
                  <a:schemeClr val="tx1"/>
                </a:solidFill>
                <a:latin typeface="Century Gothic" panose="020B0502020202020204" pitchFamily="34" charset="0"/>
              </a:rPr>
              <a:t>Innovate. Transform. Thrive. </a:t>
            </a:r>
            <a:r>
              <a:rPr lang="en-US" altLang="en-US" sz="900" baseline="30000" dirty="0">
                <a:solidFill>
                  <a:schemeClr val="tx1"/>
                </a:solidFill>
                <a:latin typeface="Century Gothic" panose="020B0502020202020204" pitchFamily="34" charset="0"/>
              </a:rPr>
              <a:t>TM</a:t>
            </a:r>
            <a:endParaRPr lang="en-US" altLang="en-US" sz="900" dirty="0">
              <a:solidFill>
                <a:schemeClr val="tx1"/>
              </a:solidFill>
              <a:latin typeface="Century Gothic" panose="020B0502020202020204" pitchFamily="34" charset="0"/>
            </a:endParaRPr>
          </a:p>
        </p:txBody>
      </p:sp>
      <p:cxnSp>
        <p:nvCxnSpPr>
          <p:cNvPr id="12" name="Straight Connector 11">
            <a:extLst>
              <a:ext uri="{FF2B5EF4-FFF2-40B4-BE49-F238E27FC236}">
                <a16:creationId xmlns:a16="http://schemas.microsoft.com/office/drawing/2014/main" id="{E0194CB0-C84D-42B6-AEE0-F04C2C5E56A6}"/>
              </a:ext>
            </a:extLst>
          </p:cNvPr>
          <p:cNvCxnSpPr>
            <a:cxnSpLocks/>
          </p:cNvCxnSpPr>
          <p:nvPr userDrawn="1"/>
        </p:nvCxnSpPr>
        <p:spPr>
          <a:xfrm>
            <a:off x="0" y="6280132"/>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3C6CDCC-8F9A-4EDF-A1B4-F12300855FDD}"/>
              </a:ext>
            </a:extLst>
          </p:cNvPr>
          <p:cNvPicPr>
            <a:picLocks noChangeAspect="1"/>
          </p:cNvPicPr>
          <p:nvPr userDrawn="1"/>
        </p:nvPicPr>
        <p:blipFill>
          <a:blip r:embed="rId8"/>
          <a:stretch>
            <a:fillRect/>
          </a:stretch>
        </p:blipFill>
        <p:spPr>
          <a:xfrm>
            <a:off x="128503" y="6280133"/>
            <a:ext cx="1299192" cy="530116"/>
          </a:xfrm>
          <a:prstGeom prst="rect">
            <a:avLst/>
          </a:prstGeom>
        </p:spPr>
      </p:pic>
    </p:spTree>
    <p:extLst>
      <p:ext uri="{BB962C8B-B14F-4D97-AF65-F5344CB8AC3E}">
        <p14:creationId xmlns:p14="http://schemas.microsoft.com/office/powerpoint/2010/main" val="94447621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Lst>
  <p:transition spd="med">
    <p:fade/>
  </p:transition>
  <p:hf hdr="0" ftr="0" dt="0"/>
  <p:txStyles>
    <p:titleStyle>
      <a:lvl1pPr algn="l" rtl="0" eaLnBrk="1" fontAlgn="base" hangingPunct="1">
        <a:spcBef>
          <a:spcPct val="0"/>
        </a:spcBef>
        <a:spcAft>
          <a:spcPct val="0"/>
        </a:spcAft>
        <a:defRPr sz="3000" b="0">
          <a:solidFill>
            <a:schemeClr val="tx1"/>
          </a:solidFill>
          <a:latin typeface="+mj-lt"/>
          <a:ea typeface="+mj-ea"/>
          <a:cs typeface="+mj-cs"/>
        </a:defRPr>
      </a:lvl1pPr>
      <a:lvl2pPr algn="l" rtl="0" eaLnBrk="1" fontAlgn="base" hangingPunct="1">
        <a:spcBef>
          <a:spcPct val="0"/>
        </a:spcBef>
        <a:spcAft>
          <a:spcPct val="0"/>
        </a:spcAft>
        <a:defRPr sz="2800">
          <a:solidFill>
            <a:schemeClr val="bg1"/>
          </a:solidFill>
          <a:latin typeface="Arial" charset="0"/>
        </a:defRPr>
      </a:lvl2pPr>
      <a:lvl3pPr algn="l" rtl="0" eaLnBrk="1" fontAlgn="base" hangingPunct="1">
        <a:spcBef>
          <a:spcPct val="0"/>
        </a:spcBef>
        <a:spcAft>
          <a:spcPct val="0"/>
        </a:spcAft>
        <a:defRPr sz="2800">
          <a:solidFill>
            <a:schemeClr val="bg1"/>
          </a:solidFill>
          <a:latin typeface="Arial" charset="0"/>
        </a:defRPr>
      </a:lvl3pPr>
      <a:lvl4pPr algn="l" rtl="0" eaLnBrk="1" fontAlgn="base" hangingPunct="1">
        <a:spcBef>
          <a:spcPct val="0"/>
        </a:spcBef>
        <a:spcAft>
          <a:spcPct val="0"/>
        </a:spcAft>
        <a:defRPr sz="2800">
          <a:solidFill>
            <a:schemeClr val="bg1"/>
          </a:solidFill>
          <a:latin typeface="Arial" charset="0"/>
        </a:defRPr>
      </a:lvl4pPr>
      <a:lvl5pPr algn="l" rtl="0" eaLnBrk="1" fontAlgn="base" hangingPunct="1">
        <a:spcBef>
          <a:spcPct val="0"/>
        </a:spcBef>
        <a:spcAft>
          <a:spcPct val="0"/>
        </a:spcAft>
        <a:defRPr sz="2800">
          <a:solidFill>
            <a:schemeClr val="bg1"/>
          </a:solidFill>
          <a:latin typeface="Arial" charset="0"/>
        </a:defRPr>
      </a:lvl5pPr>
      <a:lvl6pPr marL="457189" algn="l" rtl="0" eaLnBrk="1" fontAlgn="base" hangingPunct="1">
        <a:spcBef>
          <a:spcPct val="0"/>
        </a:spcBef>
        <a:spcAft>
          <a:spcPct val="0"/>
        </a:spcAft>
        <a:defRPr sz="2800">
          <a:solidFill>
            <a:schemeClr val="tx2"/>
          </a:solidFill>
          <a:latin typeface="Arial" charset="0"/>
        </a:defRPr>
      </a:lvl6pPr>
      <a:lvl7pPr marL="914377" algn="l" rtl="0" eaLnBrk="1" fontAlgn="base" hangingPunct="1">
        <a:spcBef>
          <a:spcPct val="0"/>
        </a:spcBef>
        <a:spcAft>
          <a:spcPct val="0"/>
        </a:spcAft>
        <a:defRPr sz="2800">
          <a:solidFill>
            <a:schemeClr val="tx2"/>
          </a:solidFill>
          <a:latin typeface="Arial" charset="0"/>
        </a:defRPr>
      </a:lvl7pPr>
      <a:lvl8pPr marL="1371566" algn="l" rtl="0" eaLnBrk="1" fontAlgn="base" hangingPunct="1">
        <a:spcBef>
          <a:spcPct val="0"/>
        </a:spcBef>
        <a:spcAft>
          <a:spcPct val="0"/>
        </a:spcAft>
        <a:defRPr sz="2800">
          <a:solidFill>
            <a:schemeClr val="tx2"/>
          </a:solidFill>
          <a:latin typeface="Arial" charset="0"/>
        </a:defRPr>
      </a:lvl8pPr>
      <a:lvl9pPr marL="1828754" algn="l" rtl="0" eaLnBrk="1" fontAlgn="base" hangingPunct="1">
        <a:spcBef>
          <a:spcPct val="0"/>
        </a:spcBef>
        <a:spcAft>
          <a:spcPct val="0"/>
        </a:spcAft>
        <a:defRPr sz="2800">
          <a:solidFill>
            <a:schemeClr val="tx2"/>
          </a:solidFill>
          <a:latin typeface="Arial" charset="0"/>
        </a:defRPr>
      </a:lvl9pPr>
    </p:titleStyle>
    <p:bodyStyle>
      <a:lvl1pPr marL="173034" indent="-173034" algn="l" rtl="0" eaLnBrk="1" fontAlgn="base" hangingPunct="1">
        <a:spcBef>
          <a:spcPts val="475"/>
        </a:spcBef>
        <a:spcAft>
          <a:spcPct val="0"/>
        </a:spcAft>
        <a:buClr>
          <a:schemeClr val="bg2"/>
        </a:buClr>
        <a:buFont typeface="Arial" panose="020B0604020202020204" pitchFamily="34" charset="0"/>
        <a:buChar char="•"/>
        <a:defRPr sz="1800">
          <a:solidFill>
            <a:schemeClr val="tx1"/>
          </a:solidFill>
          <a:latin typeface="+mn-lt"/>
          <a:ea typeface="+mn-ea"/>
          <a:cs typeface="+mn-cs"/>
        </a:defRPr>
      </a:lvl1pPr>
      <a:lvl2pPr marL="400041" marR="0" indent="-179384" algn="l" defTabSz="914400" rtl="0" eaLnBrk="1" fontAlgn="base" latinLnBrk="0" hangingPunct="1">
        <a:lnSpc>
          <a:spcPct val="100000"/>
        </a:lnSpc>
        <a:spcBef>
          <a:spcPts val="475"/>
        </a:spcBef>
        <a:spcAft>
          <a:spcPct val="0"/>
        </a:spcAft>
        <a:buClr>
          <a:srgbClr val="38424A"/>
        </a:buClr>
        <a:buSzTx/>
        <a:buFont typeface="Century Gothic" panose="020B0502020202020204" pitchFamily="34" charset="0"/>
        <a:buChar char="−"/>
        <a:tabLst/>
        <a:defRPr sz="1600">
          <a:solidFill>
            <a:schemeClr val="tx2"/>
          </a:solidFill>
          <a:latin typeface="+mn-lt"/>
          <a:ea typeface="MS PGothic" pitchFamily="34" charset="-128"/>
        </a:defRPr>
      </a:lvl2pPr>
      <a:lvl3pPr marL="627047" marR="0" indent="-173034" algn="l" defTabSz="914400" rtl="0" eaLnBrk="1" fontAlgn="base" latinLnBrk="0" hangingPunct="1">
        <a:lnSpc>
          <a:spcPct val="100000"/>
        </a:lnSpc>
        <a:spcBef>
          <a:spcPct val="0"/>
        </a:spcBef>
        <a:spcAft>
          <a:spcPct val="0"/>
        </a:spcAft>
        <a:buClr>
          <a:srgbClr val="38424A"/>
        </a:buClr>
        <a:buSzTx/>
        <a:buFont typeface="Wingdings" panose="05000000000000000000" pitchFamily="2" charset="2"/>
        <a:buChar char="§"/>
        <a:tabLst/>
        <a:defRPr sz="1400">
          <a:solidFill>
            <a:schemeClr val="tx2"/>
          </a:solidFill>
          <a:latin typeface="+mn-lt"/>
          <a:ea typeface="MS PGothic" pitchFamily="34" charset="-128"/>
        </a:defRPr>
      </a:lvl3pPr>
      <a:lvl4pPr marL="804843" marR="0" indent="-168270" algn="l" defTabSz="914400" rtl="0" eaLnBrk="1" fontAlgn="base" latinLnBrk="0" hangingPunct="1">
        <a:lnSpc>
          <a:spcPct val="100000"/>
        </a:lnSpc>
        <a:spcBef>
          <a:spcPct val="0"/>
        </a:spcBef>
        <a:spcAft>
          <a:spcPct val="0"/>
        </a:spcAft>
        <a:buClr>
          <a:srgbClr val="38424A"/>
        </a:buClr>
        <a:buSzTx/>
        <a:buFont typeface="Century Gothic" panose="020B0502020202020204" pitchFamily="34" charset="0"/>
        <a:buChar char="−"/>
        <a:tabLst/>
        <a:defRPr sz="1200">
          <a:solidFill>
            <a:schemeClr val="tx2"/>
          </a:solidFill>
          <a:latin typeface="+mn-lt"/>
          <a:ea typeface="MS PGothic" pitchFamily="34" charset="-128"/>
        </a:defRPr>
      </a:lvl4pPr>
      <a:lvl5pPr marL="914377" marR="0" indent="-87311" algn="l" defTabSz="914400" rtl="0" eaLnBrk="1" fontAlgn="base" latinLnBrk="0" hangingPunct="1">
        <a:lnSpc>
          <a:spcPct val="100000"/>
        </a:lnSpc>
        <a:spcBef>
          <a:spcPct val="0"/>
        </a:spcBef>
        <a:spcAft>
          <a:spcPct val="0"/>
        </a:spcAft>
        <a:buClr>
          <a:srgbClr val="38424A"/>
        </a:buClr>
        <a:buSzPct val="70000"/>
        <a:buFont typeface="Arial" panose="020B0604020202020204" pitchFamily="34" charset="0"/>
        <a:buChar char="•"/>
        <a:tabLst/>
        <a:defRPr sz="1050">
          <a:solidFill>
            <a:schemeClr val="tx2"/>
          </a:solidFill>
          <a:latin typeface="+mn-lt"/>
          <a:ea typeface="MS PGothic" pitchFamily="34" charset="-128"/>
        </a:defRPr>
      </a:lvl5pPr>
      <a:lvl6pPr marL="1265207" indent="-149222" algn="l" rtl="0" eaLnBrk="1" fontAlgn="base" hangingPunct="1">
        <a:spcBef>
          <a:spcPct val="0"/>
        </a:spcBef>
        <a:spcAft>
          <a:spcPct val="0"/>
        </a:spcAft>
        <a:buClr>
          <a:schemeClr val="bg2"/>
        </a:buClr>
        <a:buChar char="•"/>
        <a:defRPr>
          <a:solidFill>
            <a:schemeClr val="tx2"/>
          </a:solidFill>
          <a:latin typeface="+mn-lt"/>
        </a:defRPr>
      </a:lvl6pPr>
      <a:lvl7pPr marL="1722396" indent="-149222" algn="l" rtl="0" eaLnBrk="1" fontAlgn="base" hangingPunct="1">
        <a:spcBef>
          <a:spcPct val="0"/>
        </a:spcBef>
        <a:spcAft>
          <a:spcPct val="0"/>
        </a:spcAft>
        <a:buClr>
          <a:schemeClr val="bg2"/>
        </a:buClr>
        <a:buChar char="•"/>
        <a:defRPr>
          <a:solidFill>
            <a:schemeClr val="tx2"/>
          </a:solidFill>
          <a:latin typeface="+mn-lt"/>
        </a:defRPr>
      </a:lvl7pPr>
      <a:lvl8pPr marL="2179584" indent="-149222" algn="l" rtl="0" eaLnBrk="1" fontAlgn="base" hangingPunct="1">
        <a:spcBef>
          <a:spcPct val="0"/>
        </a:spcBef>
        <a:spcAft>
          <a:spcPct val="0"/>
        </a:spcAft>
        <a:buClr>
          <a:schemeClr val="bg2"/>
        </a:buClr>
        <a:buChar char="•"/>
        <a:defRPr>
          <a:solidFill>
            <a:schemeClr val="tx2"/>
          </a:solidFill>
          <a:latin typeface="+mn-lt"/>
        </a:defRPr>
      </a:lvl8pPr>
      <a:lvl9pPr marL="2636773" indent="-149222" algn="l" rtl="0" eaLnBrk="1" fontAlgn="base" hangingPunct="1">
        <a:spcBef>
          <a:spcPct val="0"/>
        </a:spcBef>
        <a:spcAft>
          <a:spcPct val="0"/>
        </a:spcAft>
        <a:buClr>
          <a:schemeClr val="bg2"/>
        </a:buClr>
        <a:buChar char="•"/>
        <a:defRPr>
          <a:solidFill>
            <a:schemeClr val="tx2"/>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6.png"/><Relationship Id="rId7" Type="http://schemas.openxmlformats.org/officeDocument/2006/relationships/image" Target="../media/image24.svg"/><Relationship Id="rId2" Type="http://schemas.openxmlformats.org/officeDocument/2006/relationships/notesSlide" Target="../notesSlides/notesSlide9.xml"/><Relationship Id="rId1" Type="http://schemas.openxmlformats.org/officeDocument/2006/relationships/slideLayout" Target="../slideLayouts/slideLayout57.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 Id="rId9" Type="http://schemas.openxmlformats.org/officeDocument/2006/relationships/image" Target="../media/image26.sv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57.xml"/></Relationships>
</file>

<file path=ppt/slides/_rels/slide1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57.xml"/><Relationship Id="rId6" Type="http://schemas.openxmlformats.org/officeDocument/2006/relationships/image" Target="../media/image30.svg"/><Relationship Id="rId11" Type="http://schemas.openxmlformats.org/officeDocument/2006/relationships/image" Target="../media/image16.pn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slides/_rels/slide1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3" Type="http://schemas.openxmlformats.org/officeDocument/2006/relationships/image" Target="../media/image16.png"/><Relationship Id="rId7" Type="http://schemas.openxmlformats.org/officeDocument/2006/relationships/image" Target="../media/image38.svg"/><Relationship Id="rId12"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57.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57.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7.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57.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57.xml"/><Relationship Id="rId5" Type="http://schemas.openxmlformats.org/officeDocument/2006/relationships/image" Target="../media/image16.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6.png"/><Relationship Id="rId7" Type="http://schemas.openxmlformats.org/officeDocument/2006/relationships/image" Target="../media/image24.svg"/><Relationship Id="rId2" Type="http://schemas.openxmlformats.org/officeDocument/2006/relationships/notesSlide" Target="../notesSlides/notesSlide8.xml"/><Relationship Id="rId1" Type="http://schemas.openxmlformats.org/officeDocument/2006/relationships/slideLayout" Target="../slideLayouts/slideLayout57.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 Id="rId9" Type="http://schemas.openxmlformats.org/officeDocument/2006/relationships/image" Target="../media/image2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normAutofit/>
          </a:bodyPr>
          <a:lstStyle/>
          <a:p>
            <a:r>
              <a:rPr lang="en-US" dirty="0"/>
              <a:t>VALERI Part 2: Future of VA’s Loan Guaranty Program</a:t>
            </a:r>
          </a:p>
        </p:txBody>
      </p:sp>
      <p:sp>
        <p:nvSpPr>
          <p:cNvPr id="9" name="Subtitle 8"/>
          <p:cNvSpPr>
            <a:spLocks noGrp="1"/>
          </p:cNvSpPr>
          <p:nvPr>
            <p:ph type="subTitle" idx="1"/>
          </p:nvPr>
        </p:nvSpPr>
        <p:spPr/>
        <p:txBody>
          <a:bodyPr/>
          <a:lstStyle/>
          <a:p>
            <a:r>
              <a:rPr lang="en-US" dirty="0"/>
              <a:t>April 2019 Lenders Conference</a:t>
            </a:r>
          </a:p>
        </p:txBody>
      </p:sp>
      <p:pic>
        <p:nvPicPr>
          <p:cNvPr id="4" name="Picture 2" descr="C:\Users\vacoGrovem\AppData\Local\Microsoft\Windows\Temporary Internet Files\Content.Outlook\83QVOJUE\CHOOSE-VA-rev.png">
            <a:extLst>
              <a:ext uri="{FF2B5EF4-FFF2-40B4-BE49-F238E27FC236}">
                <a16:creationId xmlns:a16="http://schemas.microsoft.com/office/drawing/2014/main" id="{CA232B80-3C39-4636-8873-A04F1DA9A46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6396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32764BA-90AD-4B28-92F6-2A9C73604318}"/>
              </a:ext>
            </a:extLst>
          </p:cNvPr>
          <p:cNvSpPr>
            <a:spLocks noGrp="1"/>
          </p:cNvSpPr>
          <p:nvPr>
            <p:ph idx="1"/>
          </p:nvPr>
        </p:nvSpPr>
        <p:spPr>
          <a:xfrm>
            <a:off x="1981200" y="838201"/>
            <a:ext cx="8229600" cy="760542"/>
          </a:xfrm>
        </p:spPr>
        <p:txBody>
          <a:bodyPr>
            <a:normAutofit/>
          </a:bodyPr>
          <a:lstStyle/>
          <a:p>
            <a:pPr marL="0" indent="0">
              <a:buNone/>
            </a:pPr>
            <a:r>
              <a:rPr lang="en-US" sz="1800" dirty="0">
                <a:latin typeface="Calibri" panose="020F0502020204030204" pitchFamily="34" charset="0"/>
                <a:ea typeface="Calibri" panose="020F0502020204030204" pitchFamily="34" charset="0"/>
                <a:cs typeface="Times New Roman" panose="02020603050405020304" pitchFamily="18" charset="0"/>
              </a:rPr>
              <a:t>The purpose of adopting the ULAD functionality is to obtain the full application data from veteran’s who apply for VA loans to better understand borrower characteristics.</a:t>
            </a:r>
          </a:p>
          <a:p>
            <a:pPr marL="0" indent="0">
              <a:buNone/>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sz="1800" dirty="0">
              <a:latin typeface="Calibri" panose="020F0502020204030204" pitchFamily="34" charset="0"/>
              <a:ea typeface="Calibri" panose="020F0502020204030204" pitchFamily="34" charset="0"/>
              <a:cs typeface="Times New Roman" panose="02020603050405020304" pitchFamily="18" charset="0"/>
            </a:endParaRPr>
          </a:p>
          <a:p>
            <a:endParaRPr lang="en-US" sz="1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D983F1FA-211D-3044-9E35-958DFBC26156}" type="slidenum">
              <a:rPr lang="en-US">
                <a:solidFill>
                  <a:prstClr val="white"/>
                </a:solidFill>
                <a:latin typeface="Calibri"/>
              </a:rPr>
              <a:pPr/>
              <a:t>10</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dirty="0"/>
              <a:t>Uniform Loan Application Dataset Functionality </a:t>
            </a:r>
          </a:p>
        </p:txBody>
      </p:sp>
      <p:sp>
        <p:nvSpPr>
          <p:cNvPr id="26" name="Rectangle 25">
            <a:extLst>
              <a:ext uri="{FF2B5EF4-FFF2-40B4-BE49-F238E27FC236}">
                <a16:creationId xmlns:a16="http://schemas.microsoft.com/office/drawing/2014/main" id="{482702B0-C98F-4CB1-BA0C-DACAC5BD3B89}"/>
              </a:ext>
            </a:extLst>
          </p:cNvPr>
          <p:cNvSpPr/>
          <p:nvPr/>
        </p:nvSpPr>
        <p:spPr>
          <a:xfrm>
            <a:off x="1985352" y="5334000"/>
            <a:ext cx="8221299" cy="369332"/>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lgn="ctr">
              <a:defRPr/>
            </a:pPr>
            <a:r>
              <a:rPr lang="en-US" b="1" kern="0" dirty="0">
                <a:solidFill>
                  <a:srgbClr val="373737"/>
                </a:solidFill>
                <a:latin typeface="Calibri"/>
              </a:rPr>
              <a:t>ULAD adoption will be mandatory for all lenders July 2020</a:t>
            </a:r>
            <a:endParaRPr lang="en-US" kern="0" dirty="0">
              <a:solidFill>
                <a:srgbClr val="373737"/>
              </a:solidFill>
              <a:latin typeface="Calibri"/>
            </a:endParaRPr>
          </a:p>
        </p:txBody>
      </p:sp>
      <p:pic>
        <p:nvPicPr>
          <p:cNvPr id="7" name="Picture 2" descr="C:\Users\vacoGrovem\AppData\Local\Microsoft\Windows\Temporary Internet Files\Content.Outlook\83QVOJUE\CHOOSE-VA-rev.png">
            <a:extLst>
              <a:ext uri="{FF2B5EF4-FFF2-40B4-BE49-F238E27FC236}">
                <a16:creationId xmlns:a16="http://schemas.microsoft.com/office/drawing/2014/main" id="{CC9AC78D-0092-41E2-A810-529CDA93A65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
        <p:nvSpPr>
          <p:cNvPr id="9" name="Down Arrow 4">
            <a:extLst>
              <a:ext uri="{FF2B5EF4-FFF2-40B4-BE49-F238E27FC236}">
                <a16:creationId xmlns:a16="http://schemas.microsoft.com/office/drawing/2014/main" id="{D992285D-8EF8-472F-A5D1-FFF5577187CD}"/>
              </a:ext>
            </a:extLst>
          </p:cNvPr>
          <p:cNvSpPr/>
          <p:nvPr/>
        </p:nvSpPr>
        <p:spPr bwMode="auto">
          <a:xfrm>
            <a:off x="2271862" y="1593634"/>
            <a:ext cx="696665" cy="3664166"/>
          </a:xfrm>
          <a:prstGeom prst="downArrow">
            <a:avLst>
              <a:gd name="adj1" fmla="val 36422"/>
              <a:gd name="adj2" fmla="val 36422"/>
            </a:avLst>
          </a:prstGeom>
          <a:solidFill>
            <a:schemeClr val="accent5"/>
          </a:solidFill>
          <a:ln w="9525" cap="flat" cmpd="sng" algn="ctr">
            <a:noFill/>
            <a:prstDash val="solid"/>
          </a:ln>
          <a:effectLst/>
        </p:spPr>
        <p:txBody>
          <a:bodyPr anchor="ctr"/>
          <a:lstStyle/>
          <a:p>
            <a:pPr algn="ctr">
              <a:defRPr/>
            </a:pPr>
            <a:endParaRPr lang="en-US" sz="1600" kern="0" dirty="0">
              <a:solidFill>
                <a:prstClr val="white"/>
              </a:solidFill>
              <a:latin typeface="Arial"/>
            </a:endParaRPr>
          </a:p>
        </p:txBody>
      </p:sp>
      <p:grpSp>
        <p:nvGrpSpPr>
          <p:cNvPr id="5" name="Group 4">
            <a:extLst>
              <a:ext uri="{FF2B5EF4-FFF2-40B4-BE49-F238E27FC236}">
                <a16:creationId xmlns:a16="http://schemas.microsoft.com/office/drawing/2014/main" id="{9577B9C2-2C40-412B-8F30-5C5058A653B1}"/>
              </a:ext>
            </a:extLst>
          </p:cNvPr>
          <p:cNvGrpSpPr/>
          <p:nvPr/>
        </p:nvGrpSpPr>
        <p:grpSpPr>
          <a:xfrm>
            <a:off x="1979615" y="3866314"/>
            <a:ext cx="8006514" cy="1010487"/>
            <a:chOff x="457201" y="3713744"/>
            <a:chExt cx="8006514" cy="1010487"/>
          </a:xfrm>
        </p:grpSpPr>
        <p:sp>
          <p:nvSpPr>
            <p:cNvPr id="12" name="TextBox 9">
              <a:extLst>
                <a:ext uri="{FF2B5EF4-FFF2-40B4-BE49-F238E27FC236}">
                  <a16:creationId xmlns:a16="http://schemas.microsoft.com/office/drawing/2014/main" id="{EA56ABEB-444D-4D98-AABD-856B3670100E}"/>
                </a:ext>
              </a:extLst>
            </p:cNvPr>
            <p:cNvSpPr txBox="1">
              <a:spLocks noChangeArrowheads="1"/>
            </p:cNvSpPr>
            <p:nvPr/>
          </p:nvSpPr>
          <p:spPr bwMode="auto">
            <a:xfrm>
              <a:off x="1739903" y="3713744"/>
              <a:ext cx="67230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Arial" pitchFamily="34" charset="0"/>
                </a:defRPr>
              </a:lvl1pPr>
              <a:lvl2pPr>
                <a:defRPr sz="2000">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eaLnBrk="0" fontAlgn="base" hangingPunct="0">
                <a:spcAft>
                  <a:spcPct val="0"/>
                </a:spcAft>
                <a:buFont typeface="Arial" pitchFamily="34" charset="0"/>
                <a:buChar char="»"/>
                <a:defRPr>
                  <a:solidFill>
                    <a:schemeClr val="tx1"/>
                  </a:solidFill>
                  <a:latin typeface="Arial" pitchFamily="34" charset="0"/>
                </a:defRPr>
              </a:lvl6pPr>
              <a:lvl7pPr eaLnBrk="0" fontAlgn="base" hangingPunct="0">
                <a:spcAft>
                  <a:spcPct val="0"/>
                </a:spcAft>
                <a:buFont typeface="Arial" pitchFamily="34" charset="0"/>
                <a:buChar char="»"/>
                <a:defRPr>
                  <a:solidFill>
                    <a:schemeClr val="tx1"/>
                  </a:solidFill>
                  <a:latin typeface="Arial" pitchFamily="34" charset="0"/>
                </a:defRPr>
              </a:lvl7pPr>
              <a:lvl8pPr eaLnBrk="0" fontAlgn="base" hangingPunct="0">
                <a:spcAft>
                  <a:spcPct val="0"/>
                </a:spcAft>
                <a:buFont typeface="Arial" pitchFamily="34" charset="0"/>
                <a:buChar char="»"/>
                <a:defRPr>
                  <a:solidFill>
                    <a:schemeClr val="tx1"/>
                  </a:solidFill>
                  <a:latin typeface="Arial" pitchFamily="34" charset="0"/>
                </a:defRPr>
              </a:lvl8pPr>
              <a:lvl9pPr eaLnBrk="0" fontAlgn="base" hangingPunct="0">
                <a:spcAft>
                  <a:spcPct val="0"/>
                </a:spcAft>
                <a:buFont typeface="Arial" pitchFamily="34" charset="0"/>
                <a:buChar char="»"/>
                <a:defRPr>
                  <a:solidFill>
                    <a:schemeClr val="tx1"/>
                  </a:solidFill>
                  <a:latin typeface="Arial" pitchFamily="34" charset="0"/>
                </a:defRPr>
              </a:lvl9pPr>
            </a:lstStyle>
            <a:p>
              <a:pPr>
                <a:defRPr/>
              </a:pPr>
              <a:r>
                <a:rPr lang="en-US" altLang="en-US" sz="1600" b="1" kern="0" dirty="0">
                  <a:solidFill>
                    <a:prstClr val="black"/>
                  </a:solidFill>
                </a:rPr>
                <a:t>Go-Live</a:t>
              </a:r>
            </a:p>
          </p:txBody>
        </p:sp>
        <p:grpSp>
          <p:nvGrpSpPr>
            <p:cNvPr id="2" name="Group 1">
              <a:extLst>
                <a:ext uri="{FF2B5EF4-FFF2-40B4-BE49-F238E27FC236}">
                  <a16:creationId xmlns:a16="http://schemas.microsoft.com/office/drawing/2014/main" id="{2C61FB70-AC6F-4D02-BBBC-A47BD4CA535B}"/>
                </a:ext>
              </a:extLst>
            </p:cNvPr>
            <p:cNvGrpSpPr/>
            <p:nvPr/>
          </p:nvGrpSpPr>
          <p:grpSpPr>
            <a:xfrm>
              <a:off x="457201" y="4046984"/>
              <a:ext cx="8006514" cy="677247"/>
              <a:chOff x="457201" y="4046984"/>
              <a:chExt cx="8006514" cy="677247"/>
            </a:xfrm>
          </p:grpSpPr>
          <p:sp>
            <p:nvSpPr>
              <p:cNvPr id="22" name="Round Same Side Corner Rectangle 18">
                <a:extLst>
                  <a:ext uri="{FF2B5EF4-FFF2-40B4-BE49-F238E27FC236}">
                    <a16:creationId xmlns:a16="http://schemas.microsoft.com/office/drawing/2014/main" id="{7418A50B-69E3-4945-86FD-49B1D4EB3DF3}"/>
                  </a:ext>
                </a:extLst>
              </p:cNvPr>
              <p:cNvSpPr/>
              <p:nvPr/>
            </p:nvSpPr>
            <p:spPr bwMode="auto">
              <a:xfrm rot="16200000" flipV="1">
                <a:off x="4750675" y="1011191"/>
                <a:ext cx="677246" cy="6748834"/>
              </a:xfrm>
              <a:prstGeom prst="round2SameRect">
                <a:avLst/>
              </a:prstGeom>
              <a:noFill/>
              <a:ln w="19050" cap="flat" cmpd="sng" algn="ctr">
                <a:solidFill>
                  <a:schemeClr val="accent2"/>
                </a:solidFill>
                <a:prstDash val="solid"/>
              </a:ln>
              <a:effectLst/>
            </p:spPr>
            <p:txBody>
              <a:bodyPr vert="vert270" anchor="ctr"/>
              <a:lstStyle/>
              <a:p>
                <a:pPr marL="517525" indent="-285750">
                  <a:buFont typeface="Arial" panose="020B0604020202020204" pitchFamily="34" charset="0"/>
                  <a:buChar char="•"/>
                  <a:defRPr/>
                </a:pPr>
                <a:r>
                  <a:rPr lang="en-US" sz="1700" kern="0" dirty="0">
                    <a:solidFill>
                      <a:srgbClr val="000000"/>
                    </a:solidFill>
                    <a:latin typeface="Calibri"/>
                  </a:rPr>
                  <a:t>ULAD functionality go-live from </a:t>
                </a:r>
                <a:r>
                  <a:rPr lang="en-US" sz="1700" b="1" kern="0" dirty="0">
                    <a:solidFill>
                      <a:srgbClr val="000000"/>
                    </a:solidFill>
                    <a:latin typeface="Calibri"/>
                  </a:rPr>
                  <a:t>December</a:t>
                </a:r>
                <a:r>
                  <a:rPr lang="en-US" sz="1700" kern="0" dirty="0">
                    <a:solidFill>
                      <a:srgbClr val="000000"/>
                    </a:solidFill>
                    <a:latin typeface="Calibri"/>
                  </a:rPr>
                  <a:t> through </a:t>
                </a:r>
                <a:r>
                  <a:rPr lang="en-US" sz="1700" b="1" kern="0" dirty="0">
                    <a:solidFill>
                      <a:srgbClr val="000000"/>
                    </a:solidFill>
                    <a:latin typeface="Calibri"/>
                  </a:rPr>
                  <a:t>February (2020)</a:t>
                </a:r>
              </a:p>
            </p:txBody>
          </p:sp>
          <p:sp>
            <p:nvSpPr>
              <p:cNvPr id="23" name="Round Same Side Corner Rectangle 19">
                <a:extLst>
                  <a:ext uri="{FF2B5EF4-FFF2-40B4-BE49-F238E27FC236}">
                    <a16:creationId xmlns:a16="http://schemas.microsoft.com/office/drawing/2014/main" id="{C925E471-7FD3-4BA8-940F-6041F34A7D7B}"/>
                  </a:ext>
                </a:extLst>
              </p:cNvPr>
              <p:cNvSpPr/>
              <p:nvPr/>
            </p:nvSpPr>
            <p:spPr bwMode="auto">
              <a:xfrm rot="16200000">
                <a:off x="747418" y="3756767"/>
                <a:ext cx="677246" cy="1257680"/>
              </a:xfrm>
              <a:prstGeom prst="round2SameRect">
                <a:avLst/>
              </a:prstGeom>
              <a:solidFill>
                <a:schemeClr val="accent2"/>
              </a:solidFill>
              <a:ln w="19050" cap="flat" cmpd="sng" algn="ctr">
                <a:solidFill>
                  <a:schemeClr val="accent2"/>
                </a:solidFill>
                <a:prstDash val="solid"/>
              </a:ln>
              <a:effectLst/>
            </p:spPr>
            <p:txBody>
              <a:bodyPr anchor="ctr"/>
              <a:lstStyle/>
              <a:p>
                <a:pPr algn="ctr">
                  <a:defRPr/>
                </a:pPr>
                <a:endParaRPr lang="en-US" sz="1600" kern="0" dirty="0">
                  <a:solidFill>
                    <a:prstClr val="white"/>
                  </a:solidFill>
                  <a:latin typeface="Arial"/>
                </a:endParaRPr>
              </a:p>
            </p:txBody>
          </p:sp>
        </p:grpSp>
      </p:grpSp>
      <p:sp>
        <p:nvSpPr>
          <p:cNvPr id="30" name="TextBox 9">
            <a:extLst>
              <a:ext uri="{FF2B5EF4-FFF2-40B4-BE49-F238E27FC236}">
                <a16:creationId xmlns:a16="http://schemas.microsoft.com/office/drawing/2014/main" id="{654EF44F-0069-4CAF-9C07-B521C6671D24}"/>
              </a:ext>
            </a:extLst>
          </p:cNvPr>
          <p:cNvSpPr txBox="1">
            <a:spLocks noChangeArrowheads="1"/>
          </p:cNvSpPr>
          <p:nvPr/>
        </p:nvSpPr>
        <p:spPr bwMode="auto">
          <a:xfrm>
            <a:off x="3262318" y="1524000"/>
            <a:ext cx="67230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Arial" pitchFamily="34" charset="0"/>
              </a:defRPr>
            </a:lvl1pPr>
            <a:lvl2pPr>
              <a:defRPr sz="2000">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eaLnBrk="0" fontAlgn="base" hangingPunct="0">
              <a:spcAft>
                <a:spcPct val="0"/>
              </a:spcAft>
              <a:buFont typeface="Arial" pitchFamily="34" charset="0"/>
              <a:buChar char="»"/>
              <a:defRPr>
                <a:solidFill>
                  <a:schemeClr val="tx1"/>
                </a:solidFill>
                <a:latin typeface="Arial" pitchFamily="34" charset="0"/>
              </a:defRPr>
            </a:lvl6pPr>
            <a:lvl7pPr eaLnBrk="0" fontAlgn="base" hangingPunct="0">
              <a:spcAft>
                <a:spcPct val="0"/>
              </a:spcAft>
              <a:buFont typeface="Arial" pitchFamily="34" charset="0"/>
              <a:buChar char="»"/>
              <a:defRPr>
                <a:solidFill>
                  <a:schemeClr val="tx1"/>
                </a:solidFill>
                <a:latin typeface="Arial" pitchFamily="34" charset="0"/>
              </a:defRPr>
            </a:lvl7pPr>
            <a:lvl8pPr eaLnBrk="0" fontAlgn="base" hangingPunct="0">
              <a:spcAft>
                <a:spcPct val="0"/>
              </a:spcAft>
              <a:buFont typeface="Arial" pitchFamily="34" charset="0"/>
              <a:buChar char="»"/>
              <a:defRPr>
                <a:solidFill>
                  <a:schemeClr val="tx1"/>
                </a:solidFill>
                <a:latin typeface="Arial" pitchFamily="34" charset="0"/>
              </a:defRPr>
            </a:lvl8pPr>
            <a:lvl9pPr eaLnBrk="0" fontAlgn="base" hangingPunct="0">
              <a:spcAft>
                <a:spcPct val="0"/>
              </a:spcAft>
              <a:buFont typeface="Arial" pitchFamily="34" charset="0"/>
              <a:buChar char="»"/>
              <a:defRPr>
                <a:solidFill>
                  <a:schemeClr val="tx1"/>
                </a:solidFill>
                <a:latin typeface="Arial" pitchFamily="34" charset="0"/>
              </a:defRPr>
            </a:lvl9pPr>
          </a:lstStyle>
          <a:p>
            <a:pPr>
              <a:defRPr/>
            </a:pPr>
            <a:r>
              <a:rPr lang="en-US" altLang="en-US" sz="1600" b="1" kern="0" dirty="0">
                <a:solidFill>
                  <a:prstClr val="black"/>
                </a:solidFill>
              </a:rPr>
              <a:t>Testing</a:t>
            </a:r>
          </a:p>
        </p:txBody>
      </p:sp>
      <p:grpSp>
        <p:nvGrpSpPr>
          <p:cNvPr id="31" name="Group 30">
            <a:extLst>
              <a:ext uri="{FF2B5EF4-FFF2-40B4-BE49-F238E27FC236}">
                <a16:creationId xmlns:a16="http://schemas.microsoft.com/office/drawing/2014/main" id="{95064ACF-E2FF-478E-90DE-A47A6A6C4284}"/>
              </a:ext>
            </a:extLst>
          </p:cNvPr>
          <p:cNvGrpSpPr/>
          <p:nvPr/>
        </p:nvGrpSpPr>
        <p:grpSpPr>
          <a:xfrm>
            <a:off x="1979615" y="1857241"/>
            <a:ext cx="8006514" cy="677247"/>
            <a:chOff x="457201" y="4046984"/>
            <a:chExt cx="8006514" cy="677247"/>
          </a:xfrm>
        </p:grpSpPr>
        <p:sp>
          <p:nvSpPr>
            <p:cNvPr id="32" name="Round Same Side Corner Rectangle 18">
              <a:extLst>
                <a:ext uri="{FF2B5EF4-FFF2-40B4-BE49-F238E27FC236}">
                  <a16:creationId xmlns:a16="http://schemas.microsoft.com/office/drawing/2014/main" id="{1BDF8E42-5E2B-4D39-9B9C-C7275F9515C0}"/>
                </a:ext>
              </a:extLst>
            </p:cNvPr>
            <p:cNvSpPr/>
            <p:nvPr/>
          </p:nvSpPr>
          <p:spPr bwMode="auto">
            <a:xfrm rot="16200000" flipV="1">
              <a:off x="4750675" y="1011191"/>
              <a:ext cx="677246" cy="6748834"/>
            </a:xfrm>
            <a:prstGeom prst="round2SameRect">
              <a:avLst/>
            </a:prstGeom>
            <a:noFill/>
            <a:ln w="19050" cap="flat" cmpd="sng" algn="ctr">
              <a:solidFill>
                <a:schemeClr val="accent2"/>
              </a:solidFill>
              <a:prstDash val="solid"/>
            </a:ln>
            <a:effectLst/>
          </p:spPr>
          <p:txBody>
            <a:bodyPr vert="vert270" anchor="ctr"/>
            <a:lstStyle/>
            <a:p>
              <a:pPr marL="517525" indent="-285750">
                <a:buFont typeface="Arial" panose="020B0604020202020204" pitchFamily="34" charset="0"/>
                <a:buChar char="•"/>
                <a:defRPr/>
              </a:pPr>
              <a:r>
                <a:rPr lang="en-US" sz="1700" kern="0" dirty="0">
                  <a:solidFill>
                    <a:srgbClr val="000000"/>
                  </a:solidFill>
                  <a:latin typeface="Calibri"/>
                </a:rPr>
                <a:t>Testing ULAD functionality from </a:t>
              </a:r>
              <a:r>
                <a:rPr lang="en-US" sz="1700" b="1" kern="0" dirty="0">
                  <a:solidFill>
                    <a:srgbClr val="000000"/>
                  </a:solidFill>
                  <a:latin typeface="Calibri"/>
                </a:rPr>
                <a:t>May</a:t>
              </a:r>
              <a:r>
                <a:rPr lang="en-US" sz="1700" kern="0" dirty="0">
                  <a:solidFill>
                    <a:srgbClr val="000000"/>
                  </a:solidFill>
                  <a:latin typeface="Calibri"/>
                </a:rPr>
                <a:t> through </a:t>
              </a:r>
              <a:r>
                <a:rPr lang="en-US" sz="1700" b="1" kern="0" dirty="0">
                  <a:solidFill>
                    <a:srgbClr val="000000"/>
                  </a:solidFill>
                  <a:latin typeface="Calibri"/>
                </a:rPr>
                <a:t>August (2019)</a:t>
              </a:r>
            </a:p>
          </p:txBody>
        </p:sp>
        <p:sp>
          <p:nvSpPr>
            <p:cNvPr id="33" name="Round Same Side Corner Rectangle 19">
              <a:extLst>
                <a:ext uri="{FF2B5EF4-FFF2-40B4-BE49-F238E27FC236}">
                  <a16:creationId xmlns:a16="http://schemas.microsoft.com/office/drawing/2014/main" id="{5001E2E4-EF44-4E77-BC7D-1D16FFBC642F}"/>
                </a:ext>
              </a:extLst>
            </p:cNvPr>
            <p:cNvSpPr/>
            <p:nvPr/>
          </p:nvSpPr>
          <p:spPr bwMode="auto">
            <a:xfrm rot="16200000">
              <a:off x="747418" y="3756767"/>
              <a:ext cx="677246" cy="1257680"/>
            </a:xfrm>
            <a:prstGeom prst="round2SameRect">
              <a:avLst/>
            </a:prstGeom>
            <a:solidFill>
              <a:schemeClr val="accent2"/>
            </a:solidFill>
            <a:ln w="19050" cap="flat" cmpd="sng" algn="ctr">
              <a:solidFill>
                <a:schemeClr val="accent2"/>
              </a:solidFill>
              <a:prstDash val="solid"/>
            </a:ln>
            <a:effectLst/>
          </p:spPr>
          <p:txBody>
            <a:bodyPr anchor="ctr"/>
            <a:lstStyle/>
            <a:p>
              <a:pPr algn="ctr">
                <a:defRPr/>
              </a:pPr>
              <a:endParaRPr lang="en-US" sz="1600" kern="0" dirty="0">
                <a:solidFill>
                  <a:prstClr val="white"/>
                </a:solidFill>
                <a:latin typeface="Arial"/>
              </a:endParaRPr>
            </a:p>
          </p:txBody>
        </p:sp>
      </p:grpSp>
      <p:grpSp>
        <p:nvGrpSpPr>
          <p:cNvPr id="34" name="Group 33">
            <a:extLst>
              <a:ext uri="{FF2B5EF4-FFF2-40B4-BE49-F238E27FC236}">
                <a16:creationId xmlns:a16="http://schemas.microsoft.com/office/drawing/2014/main" id="{F6C475A0-F055-414E-8EFD-7DBF50B66EAC}"/>
              </a:ext>
            </a:extLst>
          </p:cNvPr>
          <p:cNvGrpSpPr/>
          <p:nvPr/>
        </p:nvGrpSpPr>
        <p:grpSpPr>
          <a:xfrm>
            <a:off x="1979615" y="2695157"/>
            <a:ext cx="8006514" cy="1010487"/>
            <a:chOff x="457201" y="3713744"/>
            <a:chExt cx="8006514" cy="1010487"/>
          </a:xfrm>
        </p:grpSpPr>
        <p:sp>
          <p:nvSpPr>
            <p:cNvPr id="35" name="TextBox 9">
              <a:extLst>
                <a:ext uri="{FF2B5EF4-FFF2-40B4-BE49-F238E27FC236}">
                  <a16:creationId xmlns:a16="http://schemas.microsoft.com/office/drawing/2014/main" id="{9D1DDE33-1C42-4336-88C5-ABB487C5C8BB}"/>
                </a:ext>
              </a:extLst>
            </p:cNvPr>
            <p:cNvSpPr txBox="1">
              <a:spLocks noChangeArrowheads="1"/>
            </p:cNvSpPr>
            <p:nvPr/>
          </p:nvSpPr>
          <p:spPr bwMode="auto">
            <a:xfrm>
              <a:off x="1739903" y="3713744"/>
              <a:ext cx="6723019" cy="338554"/>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200">
                  <a:solidFill>
                    <a:schemeClr val="tx1"/>
                  </a:solidFill>
                  <a:latin typeface="Arial" pitchFamily="34" charset="0"/>
                </a:defRPr>
              </a:lvl1pPr>
              <a:lvl2pPr>
                <a:defRPr sz="2000">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eaLnBrk="0" fontAlgn="base" hangingPunct="0">
                <a:spcAft>
                  <a:spcPct val="0"/>
                </a:spcAft>
                <a:buFont typeface="Arial" pitchFamily="34" charset="0"/>
                <a:buChar char="»"/>
                <a:defRPr>
                  <a:solidFill>
                    <a:schemeClr val="tx1"/>
                  </a:solidFill>
                  <a:latin typeface="Arial" pitchFamily="34" charset="0"/>
                </a:defRPr>
              </a:lvl6pPr>
              <a:lvl7pPr eaLnBrk="0" fontAlgn="base" hangingPunct="0">
                <a:spcAft>
                  <a:spcPct val="0"/>
                </a:spcAft>
                <a:buFont typeface="Arial" pitchFamily="34" charset="0"/>
                <a:buChar char="»"/>
                <a:defRPr>
                  <a:solidFill>
                    <a:schemeClr val="tx1"/>
                  </a:solidFill>
                  <a:latin typeface="Arial" pitchFamily="34" charset="0"/>
                </a:defRPr>
              </a:lvl7pPr>
              <a:lvl8pPr eaLnBrk="0" fontAlgn="base" hangingPunct="0">
                <a:spcAft>
                  <a:spcPct val="0"/>
                </a:spcAft>
                <a:buFont typeface="Arial" pitchFamily="34" charset="0"/>
                <a:buChar char="»"/>
                <a:defRPr>
                  <a:solidFill>
                    <a:schemeClr val="tx1"/>
                  </a:solidFill>
                  <a:latin typeface="Arial" pitchFamily="34" charset="0"/>
                </a:defRPr>
              </a:lvl8pPr>
              <a:lvl9pPr eaLnBrk="0" fontAlgn="base" hangingPunct="0">
                <a:spcAft>
                  <a:spcPct val="0"/>
                </a:spcAft>
                <a:buFont typeface="Arial" pitchFamily="34" charset="0"/>
                <a:buChar char="»"/>
                <a:defRPr>
                  <a:solidFill>
                    <a:schemeClr val="tx1"/>
                  </a:solidFill>
                  <a:latin typeface="Arial" pitchFamily="34" charset="0"/>
                </a:defRPr>
              </a:lvl9pPr>
            </a:lstStyle>
            <a:p>
              <a:pPr>
                <a:defRPr/>
              </a:pPr>
              <a:r>
                <a:rPr lang="en-US" altLang="en-US" sz="1600" b="1" kern="0" dirty="0">
                  <a:solidFill>
                    <a:prstClr val="black"/>
                  </a:solidFill>
                </a:rPr>
                <a:t>Pre-Production</a:t>
              </a:r>
            </a:p>
          </p:txBody>
        </p:sp>
        <p:grpSp>
          <p:nvGrpSpPr>
            <p:cNvPr id="36" name="Group 35">
              <a:extLst>
                <a:ext uri="{FF2B5EF4-FFF2-40B4-BE49-F238E27FC236}">
                  <a16:creationId xmlns:a16="http://schemas.microsoft.com/office/drawing/2014/main" id="{4FED9F96-1EEB-45FD-AB19-637316D0A888}"/>
                </a:ext>
              </a:extLst>
            </p:cNvPr>
            <p:cNvGrpSpPr/>
            <p:nvPr/>
          </p:nvGrpSpPr>
          <p:grpSpPr>
            <a:xfrm>
              <a:off x="457201" y="4046984"/>
              <a:ext cx="8006514" cy="677247"/>
              <a:chOff x="457201" y="4046984"/>
              <a:chExt cx="8006514" cy="677247"/>
            </a:xfrm>
          </p:grpSpPr>
          <p:sp>
            <p:nvSpPr>
              <p:cNvPr id="37" name="Round Same Side Corner Rectangle 18">
                <a:extLst>
                  <a:ext uri="{FF2B5EF4-FFF2-40B4-BE49-F238E27FC236}">
                    <a16:creationId xmlns:a16="http://schemas.microsoft.com/office/drawing/2014/main" id="{E5AB3248-8E3F-45ED-9681-19FA24842F89}"/>
                  </a:ext>
                </a:extLst>
              </p:cNvPr>
              <p:cNvSpPr/>
              <p:nvPr/>
            </p:nvSpPr>
            <p:spPr bwMode="auto">
              <a:xfrm rot="16200000" flipV="1">
                <a:off x="4750675" y="1011191"/>
                <a:ext cx="677246" cy="6748834"/>
              </a:xfrm>
              <a:prstGeom prst="round2SameRect">
                <a:avLst/>
              </a:prstGeom>
              <a:noFill/>
              <a:ln w="19050" cap="flat" cmpd="sng" algn="ctr">
                <a:solidFill>
                  <a:schemeClr val="accent2"/>
                </a:solidFill>
                <a:prstDash val="solid"/>
              </a:ln>
              <a:effectLst/>
            </p:spPr>
            <p:txBody>
              <a:bodyPr vert="vert270" anchor="ctr"/>
              <a:lstStyle/>
              <a:p>
                <a:pPr marL="517525" indent="-285750">
                  <a:buFont typeface="Arial" panose="020B0604020202020204" pitchFamily="34" charset="0"/>
                  <a:buChar char="•"/>
                  <a:defRPr/>
                </a:pPr>
                <a:r>
                  <a:rPr lang="en-US" sz="1700" kern="0" dirty="0">
                    <a:solidFill>
                      <a:srgbClr val="000000"/>
                    </a:solidFill>
                    <a:latin typeface="Calibri"/>
                  </a:rPr>
                  <a:t>ULAD in pre-production from </a:t>
                </a:r>
                <a:r>
                  <a:rPr lang="en-US" sz="1700" b="1" kern="0" dirty="0">
                    <a:solidFill>
                      <a:srgbClr val="000000"/>
                    </a:solidFill>
                    <a:latin typeface="Calibri"/>
                  </a:rPr>
                  <a:t>August</a:t>
                </a:r>
                <a:r>
                  <a:rPr lang="en-US" sz="1700" kern="0" dirty="0">
                    <a:solidFill>
                      <a:srgbClr val="000000"/>
                    </a:solidFill>
                    <a:latin typeface="Calibri"/>
                  </a:rPr>
                  <a:t> through </a:t>
                </a:r>
                <a:r>
                  <a:rPr lang="en-US" sz="1700" b="1" kern="0" dirty="0">
                    <a:solidFill>
                      <a:srgbClr val="000000"/>
                    </a:solidFill>
                    <a:latin typeface="Calibri"/>
                  </a:rPr>
                  <a:t>December (2019)</a:t>
                </a:r>
              </a:p>
            </p:txBody>
          </p:sp>
          <p:sp>
            <p:nvSpPr>
              <p:cNvPr id="38" name="Round Same Side Corner Rectangle 19">
                <a:extLst>
                  <a:ext uri="{FF2B5EF4-FFF2-40B4-BE49-F238E27FC236}">
                    <a16:creationId xmlns:a16="http://schemas.microsoft.com/office/drawing/2014/main" id="{78EB804C-B836-46D2-80A6-E376106E295C}"/>
                  </a:ext>
                </a:extLst>
              </p:cNvPr>
              <p:cNvSpPr/>
              <p:nvPr/>
            </p:nvSpPr>
            <p:spPr bwMode="auto">
              <a:xfrm rot="16200000">
                <a:off x="747418" y="3756767"/>
                <a:ext cx="677246" cy="1257680"/>
              </a:xfrm>
              <a:prstGeom prst="round2SameRect">
                <a:avLst/>
              </a:prstGeom>
              <a:solidFill>
                <a:schemeClr val="accent2"/>
              </a:solidFill>
              <a:ln w="19050" cap="flat" cmpd="sng" algn="ctr">
                <a:solidFill>
                  <a:schemeClr val="accent2"/>
                </a:solidFill>
                <a:prstDash val="solid"/>
              </a:ln>
              <a:effectLst/>
            </p:spPr>
            <p:txBody>
              <a:bodyPr anchor="ctr"/>
              <a:lstStyle/>
              <a:p>
                <a:pPr algn="ctr">
                  <a:defRPr/>
                </a:pPr>
                <a:endParaRPr lang="en-US" sz="1600" kern="0" dirty="0">
                  <a:solidFill>
                    <a:prstClr val="white"/>
                  </a:solidFill>
                  <a:latin typeface="Arial"/>
                </a:endParaRPr>
              </a:p>
            </p:txBody>
          </p:sp>
        </p:grpSp>
      </p:grpSp>
      <p:pic>
        <p:nvPicPr>
          <p:cNvPr id="40" name="Graphic 39" descr="Checkmark">
            <a:extLst>
              <a:ext uri="{FF2B5EF4-FFF2-40B4-BE49-F238E27FC236}">
                <a16:creationId xmlns:a16="http://schemas.microsoft.com/office/drawing/2014/main" id="{C96D9E17-E68F-4610-B0C5-AD4A8C97326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438401" y="2010930"/>
            <a:ext cx="365765" cy="365765"/>
          </a:xfrm>
          <a:prstGeom prst="rect">
            <a:avLst/>
          </a:prstGeom>
        </p:spPr>
      </p:pic>
      <p:pic>
        <p:nvPicPr>
          <p:cNvPr id="42" name="Graphic 41" descr="Cloud Computing">
            <a:extLst>
              <a:ext uri="{FF2B5EF4-FFF2-40B4-BE49-F238E27FC236}">
                <a16:creationId xmlns:a16="http://schemas.microsoft.com/office/drawing/2014/main" id="{77B15E59-25D9-43FE-A083-04F391E5DF0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68968" y="4275657"/>
            <a:ext cx="550652" cy="550652"/>
          </a:xfrm>
          <a:prstGeom prst="rect">
            <a:avLst/>
          </a:prstGeom>
        </p:spPr>
      </p:pic>
      <p:pic>
        <p:nvPicPr>
          <p:cNvPr id="48" name="Graphic 47" descr="Single gear">
            <a:extLst>
              <a:ext uri="{FF2B5EF4-FFF2-40B4-BE49-F238E27FC236}">
                <a16:creationId xmlns:a16="http://schemas.microsoft.com/office/drawing/2014/main" id="{8FD1509B-A67C-483B-B08C-2D1364DEF61F}"/>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10306" y="3065128"/>
            <a:ext cx="609315" cy="609315"/>
          </a:xfrm>
          <a:prstGeom prst="rect">
            <a:avLst/>
          </a:prstGeom>
        </p:spPr>
      </p:pic>
    </p:spTree>
    <p:extLst>
      <p:ext uri="{BB962C8B-B14F-4D97-AF65-F5344CB8AC3E}">
        <p14:creationId xmlns:p14="http://schemas.microsoft.com/office/powerpoint/2010/main" val="11126652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32764BA-90AD-4B28-92F6-2A9C73604318}"/>
              </a:ext>
            </a:extLst>
          </p:cNvPr>
          <p:cNvSpPr>
            <a:spLocks noGrp="1"/>
          </p:cNvSpPr>
          <p:nvPr>
            <p:ph idx="1"/>
          </p:nvPr>
        </p:nvSpPr>
        <p:spPr>
          <a:xfrm>
            <a:off x="1981200" y="838202"/>
            <a:ext cx="8229600" cy="1491023"/>
          </a:xfrm>
        </p:spPr>
        <p:txBody>
          <a:bodyPr>
            <a:normAutofit/>
          </a:bodyPr>
          <a:lstStyle/>
          <a:p>
            <a:pPr marL="0" indent="0">
              <a:buNone/>
            </a:pPr>
            <a:r>
              <a:rPr lang="en-US" sz="1800" dirty="0"/>
              <a:t>VA will work to apply a rules-based decision engine to automatically generate a VA pre-guaranty certainty recommendation using borrower and loan data recorded for a loan case. This rules based engine will verify lender-provided assets, income, employment, etc. using ULAD/UCD data submitted pre-endorsement of the loan. </a:t>
            </a:r>
            <a:endParaRPr lang="en-US" sz="18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D983F1FA-211D-3044-9E35-958DFBC26156}" type="slidenum">
              <a:rPr lang="en-US">
                <a:solidFill>
                  <a:prstClr val="white"/>
                </a:solidFill>
                <a:latin typeface="Calibri"/>
              </a:rPr>
              <a:pPr/>
              <a:t>11</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dirty="0"/>
              <a:t>Rules Based Engine Functionality</a:t>
            </a:r>
          </a:p>
        </p:txBody>
      </p:sp>
      <p:sp>
        <p:nvSpPr>
          <p:cNvPr id="26" name="Rectangle 25">
            <a:extLst>
              <a:ext uri="{FF2B5EF4-FFF2-40B4-BE49-F238E27FC236}">
                <a16:creationId xmlns:a16="http://schemas.microsoft.com/office/drawing/2014/main" id="{482702B0-C98F-4CB1-BA0C-DACAC5BD3B89}"/>
              </a:ext>
            </a:extLst>
          </p:cNvPr>
          <p:cNvSpPr/>
          <p:nvPr/>
        </p:nvSpPr>
        <p:spPr>
          <a:xfrm>
            <a:off x="1985352" y="5257801"/>
            <a:ext cx="8221299" cy="646331"/>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lgn="ctr">
              <a:defRPr/>
            </a:pPr>
            <a:r>
              <a:rPr lang="en-US" b="1" dirty="0">
                <a:solidFill>
                  <a:srgbClr val="000000"/>
                </a:solidFill>
                <a:latin typeface="Calibri"/>
              </a:rPr>
              <a:t>VA Guaranty Certainty will provide lenders confidence prior to closing, plus greater speed and simplicity, while enabling an improved borrower experience</a:t>
            </a:r>
            <a:endParaRPr lang="en-US" b="1" kern="0" dirty="0">
              <a:solidFill>
                <a:srgbClr val="373737"/>
              </a:solidFill>
              <a:latin typeface="Calibri"/>
            </a:endParaRPr>
          </a:p>
        </p:txBody>
      </p:sp>
      <p:pic>
        <p:nvPicPr>
          <p:cNvPr id="7" name="Picture 2" descr="C:\Users\vacoGrovem\AppData\Local\Microsoft\Windows\Temporary Internet Files\Content.Outlook\83QVOJUE\CHOOSE-VA-rev.png">
            <a:extLst>
              <a:ext uri="{FF2B5EF4-FFF2-40B4-BE49-F238E27FC236}">
                <a16:creationId xmlns:a16="http://schemas.microsoft.com/office/drawing/2014/main" id="{CC9AC78D-0092-41E2-A810-529CDA93A65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a:extLst>
              <a:ext uri="{FF2B5EF4-FFF2-40B4-BE49-F238E27FC236}">
                <a16:creationId xmlns:a16="http://schemas.microsoft.com/office/drawing/2014/main" id="{A8337A43-C0B5-4542-9C4D-4E13F3FC2051}"/>
              </a:ext>
            </a:extLst>
          </p:cNvPr>
          <p:cNvCxnSpPr>
            <a:cxnSpLocks/>
          </p:cNvCxnSpPr>
          <p:nvPr/>
        </p:nvCxnSpPr>
        <p:spPr>
          <a:xfrm>
            <a:off x="2255520" y="2057400"/>
            <a:ext cx="0" cy="3063240"/>
          </a:xfrm>
          <a:prstGeom prst="line">
            <a:avLst/>
          </a:prstGeom>
          <a:noFill/>
          <a:ln w="38100" cap="flat" cmpd="sng" algn="ctr">
            <a:gradFill>
              <a:gsLst>
                <a:gs pos="100000">
                  <a:srgbClr val="C8F4A9"/>
                </a:gs>
                <a:gs pos="0">
                  <a:srgbClr val="00B050"/>
                </a:gs>
              </a:gsLst>
              <a:lin ang="16200000" scaled="0"/>
            </a:gradFill>
            <a:prstDash val="solid"/>
            <a:headEnd type="none" w="med" len="med"/>
            <a:tailEnd type="triangle" w="med" len="med"/>
          </a:ln>
          <a:effectLst/>
        </p:spPr>
      </p:cxnSp>
      <p:grpSp>
        <p:nvGrpSpPr>
          <p:cNvPr id="53" name="Group 52">
            <a:extLst>
              <a:ext uri="{FF2B5EF4-FFF2-40B4-BE49-F238E27FC236}">
                <a16:creationId xmlns:a16="http://schemas.microsoft.com/office/drawing/2014/main" id="{8240CBC3-B4D0-46A5-BB66-33E5EB76AE60}"/>
              </a:ext>
            </a:extLst>
          </p:cNvPr>
          <p:cNvGrpSpPr/>
          <p:nvPr/>
        </p:nvGrpSpPr>
        <p:grpSpPr>
          <a:xfrm>
            <a:off x="2209801" y="2099846"/>
            <a:ext cx="7996847" cy="338554"/>
            <a:chOff x="685800" y="1766053"/>
            <a:chExt cx="7996847" cy="338554"/>
          </a:xfrm>
        </p:grpSpPr>
        <p:sp>
          <p:nvSpPr>
            <p:cNvPr id="18" name="Oval 17">
              <a:extLst>
                <a:ext uri="{FF2B5EF4-FFF2-40B4-BE49-F238E27FC236}">
                  <a16:creationId xmlns:a16="http://schemas.microsoft.com/office/drawing/2014/main" id="{2AD288BC-3E4D-465C-BB6F-C778B657339A}"/>
                </a:ext>
              </a:extLst>
            </p:cNvPr>
            <p:cNvSpPr/>
            <p:nvPr/>
          </p:nvSpPr>
          <p:spPr bwMode="gray">
            <a:xfrm>
              <a:off x="685800" y="1889610"/>
              <a:ext cx="91440" cy="91440"/>
            </a:xfrm>
            <a:prstGeom prst="ellipse">
              <a:avLst/>
            </a:prstGeom>
            <a:solidFill>
              <a:srgbClr val="83909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cs typeface="Calibri" panose="020F0502020204030204" pitchFamily="34" charset="0"/>
              </a:endParaRPr>
            </a:p>
          </p:txBody>
        </p:sp>
        <p:sp>
          <p:nvSpPr>
            <p:cNvPr id="5" name="Rectangle 4">
              <a:extLst>
                <a:ext uri="{FF2B5EF4-FFF2-40B4-BE49-F238E27FC236}">
                  <a16:creationId xmlns:a16="http://schemas.microsoft.com/office/drawing/2014/main" id="{02FE32F6-A980-4B2A-9CD4-79A50918597D}"/>
                </a:ext>
              </a:extLst>
            </p:cNvPr>
            <p:cNvSpPr/>
            <p:nvPr/>
          </p:nvSpPr>
          <p:spPr>
            <a:xfrm>
              <a:off x="850232" y="1766053"/>
              <a:ext cx="7832415" cy="338554"/>
            </a:xfrm>
            <a:prstGeom prst="rect">
              <a:avLst/>
            </a:prstGeom>
          </p:spPr>
          <p:txBody>
            <a:bodyPr wrap="square">
              <a:spAutoFit/>
            </a:bodyPr>
            <a:lstStyle/>
            <a:p>
              <a:pPr>
                <a:spcBef>
                  <a:spcPts val="600"/>
                </a:spcBef>
                <a:buSzPct val="100000"/>
              </a:pPr>
              <a:r>
                <a:rPr lang="en-US" sz="1600" b="1" dirty="0">
                  <a:solidFill>
                    <a:srgbClr val="839097">
                      <a:lumMod val="50000"/>
                    </a:srgbClr>
                  </a:solidFill>
                  <a:latin typeface="Calibri"/>
                  <a:cs typeface="Calibri" panose="020F0502020204030204" pitchFamily="34" charset="0"/>
                </a:rPr>
                <a:t>Borrower Eligibility Check</a:t>
              </a:r>
            </a:p>
          </p:txBody>
        </p:sp>
      </p:grpSp>
      <p:grpSp>
        <p:nvGrpSpPr>
          <p:cNvPr id="55" name="Group 54">
            <a:extLst>
              <a:ext uri="{FF2B5EF4-FFF2-40B4-BE49-F238E27FC236}">
                <a16:creationId xmlns:a16="http://schemas.microsoft.com/office/drawing/2014/main" id="{D7471814-0CFD-4E00-AAAE-5E936959B772}"/>
              </a:ext>
            </a:extLst>
          </p:cNvPr>
          <p:cNvGrpSpPr/>
          <p:nvPr/>
        </p:nvGrpSpPr>
        <p:grpSpPr>
          <a:xfrm>
            <a:off x="2209800" y="2474782"/>
            <a:ext cx="4736432" cy="338554"/>
            <a:chOff x="685800" y="2177471"/>
            <a:chExt cx="4736432" cy="338554"/>
          </a:xfrm>
        </p:grpSpPr>
        <p:sp>
          <p:nvSpPr>
            <p:cNvPr id="19" name="Oval 18">
              <a:extLst>
                <a:ext uri="{FF2B5EF4-FFF2-40B4-BE49-F238E27FC236}">
                  <a16:creationId xmlns:a16="http://schemas.microsoft.com/office/drawing/2014/main" id="{C7EBEAA6-5A05-43D4-A350-C26478A1715A}"/>
                </a:ext>
              </a:extLst>
            </p:cNvPr>
            <p:cNvSpPr/>
            <p:nvPr/>
          </p:nvSpPr>
          <p:spPr bwMode="gray">
            <a:xfrm>
              <a:off x="685800" y="2301028"/>
              <a:ext cx="91440" cy="91440"/>
            </a:xfrm>
            <a:prstGeom prst="ellipse">
              <a:avLst/>
            </a:prstGeom>
            <a:solidFill>
              <a:srgbClr val="83909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cs typeface="Calibri" panose="020F0502020204030204" pitchFamily="34" charset="0"/>
              </a:endParaRPr>
            </a:p>
          </p:txBody>
        </p:sp>
        <p:sp>
          <p:nvSpPr>
            <p:cNvPr id="34" name="Rectangle 33">
              <a:extLst>
                <a:ext uri="{FF2B5EF4-FFF2-40B4-BE49-F238E27FC236}">
                  <a16:creationId xmlns:a16="http://schemas.microsoft.com/office/drawing/2014/main" id="{0C9FBAF0-BC9F-4BC7-B69F-C50E4AB9099F}"/>
                </a:ext>
              </a:extLst>
            </p:cNvPr>
            <p:cNvSpPr/>
            <p:nvPr/>
          </p:nvSpPr>
          <p:spPr>
            <a:xfrm>
              <a:off x="850232" y="2177471"/>
              <a:ext cx="4572000" cy="338554"/>
            </a:xfrm>
            <a:prstGeom prst="rect">
              <a:avLst/>
            </a:prstGeom>
          </p:spPr>
          <p:txBody>
            <a:bodyPr>
              <a:spAutoFit/>
            </a:bodyPr>
            <a:lstStyle/>
            <a:p>
              <a:pPr>
                <a:spcBef>
                  <a:spcPts val="300"/>
                </a:spcBef>
                <a:buSzPct val="100000"/>
              </a:pPr>
              <a:r>
                <a:rPr lang="en-US" sz="1600" b="1" dirty="0">
                  <a:solidFill>
                    <a:srgbClr val="839097">
                      <a:lumMod val="50000"/>
                    </a:srgbClr>
                  </a:solidFill>
                  <a:latin typeface="Calibri"/>
                  <a:cs typeface="Calibri" panose="020F0502020204030204" pitchFamily="34" charset="0"/>
                </a:rPr>
                <a:t>Borrower Pre-Approval</a:t>
              </a:r>
            </a:p>
          </p:txBody>
        </p:sp>
      </p:grpSp>
      <p:grpSp>
        <p:nvGrpSpPr>
          <p:cNvPr id="54" name="Group 53">
            <a:extLst>
              <a:ext uri="{FF2B5EF4-FFF2-40B4-BE49-F238E27FC236}">
                <a16:creationId xmlns:a16="http://schemas.microsoft.com/office/drawing/2014/main" id="{660AD80C-C283-410D-9CF9-FEDC6B824D88}"/>
              </a:ext>
            </a:extLst>
          </p:cNvPr>
          <p:cNvGrpSpPr/>
          <p:nvPr/>
        </p:nvGrpSpPr>
        <p:grpSpPr>
          <a:xfrm>
            <a:off x="2209800" y="2849718"/>
            <a:ext cx="4736432" cy="338554"/>
            <a:chOff x="685800" y="2724290"/>
            <a:chExt cx="4736432" cy="338554"/>
          </a:xfrm>
        </p:grpSpPr>
        <p:sp>
          <p:nvSpPr>
            <p:cNvPr id="27" name="Oval 26">
              <a:extLst>
                <a:ext uri="{FF2B5EF4-FFF2-40B4-BE49-F238E27FC236}">
                  <a16:creationId xmlns:a16="http://schemas.microsoft.com/office/drawing/2014/main" id="{C5EB6C87-E7DB-418D-98B5-4B99539C681D}"/>
                </a:ext>
              </a:extLst>
            </p:cNvPr>
            <p:cNvSpPr/>
            <p:nvPr/>
          </p:nvSpPr>
          <p:spPr bwMode="gray">
            <a:xfrm>
              <a:off x="685800" y="2847847"/>
              <a:ext cx="91440" cy="91440"/>
            </a:xfrm>
            <a:prstGeom prst="ellipse">
              <a:avLst/>
            </a:prstGeom>
            <a:solidFill>
              <a:srgbClr val="83909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cs typeface="Calibri" panose="020F0502020204030204" pitchFamily="34" charset="0"/>
              </a:endParaRPr>
            </a:p>
          </p:txBody>
        </p:sp>
        <p:sp>
          <p:nvSpPr>
            <p:cNvPr id="36" name="Rectangle 35">
              <a:extLst>
                <a:ext uri="{FF2B5EF4-FFF2-40B4-BE49-F238E27FC236}">
                  <a16:creationId xmlns:a16="http://schemas.microsoft.com/office/drawing/2014/main" id="{DD72EFB7-B0CA-491B-8CEE-CC39C723BEAD}"/>
                </a:ext>
              </a:extLst>
            </p:cNvPr>
            <p:cNvSpPr/>
            <p:nvPr/>
          </p:nvSpPr>
          <p:spPr>
            <a:xfrm>
              <a:off x="850232" y="2724290"/>
              <a:ext cx="4572000" cy="338554"/>
            </a:xfrm>
            <a:prstGeom prst="rect">
              <a:avLst/>
            </a:prstGeom>
          </p:spPr>
          <p:txBody>
            <a:bodyPr>
              <a:spAutoFit/>
            </a:bodyPr>
            <a:lstStyle/>
            <a:p>
              <a:pPr>
                <a:spcBef>
                  <a:spcPts val="600"/>
                </a:spcBef>
                <a:buSzPct val="100000"/>
              </a:pPr>
              <a:r>
                <a:rPr lang="en-US" sz="1600" b="1" dirty="0">
                  <a:solidFill>
                    <a:srgbClr val="839097">
                      <a:lumMod val="50000"/>
                    </a:srgbClr>
                  </a:solidFill>
                  <a:latin typeface="Calibri"/>
                  <a:cs typeface="Calibri" panose="020F0502020204030204" pitchFamily="34" charset="0"/>
                </a:rPr>
                <a:t>Valuation Management</a:t>
              </a:r>
            </a:p>
          </p:txBody>
        </p:sp>
      </p:grpSp>
      <p:grpSp>
        <p:nvGrpSpPr>
          <p:cNvPr id="43" name="Group 42">
            <a:extLst>
              <a:ext uri="{FF2B5EF4-FFF2-40B4-BE49-F238E27FC236}">
                <a16:creationId xmlns:a16="http://schemas.microsoft.com/office/drawing/2014/main" id="{930802BE-8619-4668-8605-D315DE27B1AC}"/>
              </a:ext>
            </a:extLst>
          </p:cNvPr>
          <p:cNvGrpSpPr/>
          <p:nvPr/>
        </p:nvGrpSpPr>
        <p:grpSpPr>
          <a:xfrm>
            <a:off x="2209800" y="3224654"/>
            <a:ext cx="4736432" cy="338554"/>
            <a:chOff x="685800" y="3075546"/>
            <a:chExt cx="4736432" cy="338554"/>
          </a:xfrm>
        </p:grpSpPr>
        <p:sp>
          <p:nvSpPr>
            <p:cNvPr id="28" name="Oval 27">
              <a:extLst>
                <a:ext uri="{FF2B5EF4-FFF2-40B4-BE49-F238E27FC236}">
                  <a16:creationId xmlns:a16="http://schemas.microsoft.com/office/drawing/2014/main" id="{46423EAA-6B38-4610-B22E-BCD57E774C5B}"/>
                </a:ext>
              </a:extLst>
            </p:cNvPr>
            <p:cNvSpPr/>
            <p:nvPr/>
          </p:nvSpPr>
          <p:spPr bwMode="gray">
            <a:xfrm>
              <a:off x="685800" y="3199103"/>
              <a:ext cx="91440" cy="91440"/>
            </a:xfrm>
            <a:prstGeom prst="ellipse">
              <a:avLst/>
            </a:prstGeom>
            <a:solidFill>
              <a:srgbClr val="83909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cs typeface="Calibri" panose="020F0502020204030204" pitchFamily="34" charset="0"/>
              </a:endParaRPr>
            </a:p>
          </p:txBody>
        </p:sp>
        <p:sp>
          <p:nvSpPr>
            <p:cNvPr id="38" name="Rectangle 37">
              <a:extLst>
                <a:ext uri="{FF2B5EF4-FFF2-40B4-BE49-F238E27FC236}">
                  <a16:creationId xmlns:a16="http://schemas.microsoft.com/office/drawing/2014/main" id="{7180C107-8DC0-440B-9160-5DA62F18401A}"/>
                </a:ext>
              </a:extLst>
            </p:cNvPr>
            <p:cNvSpPr/>
            <p:nvPr/>
          </p:nvSpPr>
          <p:spPr>
            <a:xfrm>
              <a:off x="850232" y="3075546"/>
              <a:ext cx="4572000" cy="338554"/>
            </a:xfrm>
            <a:prstGeom prst="rect">
              <a:avLst/>
            </a:prstGeom>
          </p:spPr>
          <p:txBody>
            <a:bodyPr>
              <a:spAutoFit/>
            </a:bodyPr>
            <a:lstStyle/>
            <a:p>
              <a:pPr>
                <a:spcBef>
                  <a:spcPts val="600"/>
                </a:spcBef>
                <a:buSzPct val="100000"/>
              </a:pPr>
              <a:r>
                <a:rPr lang="en-US" sz="1600" b="1" dirty="0">
                  <a:solidFill>
                    <a:srgbClr val="839097">
                      <a:lumMod val="50000"/>
                    </a:srgbClr>
                  </a:solidFill>
                  <a:latin typeface="Calibri"/>
                  <a:cs typeface="Calibri" panose="020F0502020204030204" pitchFamily="34" charset="0"/>
                </a:rPr>
                <a:t>Underwriting and Eligibility Review</a:t>
              </a:r>
            </a:p>
          </p:txBody>
        </p:sp>
      </p:grpSp>
      <p:grpSp>
        <p:nvGrpSpPr>
          <p:cNvPr id="47" name="Group 46">
            <a:extLst>
              <a:ext uri="{FF2B5EF4-FFF2-40B4-BE49-F238E27FC236}">
                <a16:creationId xmlns:a16="http://schemas.microsoft.com/office/drawing/2014/main" id="{74228E24-3647-4F0B-991A-947CB00A6491}"/>
              </a:ext>
            </a:extLst>
          </p:cNvPr>
          <p:cNvGrpSpPr/>
          <p:nvPr/>
        </p:nvGrpSpPr>
        <p:grpSpPr>
          <a:xfrm>
            <a:off x="2209800" y="3599590"/>
            <a:ext cx="4736432" cy="338554"/>
            <a:chOff x="685800" y="3429000"/>
            <a:chExt cx="4736432" cy="338554"/>
          </a:xfrm>
        </p:grpSpPr>
        <p:sp>
          <p:nvSpPr>
            <p:cNvPr id="29" name="Oval 28">
              <a:extLst>
                <a:ext uri="{FF2B5EF4-FFF2-40B4-BE49-F238E27FC236}">
                  <a16:creationId xmlns:a16="http://schemas.microsoft.com/office/drawing/2014/main" id="{2F886A7B-636A-4388-B626-33C7FD07B9D7}"/>
                </a:ext>
              </a:extLst>
            </p:cNvPr>
            <p:cNvSpPr/>
            <p:nvPr/>
          </p:nvSpPr>
          <p:spPr bwMode="gray">
            <a:xfrm>
              <a:off x="685800" y="3552557"/>
              <a:ext cx="91440" cy="91440"/>
            </a:xfrm>
            <a:prstGeom prst="ellipse">
              <a:avLst/>
            </a:prstGeom>
            <a:solidFill>
              <a:srgbClr val="83909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cs typeface="Calibri" panose="020F0502020204030204" pitchFamily="34" charset="0"/>
              </a:endParaRPr>
            </a:p>
          </p:txBody>
        </p:sp>
        <p:sp>
          <p:nvSpPr>
            <p:cNvPr id="40" name="Rectangle 39">
              <a:extLst>
                <a:ext uri="{FF2B5EF4-FFF2-40B4-BE49-F238E27FC236}">
                  <a16:creationId xmlns:a16="http://schemas.microsoft.com/office/drawing/2014/main" id="{21851655-D574-4137-8A8E-2A1B80F9C0A7}"/>
                </a:ext>
              </a:extLst>
            </p:cNvPr>
            <p:cNvSpPr/>
            <p:nvPr/>
          </p:nvSpPr>
          <p:spPr>
            <a:xfrm>
              <a:off x="850232" y="3429000"/>
              <a:ext cx="4572000" cy="338554"/>
            </a:xfrm>
            <a:prstGeom prst="rect">
              <a:avLst/>
            </a:prstGeom>
          </p:spPr>
          <p:txBody>
            <a:bodyPr>
              <a:spAutoFit/>
            </a:bodyPr>
            <a:lstStyle/>
            <a:p>
              <a:pPr>
                <a:spcBef>
                  <a:spcPts val="600"/>
                </a:spcBef>
                <a:buSzPct val="100000"/>
              </a:pPr>
              <a:r>
                <a:rPr lang="en-US" sz="1600" b="1" dirty="0">
                  <a:solidFill>
                    <a:srgbClr val="839097">
                      <a:lumMod val="50000"/>
                    </a:srgbClr>
                  </a:solidFill>
                  <a:latin typeface="Calibri"/>
                  <a:cs typeface="Calibri" panose="020F0502020204030204" pitchFamily="34" charset="0"/>
                </a:rPr>
                <a:t>Lender Approval According to VA Standards</a:t>
              </a:r>
            </a:p>
          </p:txBody>
        </p:sp>
      </p:grpSp>
      <p:grpSp>
        <p:nvGrpSpPr>
          <p:cNvPr id="48" name="Group 47">
            <a:extLst>
              <a:ext uri="{FF2B5EF4-FFF2-40B4-BE49-F238E27FC236}">
                <a16:creationId xmlns:a16="http://schemas.microsoft.com/office/drawing/2014/main" id="{32C03193-38E6-41D2-A67D-7F7F3E7A877E}"/>
              </a:ext>
            </a:extLst>
          </p:cNvPr>
          <p:cNvGrpSpPr/>
          <p:nvPr/>
        </p:nvGrpSpPr>
        <p:grpSpPr>
          <a:xfrm>
            <a:off x="2209800" y="3974526"/>
            <a:ext cx="4736432" cy="338554"/>
            <a:chOff x="685800" y="3705787"/>
            <a:chExt cx="4736432" cy="338554"/>
          </a:xfrm>
        </p:grpSpPr>
        <p:sp>
          <p:nvSpPr>
            <p:cNvPr id="30" name="Oval 29">
              <a:extLst>
                <a:ext uri="{FF2B5EF4-FFF2-40B4-BE49-F238E27FC236}">
                  <a16:creationId xmlns:a16="http://schemas.microsoft.com/office/drawing/2014/main" id="{73A69EA9-7F58-443A-99B6-7B8329F1933D}"/>
                </a:ext>
              </a:extLst>
            </p:cNvPr>
            <p:cNvSpPr/>
            <p:nvPr/>
          </p:nvSpPr>
          <p:spPr bwMode="gray">
            <a:xfrm>
              <a:off x="685800" y="3829344"/>
              <a:ext cx="91440" cy="91440"/>
            </a:xfrm>
            <a:prstGeom prst="ellipse">
              <a:avLst/>
            </a:prstGeom>
            <a:solidFill>
              <a:srgbClr val="83909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cs typeface="Calibri" panose="020F0502020204030204" pitchFamily="34" charset="0"/>
              </a:endParaRPr>
            </a:p>
          </p:txBody>
        </p:sp>
        <p:sp>
          <p:nvSpPr>
            <p:cNvPr id="45" name="Rectangle 44">
              <a:extLst>
                <a:ext uri="{FF2B5EF4-FFF2-40B4-BE49-F238E27FC236}">
                  <a16:creationId xmlns:a16="http://schemas.microsoft.com/office/drawing/2014/main" id="{2692B030-231A-46F5-B5F9-3DF0BF292C91}"/>
                </a:ext>
              </a:extLst>
            </p:cNvPr>
            <p:cNvSpPr/>
            <p:nvPr/>
          </p:nvSpPr>
          <p:spPr>
            <a:xfrm>
              <a:off x="850232" y="3705787"/>
              <a:ext cx="4572000" cy="338554"/>
            </a:xfrm>
            <a:prstGeom prst="rect">
              <a:avLst/>
            </a:prstGeom>
          </p:spPr>
          <p:txBody>
            <a:bodyPr>
              <a:spAutoFit/>
            </a:bodyPr>
            <a:lstStyle/>
            <a:p>
              <a:pPr>
                <a:spcBef>
                  <a:spcPts val="600"/>
                </a:spcBef>
                <a:buSzPct val="100000"/>
              </a:pPr>
              <a:r>
                <a:rPr lang="en-US" sz="1600" b="1" dirty="0">
                  <a:solidFill>
                    <a:srgbClr val="00B050"/>
                  </a:solidFill>
                  <a:latin typeface="Calibri"/>
                  <a:cs typeface="Calibri" panose="020F0502020204030204" pitchFamily="34" charset="0"/>
                </a:rPr>
                <a:t>VA Guaranty Certainty</a:t>
              </a:r>
            </a:p>
          </p:txBody>
        </p:sp>
      </p:grpSp>
      <p:grpSp>
        <p:nvGrpSpPr>
          <p:cNvPr id="52" name="Group 51">
            <a:extLst>
              <a:ext uri="{FF2B5EF4-FFF2-40B4-BE49-F238E27FC236}">
                <a16:creationId xmlns:a16="http://schemas.microsoft.com/office/drawing/2014/main" id="{458E39BE-3BC1-444C-B45E-83BF80B99854}"/>
              </a:ext>
            </a:extLst>
          </p:cNvPr>
          <p:cNvGrpSpPr/>
          <p:nvPr/>
        </p:nvGrpSpPr>
        <p:grpSpPr>
          <a:xfrm>
            <a:off x="2209800" y="4349462"/>
            <a:ext cx="4736432" cy="338554"/>
            <a:chOff x="685800" y="4275522"/>
            <a:chExt cx="4736432" cy="338554"/>
          </a:xfrm>
        </p:grpSpPr>
        <p:sp>
          <p:nvSpPr>
            <p:cNvPr id="31" name="Oval 30">
              <a:extLst>
                <a:ext uri="{FF2B5EF4-FFF2-40B4-BE49-F238E27FC236}">
                  <a16:creationId xmlns:a16="http://schemas.microsoft.com/office/drawing/2014/main" id="{3E1D4971-0BC4-4C2B-B534-6349A3B8980F}"/>
                </a:ext>
              </a:extLst>
            </p:cNvPr>
            <p:cNvSpPr/>
            <p:nvPr/>
          </p:nvSpPr>
          <p:spPr bwMode="gray">
            <a:xfrm>
              <a:off x="685800" y="4399079"/>
              <a:ext cx="91440" cy="91440"/>
            </a:xfrm>
            <a:prstGeom prst="ellipse">
              <a:avLst/>
            </a:prstGeom>
            <a:solidFill>
              <a:srgbClr val="83909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cs typeface="Calibri" panose="020F0502020204030204" pitchFamily="34" charset="0"/>
              </a:endParaRPr>
            </a:p>
          </p:txBody>
        </p:sp>
        <p:sp>
          <p:nvSpPr>
            <p:cNvPr id="46" name="Rectangle 45">
              <a:extLst>
                <a:ext uri="{FF2B5EF4-FFF2-40B4-BE49-F238E27FC236}">
                  <a16:creationId xmlns:a16="http://schemas.microsoft.com/office/drawing/2014/main" id="{EA653B55-8C3D-48DF-81E7-C8B9B7FFAF1D}"/>
                </a:ext>
              </a:extLst>
            </p:cNvPr>
            <p:cNvSpPr/>
            <p:nvPr/>
          </p:nvSpPr>
          <p:spPr>
            <a:xfrm>
              <a:off x="850232" y="4275522"/>
              <a:ext cx="4572000" cy="338554"/>
            </a:xfrm>
            <a:prstGeom prst="rect">
              <a:avLst/>
            </a:prstGeom>
          </p:spPr>
          <p:txBody>
            <a:bodyPr>
              <a:spAutoFit/>
            </a:bodyPr>
            <a:lstStyle/>
            <a:p>
              <a:pPr>
                <a:spcBef>
                  <a:spcPts val="600"/>
                </a:spcBef>
                <a:buSzPct val="100000"/>
              </a:pPr>
              <a:r>
                <a:rPr lang="en-US" sz="1600" b="1" dirty="0">
                  <a:solidFill>
                    <a:srgbClr val="839097">
                      <a:lumMod val="50000"/>
                    </a:srgbClr>
                  </a:solidFill>
                  <a:latin typeface="Calibri"/>
                  <a:cs typeface="Calibri" panose="020F0502020204030204" pitchFamily="34" charset="0"/>
                </a:rPr>
                <a:t>Certificate Issued to Lender</a:t>
              </a:r>
            </a:p>
          </p:txBody>
        </p:sp>
      </p:grpSp>
      <p:grpSp>
        <p:nvGrpSpPr>
          <p:cNvPr id="51" name="Group 50">
            <a:extLst>
              <a:ext uri="{FF2B5EF4-FFF2-40B4-BE49-F238E27FC236}">
                <a16:creationId xmlns:a16="http://schemas.microsoft.com/office/drawing/2014/main" id="{F33FF2C9-9565-4F0B-A6F5-8227C5CE8779}"/>
              </a:ext>
            </a:extLst>
          </p:cNvPr>
          <p:cNvGrpSpPr/>
          <p:nvPr/>
        </p:nvGrpSpPr>
        <p:grpSpPr>
          <a:xfrm>
            <a:off x="2209801" y="4724400"/>
            <a:ext cx="2761681" cy="338554"/>
            <a:chOff x="685800" y="4645978"/>
            <a:chExt cx="2761681" cy="338554"/>
          </a:xfrm>
        </p:grpSpPr>
        <p:sp>
          <p:nvSpPr>
            <p:cNvPr id="32" name="Oval 31">
              <a:extLst>
                <a:ext uri="{FF2B5EF4-FFF2-40B4-BE49-F238E27FC236}">
                  <a16:creationId xmlns:a16="http://schemas.microsoft.com/office/drawing/2014/main" id="{13B74296-D45A-42BB-A689-6543D8CD7EE3}"/>
                </a:ext>
              </a:extLst>
            </p:cNvPr>
            <p:cNvSpPr/>
            <p:nvPr/>
          </p:nvSpPr>
          <p:spPr bwMode="gray">
            <a:xfrm>
              <a:off x="685800" y="4769535"/>
              <a:ext cx="91440" cy="91440"/>
            </a:xfrm>
            <a:prstGeom prst="ellipse">
              <a:avLst/>
            </a:prstGeom>
            <a:solidFill>
              <a:srgbClr val="83909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cs typeface="Calibri" panose="020F0502020204030204" pitchFamily="34" charset="0"/>
              </a:endParaRPr>
            </a:p>
          </p:txBody>
        </p:sp>
        <p:sp>
          <p:nvSpPr>
            <p:cNvPr id="50" name="Rectangle 49">
              <a:extLst>
                <a:ext uri="{FF2B5EF4-FFF2-40B4-BE49-F238E27FC236}">
                  <a16:creationId xmlns:a16="http://schemas.microsoft.com/office/drawing/2014/main" id="{A243D4E7-CE1E-44DB-BAFB-0A2A12D6BCE5}"/>
                </a:ext>
              </a:extLst>
            </p:cNvPr>
            <p:cNvSpPr/>
            <p:nvPr/>
          </p:nvSpPr>
          <p:spPr>
            <a:xfrm>
              <a:off x="850232" y="4645978"/>
              <a:ext cx="2597249" cy="338554"/>
            </a:xfrm>
            <a:prstGeom prst="rect">
              <a:avLst/>
            </a:prstGeom>
          </p:spPr>
          <p:txBody>
            <a:bodyPr wrap="none">
              <a:spAutoFit/>
            </a:bodyPr>
            <a:lstStyle/>
            <a:p>
              <a:pPr>
                <a:spcBef>
                  <a:spcPts val="600"/>
                </a:spcBef>
                <a:buSzPct val="100000"/>
              </a:pPr>
              <a:r>
                <a:rPr lang="en-US" sz="1600" b="1" dirty="0">
                  <a:solidFill>
                    <a:srgbClr val="839097">
                      <a:lumMod val="50000"/>
                    </a:srgbClr>
                  </a:solidFill>
                  <a:latin typeface="Calibri"/>
                  <a:cs typeface="Calibri" panose="020F0502020204030204" pitchFamily="34" charset="0"/>
                </a:rPr>
                <a:t>Lender Scorecard Generated</a:t>
              </a:r>
              <a:endParaRPr lang="en-US" sz="1600" b="1" dirty="0">
                <a:solidFill>
                  <a:srgbClr val="FF0000"/>
                </a:solidFill>
                <a:latin typeface="Calibri"/>
                <a:cs typeface="Calibri" panose="020F0502020204030204" pitchFamily="34" charset="0"/>
              </a:endParaRPr>
            </a:p>
          </p:txBody>
        </p:sp>
      </p:grpSp>
    </p:spTree>
    <p:extLst>
      <p:ext uri="{BB962C8B-B14F-4D97-AF65-F5344CB8AC3E}">
        <p14:creationId xmlns:p14="http://schemas.microsoft.com/office/powerpoint/2010/main" val="32034227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45BE3B-DABD-43DC-81D2-AA39B276FA70}"/>
              </a:ext>
            </a:extLst>
          </p:cNvPr>
          <p:cNvSpPr>
            <a:spLocks noGrp="1"/>
          </p:cNvSpPr>
          <p:nvPr>
            <p:ph idx="1"/>
          </p:nvPr>
        </p:nvSpPr>
        <p:spPr>
          <a:xfrm>
            <a:off x="1981200" y="838202"/>
            <a:ext cx="8229600" cy="924078"/>
          </a:xfrm>
        </p:spPr>
        <p:txBody>
          <a:bodyPr>
            <a:noAutofit/>
          </a:bodyPr>
          <a:lstStyle/>
          <a:p>
            <a:pPr marL="0" indent="0">
              <a:lnSpc>
                <a:spcPct val="110000"/>
              </a:lnSpc>
              <a:buNone/>
            </a:pPr>
            <a:r>
              <a:rPr lang="en-US" sz="1800" dirty="0"/>
              <a:t>VA will move to conduct risk-based reviews on targeted loans rather than full file loan reviews on today’s business rules using tool(s) that provides intuitive guidance for auditing a loan. This will allow VA to:</a:t>
            </a:r>
          </a:p>
        </p:txBody>
      </p:sp>
      <p:sp>
        <p:nvSpPr>
          <p:cNvPr id="3" name="Slide Number Placeholder 2">
            <a:extLst>
              <a:ext uri="{FF2B5EF4-FFF2-40B4-BE49-F238E27FC236}">
                <a16:creationId xmlns:a16="http://schemas.microsoft.com/office/drawing/2014/main" id="{663B100D-8CB2-4DE0-893B-1C5DBF2F26F8}"/>
              </a:ext>
            </a:extLst>
          </p:cNvPr>
          <p:cNvSpPr>
            <a:spLocks noGrp="1"/>
          </p:cNvSpPr>
          <p:nvPr>
            <p:ph type="sldNum" sz="quarter" idx="12"/>
          </p:nvPr>
        </p:nvSpPr>
        <p:spPr/>
        <p:txBody>
          <a:bodyPr/>
          <a:lstStyle/>
          <a:p>
            <a:fld id="{D983F1FA-211D-3044-9E35-958DFBC26156}" type="slidenum">
              <a:rPr lang="en-US">
                <a:solidFill>
                  <a:prstClr val="white"/>
                </a:solidFill>
                <a:latin typeface="Calibri"/>
              </a:rPr>
              <a:pPr/>
              <a:t>12</a:t>
            </a:fld>
            <a:endParaRPr lang="en-US" dirty="0">
              <a:solidFill>
                <a:prstClr val="white"/>
              </a:solidFill>
              <a:latin typeface="Calibri"/>
            </a:endParaRPr>
          </a:p>
        </p:txBody>
      </p:sp>
      <p:sp>
        <p:nvSpPr>
          <p:cNvPr id="4" name="Title 3">
            <a:extLst>
              <a:ext uri="{FF2B5EF4-FFF2-40B4-BE49-F238E27FC236}">
                <a16:creationId xmlns:a16="http://schemas.microsoft.com/office/drawing/2014/main" id="{00B67021-E907-4A94-8D04-03CB3FE85521}"/>
              </a:ext>
            </a:extLst>
          </p:cNvPr>
          <p:cNvSpPr>
            <a:spLocks noGrp="1"/>
          </p:cNvSpPr>
          <p:nvPr>
            <p:ph type="title"/>
          </p:nvPr>
        </p:nvSpPr>
        <p:spPr/>
        <p:txBody>
          <a:bodyPr/>
          <a:lstStyle/>
          <a:p>
            <a:r>
              <a:rPr lang="en-US" dirty="0"/>
              <a:t>Targeted Risk Based Reviews</a:t>
            </a:r>
          </a:p>
        </p:txBody>
      </p:sp>
      <p:sp>
        <p:nvSpPr>
          <p:cNvPr id="20" name="Rectangle 19">
            <a:extLst>
              <a:ext uri="{FF2B5EF4-FFF2-40B4-BE49-F238E27FC236}">
                <a16:creationId xmlns:a16="http://schemas.microsoft.com/office/drawing/2014/main" id="{824B5FB1-0E86-4EEC-9AF6-C6A9F5EB01CF}"/>
              </a:ext>
            </a:extLst>
          </p:cNvPr>
          <p:cNvSpPr/>
          <p:nvPr/>
        </p:nvSpPr>
        <p:spPr>
          <a:xfrm>
            <a:off x="1985352" y="5257801"/>
            <a:ext cx="8221299" cy="646331"/>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lgn="ctr">
              <a:defRPr/>
            </a:pPr>
            <a:r>
              <a:rPr lang="en-US" b="1" dirty="0">
                <a:solidFill>
                  <a:srgbClr val="000000"/>
                </a:solidFill>
                <a:latin typeface="Calibri"/>
              </a:rPr>
              <a:t>Targeted risk reviews will enable proactive participant oversight and ensure program compliance in accordance with established policies, regulations, and guidance</a:t>
            </a:r>
            <a:endParaRPr lang="en-US" b="1" kern="0" dirty="0">
              <a:solidFill>
                <a:srgbClr val="373737"/>
              </a:solidFill>
              <a:latin typeface="Calibri"/>
            </a:endParaRPr>
          </a:p>
        </p:txBody>
      </p:sp>
      <p:grpSp>
        <p:nvGrpSpPr>
          <p:cNvPr id="5" name="Group 4">
            <a:extLst>
              <a:ext uri="{FF2B5EF4-FFF2-40B4-BE49-F238E27FC236}">
                <a16:creationId xmlns:a16="http://schemas.microsoft.com/office/drawing/2014/main" id="{84983943-7EB3-4503-B2D0-E51DD5FB0CCC}"/>
              </a:ext>
            </a:extLst>
          </p:cNvPr>
          <p:cNvGrpSpPr/>
          <p:nvPr/>
        </p:nvGrpSpPr>
        <p:grpSpPr>
          <a:xfrm>
            <a:off x="2438401" y="1951188"/>
            <a:ext cx="7541571" cy="3154213"/>
            <a:chOff x="914400" y="1828800"/>
            <a:chExt cx="7541571" cy="3154213"/>
          </a:xfrm>
        </p:grpSpPr>
        <p:grpSp>
          <p:nvGrpSpPr>
            <p:cNvPr id="45" name="Group 44">
              <a:extLst>
                <a:ext uri="{FF2B5EF4-FFF2-40B4-BE49-F238E27FC236}">
                  <a16:creationId xmlns:a16="http://schemas.microsoft.com/office/drawing/2014/main" id="{482EC2B7-124E-4A3E-9D60-11C27C2E6730}"/>
                </a:ext>
              </a:extLst>
            </p:cNvPr>
            <p:cNvGrpSpPr/>
            <p:nvPr/>
          </p:nvGrpSpPr>
          <p:grpSpPr>
            <a:xfrm>
              <a:off x="914400" y="1828800"/>
              <a:ext cx="7411591" cy="646331"/>
              <a:chOff x="457200" y="1896978"/>
              <a:chExt cx="7411591" cy="646331"/>
            </a:xfrm>
          </p:grpSpPr>
          <p:grpSp>
            <p:nvGrpSpPr>
              <p:cNvPr id="41" name="Group 40">
                <a:extLst>
                  <a:ext uri="{FF2B5EF4-FFF2-40B4-BE49-F238E27FC236}">
                    <a16:creationId xmlns:a16="http://schemas.microsoft.com/office/drawing/2014/main" id="{C3D7AA05-C102-4D4A-AB34-281EA48D10E6}"/>
                  </a:ext>
                </a:extLst>
              </p:cNvPr>
              <p:cNvGrpSpPr/>
              <p:nvPr/>
            </p:nvGrpSpPr>
            <p:grpSpPr>
              <a:xfrm>
                <a:off x="457200" y="1896978"/>
                <a:ext cx="646331" cy="646331"/>
                <a:chOff x="1235563" y="1868481"/>
                <a:chExt cx="646331" cy="646331"/>
              </a:xfrm>
            </p:grpSpPr>
            <p:sp>
              <p:nvSpPr>
                <p:cNvPr id="33" name="Oval 32">
                  <a:extLst>
                    <a:ext uri="{FF2B5EF4-FFF2-40B4-BE49-F238E27FC236}">
                      <a16:creationId xmlns:a16="http://schemas.microsoft.com/office/drawing/2014/main" id="{17ED4613-05FF-466C-B18F-8666278E71F8}"/>
                    </a:ext>
                  </a:extLst>
                </p:cNvPr>
                <p:cNvSpPr/>
                <p:nvPr/>
              </p:nvSpPr>
              <p:spPr>
                <a:xfrm>
                  <a:off x="1235563" y="1868481"/>
                  <a:ext cx="646331" cy="646331"/>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latin typeface="Calibri"/>
                  </a:endParaRPr>
                </a:p>
              </p:txBody>
            </p:sp>
            <p:pic>
              <p:nvPicPr>
                <p:cNvPr id="14" name="Graphic 13" descr="Statistics">
                  <a:extLst>
                    <a:ext uri="{FF2B5EF4-FFF2-40B4-BE49-F238E27FC236}">
                      <a16:creationId xmlns:a16="http://schemas.microsoft.com/office/drawing/2014/main" id="{C4CBCEA5-45C8-40C2-93AD-5102053DA95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18918" y="1951836"/>
                  <a:ext cx="479620" cy="479620"/>
                </a:xfrm>
                <a:prstGeom prst="rect">
                  <a:avLst/>
                </a:prstGeom>
              </p:spPr>
            </p:pic>
          </p:grpSp>
          <p:sp>
            <p:nvSpPr>
              <p:cNvPr id="21" name="Rectangle 20">
                <a:extLst>
                  <a:ext uri="{FF2B5EF4-FFF2-40B4-BE49-F238E27FC236}">
                    <a16:creationId xmlns:a16="http://schemas.microsoft.com/office/drawing/2014/main" id="{6BC2BB0E-63A6-4994-AAC8-CAEE64F45243}"/>
                  </a:ext>
                </a:extLst>
              </p:cNvPr>
              <p:cNvSpPr/>
              <p:nvPr/>
            </p:nvSpPr>
            <p:spPr>
              <a:xfrm>
                <a:off x="1472141" y="2020088"/>
                <a:ext cx="6396650" cy="369332"/>
              </a:xfrm>
              <a:prstGeom prst="rect">
                <a:avLst/>
              </a:prstGeom>
            </p:spPr>
            <p:txBody>
              <a:bodyPr wrap="square">
                <a:spAutoFit/>
              </a:bodyPr>
              <a:lstStyle/>
              <a:p>
                <a:r>
                  <a:rPr lang="en-US" dirty="0">
                    <a:solidFill>
                      <a:srgbClr val="000000"/>
                    </a:solidFill>
                    <a:latin typeface="Calibri"/>
                  </a:rPr>
                  <a:t>Capture final loan files and data</a:t>
                </a:r>
              </a:p>
            </p:txBody>
          </p:sp>
        </p:grpSp>
        <p:grpSp>
          <p:nvGrpSpPr>
            <p:cNvPr id="44" name="Group 43">
              <a:extLst>
                <a:ext uri="{FF2B5EF4-FFF2-40B4-BE49-F238E27FC236}">
                  <a16:creationId xmlns:a16="http://schemas.microsoft.com/office/drawing/2014/main" id="{D7809763-6F90-4D8B-B908-B95357EB12F3}"/>
                </a:ext>
              </a:extLst>
            </p:cNvPr>
            <p:cNvGrpSpPr/>
            <p:nvPr/>
          </p:nvGrpSpPr>
          <p:grpSpPr>
            <a:xfrm>
              <a:off x="914400" y="2664761"/>
              <a:ext cx="7541571" cy="646331"/>
              <a:chOff x="457200" y="2752691"/>
              <a:chExt cx="7541571" cy="646331"/>
            </a:xfrm>
          </p:grpSpPr>
          <p:grpSp>
            <p:nvGrpSpPr>
              <p:cNvPr id="40" name="Group 39">
                <a:extLst>
                  <a:ext uri="{FF2B5EF4-FFF2-40B4-BE49-F238E27FC236}">
                    <a16:creationId xmlns:a16="http://schemas.microsoft.com/office/drawing/2014/main" id="{3FB0A1DF-B3C6-400D-AC61-B6C6AD58FE03}"/>
                  </a:ext>
                </a:extLst>
              </p:cNvPr>
              <p:cNvGrpSpPr/>
              <p:nvPr/>
            </p:nvGrpSpPr>
            <p:grpSpPr>
              <a:xfrm>
                <a:off x="457200" y="2752691"/>
                <a:ext cx="646331" cy="646331"/>
                <a:chOff x="1219082" y="2752691"/>
                <a:chExt cx="646331" cy="646331"/>
              </a:xfrm>
            </p:grpSpPr>
            <p:sp>
              <p:nvSpPr>
                <p:cNvPr id="34" name="Oval 33">
                  <a:extLst>
                    <a:ext uri="{FF2B5EF4-FFF2-40B4-BE49-F238E27FC236}">
                      <a16:creationId xmlns:a16="http://schemas.microsoft.com/office/drawing/2014/main" id="{858BE2A3-386F-4EB1-B9D2-269F0D5864EF}"/>
                    </a:ext>
                  </a:extLst>
                </p:cNvPr>
                <p:cNvSpPr/>
                <p:nvPr/>
              </p:nvSpPr>
              <p:spPr>
                <a:xfrm>
                  <a:off x="1219082" y="2752691"/>
                  <a:ext cx="646331" cy="646331"/>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latin typeface="Calibri"/>
                  </a:endParaRPr>
                </a:p>
              </p:txBody>
            </p:sp>
            <p:pic>
              <p:nvPicPr>
                <p:cNvPr id="16" name="Graphic 15" descr="Research">
                  <a:extLst>
                    <a:ext uri="{FF2B5EF4-FFF2-40B4-BE49-F238E27FC236}">
                      <a16:creationId xmlns:a16="http://schemas.microsoft.com/office/drawing/2014/main" id="{154484F5-9724-46E8-A39F-C93C2D50690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79464" y="2813073"/>
                  <a:ext cx="525567" cy="525567"/>
                </a:xfrm>
                <a:prstGeom prst="rect">
                  <a:avLst/>
                </a:prstGeom>
              </p:spPr>
            </p:pic>
          </p:grpSp>
          <p:sp>
            <p:nvSpPr>
              <p:cNvPr id="22" name="Rectangle 21">
                <a:extLst>
                  <a:ext uri="{FF2B5EF4-FFF2-40B4-BE49-F238E27FC236}">
                    <a16:creationId xmlns:a16="http://schemas.microsoft.com/office/drawing/2014/main" id="{1351408F-3E53-4628-AD00-4BA9D9EF1A12}"/>
                  </a:ext>
                </a:extLst>
              </p:cNvPr>
              <p:cNvSpPr/>
              <p:nvPr/>
            </p:nvSpPr>
            <p:spPr>
              <a:xfrm>
                <a:off x="1472141" y="2875801"/>
                <a:ext cx="6526630" cy="369332"/>
              </a:xfrm>
              <a:prstGeom prst="rect">
                <a:avLst/>
              </a:prstGeom>
            </p:spPr>
            <p:txBody>
              <a:bodyPr wrap="square">
                <a:spAutoFit/>
              </a:bodyPr>
              <a:lstStyle/>
              <a:p>
                <a:r>
                  <a:rPr lang="en-US" dirty="0">
                    <a:solidFill>
                      <a:srgbClr val="000000"/>
                    </a:solidFill>
                    <a:latin typeface="Calibri"/>
                  </a:rPr>
                  <a:t>Validate system-stored loan data against final loan files</a:t>
                </a:r>
              </a:p>
            </p:txBody>
          </p:sp>
        </p:grpSp>
        <p:grpSp>
          <p:nvGrpSpPr>
            <p:cNvPr id="42" name="Group 41">
              <a:extLst>
                <a:ext uri="{FF2B5EF4-FFF2-40B4-BE49-F238E27FC236}">
                  <a16:creationId xmlns:a16="http://schemas.microsoft.com/office/drawing/2014/main" id="{96892C53-761E-48E4-B852-16C6CA8D5851}"/>
                </a:ext>
              </a:extLst>
            </p:cNvPr>
            <p:cNvGrpSpPr/>
            <p:nvPr/>
          </p:nvGrpSpPr>
          <p:grpSpPr>
            <a:xfrm>
              <a:off x="914400" y="4336682"/>
              <a:ext cx="7387250" cy="646331"/>
              <a:chOff x="457200" y="4404860"/>
              <a:chExt cx="7387250" cy="646331"/>
            </a:xfrm>
          </p:grpSpPr>
          <p:grpSp>
            <p:nvGrpSpPr>
              <p:cNvPr id="37" name="Group 36">
                <a:extLst>
                  <a:ext uri="{FF2B5EF4-FFF2-40B4-BE49-F238E27FC236}">
                    <a16:creationId xmlns:a16="http://schemas.microsoft.com/office/drawing/2014/main" id="{EAF2ADEE-4DBF-4B31-A537-C507E7D9ABC2}"/>
                  </a:ext>
                </a:extLst>
              </p:cNvPr>
              <p:cNvGrpSpPr/>
              <p:nvPr/>
            </p:nvGrpSpPr>
            <p:grpSpPr>
              <a:xfrm>
                <a:off x="457200" y="4404860"/>
                <a:ext cx="646331" cy="646331"/>
                <a:chOff x="1169197" y="4404860"/>
                <a:chExt cx="646331" cy="646331"/>
              </a:xfrm>
            </p:grpSpPr>
            <p:sp>
              <p:nvSpPr>
                <p:cNvPr id="36" name="Oval 35">
                  <a:extLst>
                    <a:ext uri="{FF2B5EF4-FFF2-40B4-BE49-F238E27FC236}">
                      <a16:creationId xmlns:a16="http://schemas.microsoft.com/office/drawing/2014/main" id="{BD7353A0-0FD5-45FD-A351-5B5D3AA28A68}"/>
                    </a:ext>
                  </a:extLst>
                </p:cNvPr>
                <p:cNvSpPr/>
                <p:nvPr/>
              </p:nvSpPr>
              <p:spPr>
                <a:xfrm>
                  <a:off x="1169197" y="4404860"/>
                  <a:ext cx="646331" cy="646331"/>
                </a:xfrm>
                <a:prstGeom prst="ellipse">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latin typeface="Calibri"/>
                  </a:endParaRPr>
                </a:p>
              </p:txBody>
            </p:sp>
            <p:pic>
              <p:nvPicPr>
                <p:cNvPr id="18" name="Graphic 17" descr="Target">
                  <a:extLst>
                    <a:ext uri="{FF2B5EF4-FFF2-40B4-BE49-F238E27FC236}">
                      <a16:creationId xmlns:a16="http://schemas.microsoft.com/office/drawing/2014/main" id="{BA4B3C03-DA6A-4845-A080-8BE28CC42D4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72980" y="4508643"/>
                  <a:ext cx="438764" cy="438764"/>
                </a:xfrm>
                <a:prstGeom prst="rect">
                  <a:avLst/>
                </a:prstGeom>
              </p:spPr>
            </p:pic>
          </p:grpSp>
          <p:sp>
            <p:nvSpPr>
              <p:cNvPr id="24" name="Rectangle 23">
                <a:extLst>
                  <a:ext uri="{FF2B5EF4-FFF2-40B4-BE49-F238E27FC236}">
                    <a16:creationId xmlns:a16="http://schemas.microsoft.com/office/drawing/2014/main" id="{4CD7DF23-DB4A-4650-ACB7-0BBB11E52485}"/>
                  </a:ext>
                </a:extLst>
              </p:cNvPr>
              <p:cNvSpPr/>
              <p:nvPr/>
            </p:nvSpPr>
            <p:spPr>
              <a:xfrm>
                <a:off x="1447800" y="4527970"/>
                <a:ext cx="6396650" cy="369332"/>
              </a:xfrm>
              <a:prstGeom prst="rect">
                <a:avLst/>
              </a:prstGeom>
            </p:spPr>
            <p:txBody>
              <a:bodyPr wrap="square">
                <a:spAutoFit/>
              </a:bodyPr>
              <a:lstStyle/>
              <a:p>
                <a:r>
                  <a:rPr lang="en-US">
                    <a:solidFill>
                      <a:srgbClr val="000000"/>
                    </a:solidFill>
                    <a:latin typeface="Calibri"/>
                  </a:rPr>
                  <a:t>Record </a:t>
                </a:r>
                <a:r>
                  <a:rPr lang="en-US" dirty="0">
                    <a:solidFill>
                      <a:srgbClr val="000000"/>
                    </a:solidFill>
                    <a:latin typeface="Calibri"/>
                  </a:rPr>
                  <a:t>audit findings and deficiencies</a:t>
                </a:r>
              </a:p>
            </p:txBody>
          </p:sp>
        </p:grpSp>
        <p:grpSp>
          <p:nvGrpSpPr>
            <p:cNvPr id="43" name="Group 42">
              <a:extLst>
                <a:ext uri="{FF2B5EF4-FFF2-40B4-BE49-F238E27FC236}">
                  <a16:creationId xmlns:a16="http://schemas.microsoft.com/office/drawing/2014/main" id="{3140C818-C6E2-4677-8E0D-160978AFB641}"/>
                </a:ext>
              </a:extLst>
            </p:cNvPr>
            <p:cNvGrpSpPr/>
            <p:nvPr/>
          </p:nvGrpSpPr>
          <p:grpSpPr>
            <a:xfrm>
              <a:off x="914400" y="3500722"/>
              <a:ext cx="7236770" cy="646331"/>
              <a:chOff x="457200" y="3608404"/>
              <a:chExt cx="7236770" cy="646331"/>
            </a:xfrm>
          </p:grpSpPr>
          <p:sp>
            <p:nvSpPr>
              <p:cNvPr id="23" name="Rectangle 22">
                <a:extLst>
                  <a:ext uri="{FF2B5EF4-FFF2-40B4-BE49-F238E27FC236}">
                    <a16:creationId xmlns:a16="http://schemas.microsoft.com/office/drawing/2014/main" id="{A5A72787-002A-4D3F-B368-FCC1F10994D7}"/>
                  </a:ext>
                </a:extLst>
              </p:cNvPr>
              <p:cNvSpPr/>
              <p:nvPr/>
            </p:nvSpPr>
            <p:spPr>
              <a:xfrm>
                <a:off x="1472140" y="3731514"/>
                <a:ext cx="6221830" cy="369332"/>
              </a:xfrm>
              <a:prstGeom prst="rect">
                <a:avLst/>
              </a:prstGeom>
            </p:spPr>
            <p:txBody>
              <a:bodyPr wrap="square">
                <a:spAutoFit/>
              </a:bodyPr>
              <a:lstStyle/>
              <a:p>
                <a:r>
                  <a:rPr lang="en-US" dirty="0">
                    <a:solidFill>
                      <a:srgbClr val="000000"/>
                    </a:solidFill>
                    <a:latin typeface="Calibri"/>
                  </a:rPr>
                  <a:t>Assess data integrity and lender compliance</a:t>
                </a:r>
              </a:p>
            </p:txBody>
          </p:sp>
          <p:grpSp>
            <p:nvGrpSpPr>
              <p:cNvPr id="39" name="Group 38">
                <a:extLst>
                  <a:ext uri="{FF2B5EF4-FFF2-40B4-BE49-F238E27FC236}">
                    <a16:creationId xmlns:a16="http://schemas.microsoft.com/office/drawing/2014/main" id="{FBE2A2C9-CBB5-4A4D-AA2A-CF0E3A167007}"/>
                  </a:ext>
                </a:extLst>
              </p:cNvPr>
              <p:cNvGrpSpPr/>
              <p:nvPr/>
            </p:nvGrpSpPr>
            <p:grpSpPr>
              <a:xfrm>
                <a:off x="457200" y="3608404"/>
                <a:ext cx="646331" cy="646331"/>
                <a:chOff x="1189623" y="3608404"/>
                <a:chExt cx="646331" cy="646331"/>
              </a:xfrm>
            </p:grpSpPr>
            <p:sp>
              <p:nvSpPr>
                <p:cNvPr id="35" name="Oval 34">
                  <a:extLst>
                    <a:ext uri="{FF2B5EF4-FFF2-40B4-BE49-F238E27FC236}">
                      <a16:creationId xmlns:a16="http://schemas.microsoft.com/office/drawing/2014/main" id="{5899144B-7FD6-4438-861C-469AB80C5153}"/>
                    </a:ext>
                  </a:extLst>
                </p:cNvPr>
                <p:cNvSpPr/>
                <p:nvPr/>
              </p:nvSpPr>
              <p:spPr>
                <a:xfrm>
                  <a:off x="1189623" y="3608404"/>
                  <a:ext cx="646331" cy="646331"/>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prstClr val="white"/>
                    </a:solidFill>
                    <a:latin typeface="Calibri"/>
                  </a:endParaRPr>
                </a:p>
              </p:txBody>
            </p:sp>
            <p:pic>
              <p:nvPicPr>
                <p:cNvPr id="27" name="Graphic 26" descr="Scales of justice">
                  <a:extLst>
                    <a:ext uri="{FF2B5EF4-FFF2-40B4-BE49-F238E27FC236}">
                      <a16:creationId xmlns:a16="http://schemas.microsoft.com/office/drawing/2014/main" id="{64AA1132-2A9B-4C7C-81A8-7EBAECDA968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2979" y="3691760"/>
                  <a:ext cx="479619" cy="479619"/>
                </a:xfrm>
                <a:prstGeom prst="rect">
                  <a:avLst/>
                </a:prstGeom>
              </p:spPr>
            </p:pic>
          </p:grpSp>
        </p:grpSp>
      </p:grpSp>
      <p:pic>
        <p:nvPicPr>
          <p:cNvPr id="26" name="Picture 2" descr="C:\Users\vacoGrovem\AppData\Local\Microsoft\Windows\Temporary Internet Files\Content.Outlook\83QVOJUE\CHOOSE-VA-rev.png">
            <a:extLst>
              <a:ext uri="{FF2B5EF4-FFF2-40B4-BE49-F238E27FC236}">
                <a16:creationId xmlns:a16="http://schemas.microsoft.com/office/drawing/2014/main" id="{A567F700-73C2-45B4-A4F7-01A02F47214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4205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45BE3B-DABD-43DC-81D2-AA39B276FA70}"/>
              </a:ext>
            </a:extLst>
          </p:cNvPr>
          <p:cNvSpPr>
            <a:spLocks noGrp="1"/>
          </p:cNvSpPr>
          <p:nvPr>
            <p:ph idx="1"/>
          </p:nvPr>
        </p:nvSpPr>
        <p:spPr>
          <a:xfrm>
            <a:off x="1981200" y="838202"/>
            <a:ext cx="8229600" cy="1142999"/>
          </a:xfrm>
        </p:spPr>
        <p:txBody>
          <a:bodyPr>
            <a:normAutofit lnSpcReduction="10000"/>
          </a:bodyPr>
          <a:lstStyle/>
          <a:p>
            <a:pPr marL="0" indent="0">
              <a:buNone/>
            </a:pPr>
            <a:r>
              <a:rPr lang="en-US" sz="1800" dirty="0"/>
              <a:t>VALERI will collect data on lenders management of loan origination, valuation, and performance. This data will be aggregated and reported through business intelligence tools which include, but are not limited to Einstein Analytics, Tableau, Google Analytics to support:</a:t>
            </a:r>
          </a:p>
        </p:txBody>
      </p:sp>
      <p:sp>
        <p:nvSpPr>
          <p:cNvPr id="3" name="Slide Number Placeholder 2">
            <a:extLst>
              <a:ext uri="{FF2B5EF4-FFF2-40B4-BE49-F238E27FC236}">
                <a16:creationId xmlns:a16="http://schemas.microsoft.com/office/drawing/2014/main" id="{663B100D-8CB2-4DE0-893B-1C5DBF2F26F8}"/>
              </a:ext>
            </a:extLst>
          </p:cNvPr>
          <p:cNvSpPr>
            <a:spLocks noGrp="1"/>
          </p:cNvSpPr>
          <p:nvPr>
            <p:ph type="sldNum" sz="quarter" idx="12"/>
          </p:nvPr>
        </p:nvSpPr>
        <p:spPr/>
        <p:txBody>
          <a:bodyPr/>
          <a:lstStyle/>
          <a:p>
            <a:fld id="{D983F1FA-211D-3044-9E35-958DFBC26156}" type="slidenum">
              <a:rPr lang="en-US">
                <a:solidFill>
                  <a:prstClr val="white"/>
                </a:solidFill>
                <a:latin typeface="Calibri"/>
              </a:rPr>
              <a:pPr/>
              <a:t>13</a:t>
            </a:fld>
            <a:endParaRPr lang="en-US" dirty="0">
              <a:solidFill>
                <a:prstClr val="white"/>
              </a:solidFill>
              <a:latin typeface="Calibri"/>
            </a:endParaRPr>
          </a:p>
        </p:txBody>
      </p:sp>
      <p:sp>
        <p:nvSpPr>
          <p:cNvPr id="4" name="Title 3">
            <a:extLst>
              <a:ext uri="{FF2B5EF4-FFF2-40B4-BE49-F238E27FC236}">
                <a16:creationId xmlns:a16="http://schemas.microsoft.com/office/drawing/2014/main" id="{00B67021-E907-4A94-8D04-03CB3FE85521}"/>
              </a:ext>
            </a:extLst>
          </p:cNvPr>
          <p:cNvSpPr>
            <a:spLocks noGrp="1"/>
          </p:cNvSpPr>
          <p:nvPr>
            <p:ph type="title"/>
          </p:nvPr>
        </p:nvSpPr>
        <p:spPr/>
        <p:txBody>
          <a:bodyPr/>
          <a:lstStyle/>
          <a:p>
            <a:r>
              <a:rPr lang="en-US" dirty="0"/>
              <a:t>Scorecard, Analytics, and Dashboard Functionality</a:t>
            </a:r>
          </a:p>
        </p:txBody>
      </p:sp>
      <p:pic>
        <p:nvPicPr>
          <p:cNvPr id="5" name="Picture 2" descr="C:\Users\vacoGrovem\AppData\Local\Microsoft\Windows\Temporary Internet Files\Content.Outlook\83QVOJUE\CHOOSE-VA-rev.png">
            <a:extLst>
              <a:ext uri="{FF2B5EF4-FFF2-40B4-BE49-F238E27FC236}">
                <a16:creationId xmlns:a16="http://schemas.microsoft.com/office/drawing/2014/main" id="{430A65B6-98C8-4B89-8048-F7A4AF730BE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E21E9B94-B6F6-430A-AF82-07FCD2435786}"/>
              </a:ext>
            </a:extLst>
          </p:cNvPr>
          <p:cNvSpPr/>
          <p:nvPr/>
        </p:nvSpPr>
        <p:spPr>
          <a:xfrm>
            <a:off x="1985352" y="5257801"/>
            <a:ext cx="8221299" cy="646331"/>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lgn="ctr">
              <a:defRPr/>
            </a:pPr>
            <a:r>
              <a:rPr lang="en-US" b="1" kern="0" dirty="0">
                <a:solidFill>
                  <a:srgbClr val="373737"/>
                </a:solidFill>
                <a:latin typeface="Calibri"/>
              </a:rPr>
              <a:t>Advanced analytic functionality will help Veterans better identify loans that meet their needs</a:t>
            </a:r>
          </a:p>
        </p:txBody>
      </p:sp>
      <p:sp>
        <p:nvSpPr>
          <p:cNvPr id="63" name="Rounded Rectangle 240">
            <a:extLst>
              <a:ext uri="{FF2B5EF4-FFF2-40B4-BE49-F238E27FC236}">
                <a16:creationId xmlns:a16="http://schemas.microsoft.com/office/drawing/2014/main" id="{C5372076-3E88-4C81-8C15-FF43F4F2EE4E}"/>
              </a:ext>
            </a:extLst>
          </p:cNvPr>
          <p:cNvSpPr/>
          <p:nvPr/>
        </p:nvSpPr>
        <p:spPr bwMode="gray">
          <a:xfrm rot="19507311">
            <a:off x="3198682" y="2285249"/>
            <a:ext cx="459493" cy="655342"/>
          </a:xfrm>
          <a:prstGeom prst="roundRect">
            <a:avLst>
              <a:gd name="adj" fmla="val 24011"/>
            </a:avLst>
          </a:prstGeom>
          <a:solidFill>
            <a:srgbClr val="FFFFFF"/>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95" name="Group 294">
            <a:extLst>
              <a:ext uri="{FF2B5EF4-FFF2-40B4-BE49-F238E27FC236}">
                <a16:creationId xmlns:a16="http://schemas.microsoft.com/office/drawing/2014/main" id="{CC2ADA03-C5C5-4B72-947F-AC5834D30EB2}"/>
              </a:ext>
            </a:extLst>
          </p:cNvPr>
          <p:cNvGrpSpPr/>
          <p:nvPr/>
        </p:nvGrpSpPr>
        <p:grpSpPr>
          <a:xfrm>
            <a:off x="2314640" y="2057400"/>
            <a:ext cx="2028761" cy="1257420"/>
            <a:chOff x="569232" y="2133601"/>
            <a:chExt cx="2028761" cy="1257420"/>
          </a:xfrm>
        </p:grpSpPr>
        <p:grpSp>
          <p:nvGrpSpPr>
            <p:cNvPr id="294" name="Group 293">
              <a:extLst>
                <a:ext uri="{FF2B5EF4-FFF2-40B4-BE49-F238E27FC236}">
                  <a16:creationId xmlns:a16="http://schemas.microsoft.com/office/drawing/2014/main" id="{A076A820-32ED-4FEF-BA6A-C00CD062157A}"/>
                </a:ext>
              </a:extLst>
            </p:cNvPr>
            <p:cNvGrpSpPr/>
            <p:nvPr/>
          </p:nvGrpSpPr>
          <p:grpSpPr>
            <a:xfrm>
              <a:off x="1153563" y="2133601"/>
              <a:ext cx="860098" cy="855211"/>
              <a:chOff x="1254458" y="2133601"/>
              <a:chExt cx="860098" cy="855211"/>
            </a:xfrm>
          </p:grpSpPr>
          <p:sp>
            <p:nvSpPr>
              <p:cNvPr id="65" name="Rounded Rectangle 242">
                <a:extLst>
                  <a:ext uri="{FF2B5EF4-FFF2-40B4-BE49-F238E27FC236}">
                    <a16:creationId xmlns:a16="http://schemas.microsoft.com/office/drawing/2014/main" id="{CCC7A09E-C171-408E-828B-5ECAB87A361C}"/>
                  </a:ext>
                </a:extLst>
              </p:cNvPr>
              <p:cNvSpPr/>
              <p:nvPr/>
            </p:nvSpPr>
            <p:spPr bwMode="gray">
              <a:xfrm rot="19507311">
                <a:off x="1694299" y="2389430"/>
                <a:ext cx="420257" cy="599382"/>
              </a:xfrm>
              <a:prstGeom prst="roundRect">
                <a:avLst>
                  <a:gd name="adj" fmla="val 24011"/>
                </a:avLst>
              </a:prstGeom>
              <a:solidFill>
                <a:schemeClr val="bg1"/>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66" name="Rounded Rectangle 243">
                <a:extLst>
                  <a:ext uri="{FF2B5EF4-FFF2-40B4-BE49-F238E27FC236}">
                    <a16:creationId xmlns:a16="http://schemas.microsoft.com/office/drawing/2014/main" id="{14EB011F-85C9-40C8-9B11-7D42DA51E351}"/>
                  </a:ext>
                </a:extLst>
              </p:cNvPr>
              <p:cNvSpPr/>
              <p:nvPr/>
            </p:nvSpPr>
            <p:spPr bwMode="gray">
              <a:xfrm rot="19507311">
                <a:off x="1713528" y="2408658"/>
                <a:ext cx="381799" cy="560925"/>
              </a:xfrm>
              <a:prstGeom prst="roundRect">
                <a:avLst>
                  <a:gd name="adj" fmla="val 23545"/>
                </a:avLst>
              </a:prstGeom>
              <a:solidFill>
                <a:schemeClr val="accent5"/>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68" name="Rounded Rectangle 245">
                <a:extLst>
                  <a:ext uri="{FF2B5EF4-FFF2-40B4-BE49-F238E27FC236}">
                    <a16:creationId xmlns:a16="http://schemas.microsoft.com/office/drawing/2014/main" id="{6025ED7E-E5A4-417F-8BBB-88E13537BE19}"/>
                  </a:ext>
                </a:extLst>
              </p:cNvPr>
              <p:cNvSpPr/>
              <p:nvPr/>
            </p:nvSpPr>
            <p:spPr bwMode="gray">
              <a:xfrm rot="14107311">
                <a:off x="1759459" y="2813684"/>
                <a:ext cx="254797" cy="37019"/>
              </a:xfrm>
              <a:prstGeom prst="roundRect">
                <a:avLst>
                  <a:gd name="adj" fmla="val 29777"/>
                </a:avLst>
              </a:prstGeom>
              <a:solidFill>
                <a:schemeClr val="bg1"/>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69" name="Rounded Rectangle 246">
                <a:extLst>
                  <a:ext uri="{FF2B5EF4-FFF2-40B4-BE49-F238E27FC236}">
                    <a16:creationId xmlns:a16="http://schemas.microsoft.com/office/drawing/2014/main" id="{E171F57B-8A6D-4A74-BFC0-ABE08FCD5DD3}"/>
                  </a:ext>
                </a:extLst>
              </p:cNvPr>
              <p:cNvSpPr/>
              <p:nvPr/>
            </p:nvSpPr>
            <p:spPr bwMode="gray">
              <a:xfrm rot="14107311">
                <a:off x="1882200" y="2780885"/>
                <a:ext cx="199029" cy="38358"/>
              </a:xfrm>
              <a:prstGeom prst="roundRect">
                <a:avLst>
                  <a:gd name="adj" fmla="val 29777"/>
                </a:avLst>
              </a:prstGeom>
              <a:solidFill>
                <a:schemeClr val="bg1"/>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70" name="Rounded Rectangle 247">
                <a:extLst>
                  <a:ext uri="{FF2B5EF4-FFF2-40B4-BE49-F238E27FC236}">
                    <a16:creationId xmlns:a16="http://schemas.microsoft.com/office/drawing/2014/main" id="{E95D7A56-128B-4619-A4CA-75CD31888A8B}"/>
                  </a:ext>
                </a:extLst>
              </p:cNvPr>
              <p:cNvSpPr/>
              <p:nvPr/>
            </p:nvSpPr>
            <p:spPr bwMode="gray">
              <a:xfrm rot="14107311">
                <a:off x="1917283" y="2703673"/>
                <a:ext cx="254797" cy="37019"/>
              </a:xfrm>
              <a:prstGeom prst="roundRect">
                <a:avLst>
                  <a:gd name="adj" fmla="val 29777"/>
                </a:avLst>
              </a:prstGeom>
              <a:solidFill>
                <a:schemeClr val="bg1"/>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1" name="Oval 10">
                <a:extLst>
                  <a:ext uri="{FF2B5EF4-FFF2-40B4-BE49-F238E27FC236}">
                    <a16:creationId xmlns:a16="http://schemas.microsoft.com/office/drawing/2014/main" id="{0948494D-61E4-4C33-8639-A0ADCFA6C9A1}"/>
                  </a:ext>
                </a:extLst>
              </p:cNvPr>
              <p:cNvSpPr/>
              <p:nvPr/>
            </p:nvSpPr>
            <p:spPr bwMode="gray">
              <a:xfrm>
                <a:off x="1413279" y="2326721"/>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2" name="Oval 11">
                <a:extLst>
                  <a:ext uri="{FF2B5EF4-FFF2-40B4-BE49-F238E27FC236}">
                    <a16:creationId xmlns:a16="http://schemas.microsoft.com/office/drawing/2014/main" id="{56205352-69C8-45F9-BC1A-FCF94EADDBB3}"/>
                  </a:ext>
                </a:extLst>
              </p:cNvPr>
              <p:cNvSpPr/>
              <p:nvPr/>
            </p:nvSpPr>
            <p:spPr bwMode="gray">
              <a:xfrm>
                <a:off x="1412364" y="2274731"/>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3" name="Oval 12">
                <a:extLst>
                  <a:ext uri="{FF2B5EF4-FFF2-40B4-BE49-F238E27FC236}">
                    <a16:creationId xmlns:a16="http://schemas.microsoft.com/office/drawing/2014/main" id="{D4800391-965A-4F48-9F7A-F473EE319DE4}"/>
                  </a:ext>
                </a:extLst>
              </p:cNvPr>
              <p:cNvSpPr/>
              <p:nvPr/>
            </p:nvSpPr>
            <p:spPr bwMode="gray">
              <a:xfrm>
                <a:off x="1425515" y="2223434"/>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4" name="Oval 13">
                <a:extLst>
                  <a:ext uri="{FF2B5EF4-FFF2-40B4-BE49-F238E27FC236}">
                    <a16:creationId xmlns:a16="http://schemas.microsoft.com/office/drawing/2014/main" id="{CE270B76-B87E-48BD-B4C0-33F1AA8CFB34}"/>
                  </a:ext>
                </a:extLst>
              </p:cNvPr>
              <p:cNvSpPr/>
              <p:nvPr/>
            </p:nvSpPr>
            <p:spPr bwMode="gray">
              <a:xfrm>
                <a:off x="1449225" y="2188222"/>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5" name="Oval 14">
                <a:extLst>
                  <a:ext uri="{FF2B5EF4-FFF2-40B4-BE49-F238E27FC236}">
                    <a16:creationId xmlns:a16="http://schemas.microsoft.com/office/drawing/2014/main" id="{14FA4DAC-6B88-4273-AB78-8CAD7A35A3DF}"/>
                  </a:ext>
                </a:extLst>
              </p:cNvPr>
              <p:cNvSpPr/>
              <p:nvPr/>
            </p:nvSpPr>
            <p:spPr bwMode="gray">
              <a:xfrm>
                <a:off x="1488000" y="2159658"/>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 name="Oval 15">
                <a:extLst>
                  <a:ext uri="{FF2B5EF4-FFF2-40B4-BE49-F238E27FC236}">
                    <a16:creationId xmlns:a16="http://schemas.microsoft.com/office/drawing/2014/main" id="{677603DC-D6F8-4153-9541-E53EAF3F3FA4}"/>
                  </a:ext>
                </a:extLst>
              </p:cNvPr>
              <p:cNvSpPr/>
              <p:nvPr/>
            </p:nvSpPr>
            <p:spPr bwMode="gray">
              <a:xfrm>
                <a:off x="1532034" y="2138861"/>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 name="Oval 16">
                <a:extLst>
                  <a:ext uri="{FF2B5EF4-FFF2-40B4-BE49-F238E27FC236}">
                    <a16:creationId xmlns:a16="http://schemas.microsoft.com/office/drawing/2014/main" id="{E8739901-8E48-4888-8B19-7FE7ACD4CD92}"/>
                  </a:ext>
                </a:extLst>
              </p:cNvPr>
              <p:cNvSpPr/>
              <p:nvPr/>
            </p:nvSpPr>
            <p:spPr bwMode="gray">
              <a:xfrm>
                <a:off x="1574012" y="2133601"/>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8" name="Oval 17">
                <a:extLst>
                  <a:ext uri="{FF2B5EF4-FFF2-40B4-BE49-F238E27FC236}">
                    <a16:creationId xmlns:a16="http://schemas.microsoft.com/office/drawing/2014/main" id="{A809B33C-8AF9-49E2-B53C-C62EB9051548}"/>
                  </a:ext>
                </a:extLst>
              </p:cNvPr>
              <p:cNvSpPr/>
              <p:nvPr/>
            </p:nvSpPr>
            <p:spPr bwMode="gray">
              <a:xfrm>
                <a:off x="1619724" y="2134975"/>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 name="Oval 18">
                <a:extLst>
                  <a:ext uri="{FF2B5EF4-FFF2-40B4-BE49-F238E27FC236}">
                    <a16:creationId xmlns:a16="http://schemas.microsoft.com/office/drawing/2014/main" id="{B5623F79-FA12-48DB-9773-5029961326A4}"/>
                  </a:ext>
                </a:extLst>
              </p:cNvPr>
              <p:cNvSpPr/>
              <p:nvPr/>
            </p:nvSpPr>
            <p:spPr bwMode="gray">
              <a:xfrm>
                <a:off x="1667592" y="2145791"/>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 name="Oval 19">
                <a:extLst>
                  <a:ext uri="{FF2B5EF4-FFF2-40B4-BE49-F238E27FC236}">
                    <a16:creationId xmlns:a16="http://schemas.microsoft.com/office/drawing/2014/main" id="{16E194DF-04A2-42BC-8359-A0B20FA27BFC}"/>
                  </a:ext>
                </a:extLst>
              </p:cNvPr>
              <p:cNvSpPr/>
              <p:nvPr/>
            </p:nvSpPr>
            <p:spPr bwMode="gray">
              <a:xfrm>
                <a:off x="1709718" y="2160152"/>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1" name="Oval 20">
                <a:extLst>
                  <a:ext uri="{FF2B5EF4-FFF2-40B4-BE49-F238E27FC236}">
                    <a16:creationId xmlns:a16="http://schemas.microsoft.com/office/drawing/2014/main" id="{5AFB4468-95B5-4303-ACEA-D6D316030AF9}"/>
                  </a:ext>
                </a:extLst>
              </p:cNvPr>
              <p:cNvSpPr/>
              <p:nvPr/>
            </p:nvSpPr>
            <p:spPr bwMode="gray">
              <a:xfrm>
                <a:off x="1751988" y="2181001"/>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2" name="Oval 21">
                <a:extLst>
                  <a:ext uri="{FF2B5EF4-FFF2-40B4-BE49-F238E27FC236}">
                    <a16:creationId xmlns:a16="http://schemas.microsoft.com/office/drawing/2014/main" id="{098746F9-873E-4710-9B82-BE2D5453DAF5}"/>
                  </a:ext>
                </a:extLst>
              </p:cNvPr>
              <p:cNvSpPr/>
              <p:nvPr/>
            </p:nvSpPr>
            <p:spPr bwMode="gray">
              <a:xfrm>
                <a:off x="1788851" y="2207777"/>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3" name="Oval 22">
                <a:extLst>
                  <a:ext uri="{FF2B5EF4-FFF2-40B4-BE49-F238E27FC236}">
                    <a16:creationId xmlns:a16="http://schemas.microsoft.com/office/drawing/2014/main" id="{BAF83B00-687A-4B1D-ABC4-0F3F2190163F}"/>
                  </a:ext>
                </a:extLst>
              </p:cNvPr>
              <p:cNvSpPr/>
              <p:nvPr/>
            </p:nvSpPr>
            <p:spPr bwMode="gray">
              <a:xfrm>
                <a:off x="1823717" y="2232549"/>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4" name="Oval 23">
                <a:extLst>
                  <a:ext uri="{FF2B5EF4-FFF2-40B4-BE49-F238E27FC236}">
                    <a16:creationId xmlns:a16="http://schemas.microsoft.com/office/drawing/2014/main" id="{4681DF9A-6746-498C-A96A-B4AAEB98C993}"/>
                  </a:ext>
                </a:extLst>
              </p:cNvPr>
              <p:cNvSpPr/>
              <p:nvPr/>
            </p:nvSpPr>
            <p:spPr bwMode="gray">
              <a:xfrm>
                <a:off x="1860580" y="2266615"/>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5" name="Oval 24">
                <a:extLst>
                  <a:ext uri="{FF2B5EF4-FFF2-40B4-BE49-F238E27FC236}">
                    <a16:creationId xmlns:a16="http://schemas.microsoft.com/office/drawing/2014/main" id="{A95175A4-EBD3-4BD4-9813-ABA4DD242390}"/>
                  </a:ext>
                </a:extLst>
              </p:cNvPr>
              <p:cNvSpPr/>
              <p:nvPr/>
            </p:nvSpPr>
            <p:spPr bwMode="gray">
              <a:xfrm>
                <a:off x="1900280" y="2287089"/>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6" name="Oval 25">
                <a:extLst>
                  <a:ext uri="{FF2B5EF4-FFF2-40B4-BE49-F238E27FC236}">
                    <a16:creationId xmlns:a16="http://schemas.microsoft.com/office/drawing/2014/main" id="{BB48B8B4-4BF1-40BE-AEC0-D02ED08F3EA6}"/>
                  </a:ext>
                </a:extLst>
              </p:cNvPr>
              <p:cNvSpPr/>
              <p:nvPr/>
            </p:nvSpPr>
            <p:spPr bwMode="gray">
              <a:xfrm>
                <a:off x="1943369" y="2302692"/>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7" name="Oval 26">
                <a:extLst>
                  <a:ext uri="{FF2B5EF4-FFF2-40B4-BE49-F238E27FC236}">
                    <a16:creationId xmlns:a16="http://schemas.microsoft.com/office/drawing/2014/main" id="{9934559E-44D0-4713-A8EF-806A0F062381}"/>
                  </a:ext>
                </a:extLst>
              </p:cNvPr>
              <p:cNvSpPr/>
              <p:nvPr/>
            </p:nvSpPr>
            <p:spPr bwMode="gray">
              <a:xfrm>
                <a:off x="1985061" y="2320720"/>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8" name="Oval 27">
                <a:extLst>
                  <a:ext uri="{FF2B5EF4-FFF2-40B4-BE49-F238E27FC236}">
                    <a16:creationId xmlns:a16="http://schemas.microsoft.com/office/drawing/2014/main" id="{EC8FD857-8149-48E8-BFAF-22546A9089CF}"/>
                  </a:ext>
                </a:extLst>
              </p:cNvPr>
              <p:cNvSpPr/>
              <p:nvPr/>
            </p:nvSpPr>
            <p:spPr bwMode="gray">
              <a:xfrm>
                <a:off x="2017475" y="2350022"/>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9" name="Oval 28">
                <a:extLst>
                  <a:ext uri="{FF2B5EF4-FFF2-40B4-BE49-F238E27FC236}">
                    <a16:creationId xmlns:a16="http://schemas.microsoft.com/office/drawing/2014/main" id="{7D073E43-4798-4F94-8DE8-9FFECB6F8BFF}"/>
                  </a:ext>
                </a:extLst>
              </p:cNvPr>
              <p:cNvSpPr/>
              <p:nvPr/>
            </p:nvSpPr>
            <p:spPr bwMode="gray">
              <a:xfrm>
                <a:off x="2030343" y="2397150"/>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61" name="Oval 60">
                <a:extLst>
                  <a:ext uri="{FF2B5EF4-FFF2-40B4-BE49-F238E27FC236}">
                    <a16:creationId xmlns:a16="http://schemas.microsoft.com/office/drawing/2014/main" id="{DE43A34A-FAC3-40E4-BA2B-32EF2B5BD19F}"/>
                  </a:ext>
                </a:extLst>
              </p:cNvPr>
              <p:cNvSpPr/>
              <p:nvPr/>
            </p:nvSpPr>
            <p:spPr bwMode="gray">
              <a:xfrm>
                <a:off x="1424810" y="2359496"/>
                <a:ext cx="48797" cy="48297"/>
              </a:xfrm>
              <a:prstGeom prst="ellipse">
                <a:avLst/>
              </a:prstGeom>
              <a:solidFill>
                <a:schemeClr val="bg1"/>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62" name="Oval 61">
                <a:extLst>
                  <a:ext uri="{FF2B5EF4-FFF2-40B4-BE49-F238E27FC236}">
                    <a16:creationId xmlns:a16="http://schemas.microsoft.com/office/drawing/2014/main" id="{7363873A-06AE-42EC-9A87-6E3BC56C6703}"/>
                  </a:ext>
                </a:extLst>
              </p:cNvPr>
              <p:cNvSpPr/>
              <p:nvPr/>
            </p:nvSpPr>
            <p:spPr bwMode="gray">
              <a:xfrm>
                <a:off x="1430780" y="2365401"/>
                <a:ext cx="36862" cy="36485"/>
              </a:xfrm>
              <a:prstGeom prst="ellipse">
                <a:avLst/>
              </a:prstGeom>
              <a:solidFill>
                <a:schemeClr val="accent5"/>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53" name="Rounded Rectangle 230">
                <a:extLst>
                  <a:ext uri="{FF2B5EF4-FFF2-40B4-BE49-F238E27FC236}">
                    <a16:creationId xmlns:a16="http://schemas.microsoft.com/office/drawing/2014/main" id="{DDF56ADD-5AD9-49F0-86FA-A3B23C64FE50}"/>
                  </a:ext>
                </a:extLst>
              </p:cNvPr>
              <p:cNvSpPr/>
              <p:nvPr/>
            </p:nvSpPr>
            <p:spPr bwMode="gray">
              <a:xfrm rot="2700000">
                <a:off x="1347388" y="2324243"/>
                <a:ext cx="436058" cy="621918"/>
              </a:xfrm>
              <a:prstGeom prst="roundRect">
                <a:avLst>
                  <a:gd name="adj" fmla="val 24011"/>
                </a:avLst>
              </a:prstGeom>
              <a:solidFill>
                <a:srgbClr val="FFFFFF"/>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55" name="Rounded Rectangle 232">
                <a:extLst>
                  <a:ext uri="{FF2B5EF4-FFF2-40B4-BE49-F238E27FC236}">
                    <a16:creationId xmlns:a16="http://schemas.microsoft.com/office/drawing/2014/main" id="{8F2F2C4E-FE90-42DB-89CF-0CF2871AFB1E}"/>
                  </a:ext>
                </a:extLst>
              </p:cNvPr>
              <p:cNvSpPr/>
              <p:nvPr/>
            </p:nvSpPr>
            <p:spPr bwMode="gray">
              <a:xfrm rot="2700000">
                <a:off x="1375392" y="2331980"/>
                <a:ext cx="420257" cy="599382"/>
              </a:xfrm>
              <a:prstGeom prst="roundRect">
                <a:avLst>
                  <a:gd name="adj" fmla="val 24011"/>
                </a:avLst>
              </a:prstGeom>
              <a:solidFill>
                <a:schemeClr val="bg1"/>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56" name="Rounded Rectangle 233">
                <a:extLst>
                  <a:ext uri="{FF2B5EF4-FFF2-40B4-BE49-F238E27FC236}">
                    <a16:creationId xmlns:a16="http://schemas.microsoft.com/office/drawing/2014/main" id="{3BCF2EB8-2D1B-439F-8F6D-C5D09C5F7B17}"/>
                  </a:ext>
                </a:extLst>
              </p:cNvPr>
              <p:cNvSpPr/>
              <p:nvPr/>
            </p:nvSpPr>
            <p:spPr bwMode="gray">
              <a:xfrm rot="2700000">
                <a:off x="1394620" y="2351208"/>
                <a:ext cx="381799" cy="560925"/>
              </a:xfrm>
              <a:prstGeom prst="roundRect">
                <a:avLst>
                  <a:gd name="adj" fmla="val 23545"/>
                </a:avLst>
              </a:prstGeom>
              <a:solidFill>
                <a:schemeClr val="accent5"/>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58" name="Rounded Rectangle 235">
                <a:extLst>
                  <a:ext uri="{FF2B5EF4-FFF2-40B4-BE49-F238E27FC236}">
                    <a16:creationId xmlns:a16="http://schemas.microsoft.com/office/drawing/2014/main" id="{0406500A-C0D0-4568-A415-C50C5594B3D1}"/>
                  </a:ext>
                </a:extLst>
              </p:cNvPr>
              <p:cNvSpPr/>
              <p:nvPr/>
            </p:nvSpPr>
            <p:spPr bwMode="gray">
              <a:xfrm rot="18900000">
                <a:off x="1332652" y="2608924"/>
                <a:ext cx="254797" cy="37019"/>
              </a:xfrm>
              <a:prstGeom prst="roundRect">
                <a:avLst>
                  <a:gd name="adj" fmla="val 29777"/>
                </a:avLst>
              </a:prstGeom>
              <a:solidFill>
                <a:schemeClr val="bg1"/>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59" name="Rounded Rectangle 236">
                <a:extLst>
                  <a:ext uri="{FF2B5EF4-FFF2-40B4-BE49-F238E27FC236}">
                    <a16:creationId xmlns:a16="http://schemas.microsoft.com/office/drawing/2014/main" id="{E89C1A59-E406-4637-B274-4A899E5AF474}"/>
                  </a:ext>
                </a:extLst>
              </p:cNvPr>
              <p:cNvSpPr/>
              <p:nvPr/>
            </p:nvSpPr>
            <p:spPr bwMode="gray">
              <a:xfrm rot="18900000">
                <a:off x="1408836" y="2695988"/>
                <a:ext cx="199029" cy="38358"/>
              </a:xfrm>
              <a:prstGeom prst="roundRect">
                <a:avLst>
                  <a:gd name="adj" fmla="val 29777"/>
                </a:avLst>
              </a:prstGeom>
              <a:solidFill>
                <a:schemeClr val="bg1"/>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60" name="Rounded Rectangle 237">
                <a:extLst>
                  <a:ext uri="{FF2B5EF4-FFF2-40B4-BE49-F238E27FC236}">
                    <a16:creationId xmlns:a16="http://schemas.microsoft.com/office/drawing/2014/main" id="{DF953ABB-0F7C-4BAE-B373-F2ECDB466E07}"/>
                  </a:ext>
                </a:extLst>
              </p:cNvPr>
              <p:cNvSpPr/>
              <p:nvPr/>
            </p:nvSpPr>
            <p:spPr bwMode="gray">
              <a:xfrm rot="18900000">
                <a:off x="1468687" y="2744958"/>
                <a:ext cx="254797" cy="37019"/>
              </a:xfrm>
              <a:prstGeom prst="roundRect">
                <a:avLst>
                  <a:gd name="adj" fmla="val 29777"/>
                </a:avLst>
              </a:prstGeom>
              <a:solidFill>
                <a:schemeClr val="bg1"/>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51" name="Oval 50">
                <a:extLst>
                  <a:ext uri="{FF2B5EF4-FFF2-40B4-BE49-F238E27FC236}">
                    <a16:creationId xmlns:a16="http://schemas.microsoft.com/office/drawing/2014/main" id="{31392AAD-7889-423D-A8D3-FAD631AB6FE9}"/>
                  </a:ext>
                </a:extLst>
              </p:cNvPr>
              <p:cNvSpPr/>
              <p:nvPr/>
            </p:nvSpPr>
            <p:spPr bwMode="gray">
              <a:xfrm>
                <a:off x="1684431" y="2456254"/>
                <a:ext cx="76943" cy="76156"/>
              </a:xfrm>
              <a:prstGeom prst="ellipse">
                <a:avLst/>
              </a:prstGeom>
              <a:solidFill>
                <a:schemeClr val="bg1"/>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52" name="Oval 51">
                <a:extLst>
                  <a:ext uri="{FF2B5EF4-FFF2-40B4-BE49-F238E27FC236}">
                    <a16:creationId xmlns:a16="http://schemas.microsoft.com/office/drawing/2014/main" id="{C7BA225B-65BE-40F0-8A92-09D644F833C6}"/>
                  </a:ext>
                </a:extLst>
              </p:cNvPr>
              <p:cNvSpPr/>
              <p:nvPr/>
            </p:nvSpPr>
            <p:spPr bwMode="gray">
              <a:xfrm>
                <a:off x="1697075" y="2468768"/>
                <a:ext cx="51654" cy="51126"/>
              </a:xfrm>
              <a:prstGeom prst="ellipse">
                <a:avLst/>
              </a:prstGeom>
              <a:solidFill>
                <a:schemeClr val="accent5"/>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9" name="Oval 48">
                <a:extLst>
                  <a:ext uri="{FF2B5EF4-FFF2-40B4-BE49-F238E27FC236}">
                    <a16:creationId xmlns:a16="http://schemas.microsoft.com/office/drawing/2014/main" id="{7A643E17-B1AF-45C6-9F7D-2FF865BB0750}"/>
                  </a:ext>
                </a:extLst>
              </p:cNvPr>
              <p:cNvSpPr/>
              <p:nvPr/>
            </p:nvSpPr>
            <p:spPr bwMode="gray">
              <a:xfrm>
                <a:off x="1644751" y="2461982"/>
                <a:ext cx="57420" cy="56832"/>
              </a:xfrm>
              <a:prstGeom prst="ellipse">
                <a:avLst/>
              </a:prstGeom>
              <a:solidFill>
                <a:schemeClr val="bg1"/>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50" name="Oval 49">
                <a:extLst>
                  <a:ext uri="{FF2B5EF4-FFF2-40B4-BE49-F238E27FC236}">
                    <a16:creationId xmlns:a16="http://schemas.microsoft.com/office/drawing/2014/main" id="{41E175DF-CFAB-489D-85D3-1AC5C9CC26C0}"/>
                  </a:ext>
                </a:extLst>
              </p:cNvPr>
              <p:cNvSpPr/>
              <p:nvPr/>
            </p:nvSpPr>
            <p:spPr bwMode="gray">
              <a:xfrm>
                <a:off x="1654187" y="2471321"/>
                <a:ext cx="38548" cy="38153"/>
              </a:xfrm>
              <a:prstGeom prst="ellipse">
                <a:avLst/>
              </a:prstGeom>
              <a:solidFill>
                <a:schemeClr val="accent5"/>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7" name="Oval 46">
                <a:extLst>
                  <a:ext uri="{FF2B5EF4-FFF2-40B4-BE49-F238E27FC236}">
                    <a16:creationId xmlns:a16="http://schemas.microsoft.com/office/drawing/2014/main" id="{08D2965F-1E66-41B7-BC49-FBE41272B28F}"/>
                  </a:ext>
                </a:extLst>
              </p:cNvPr>
              <p:cNvSpPr/>
              <p:nvPr/>
            </p:nvSpPr>
            <p:spPr bwMode="gray">
              <a:xfrm>
                <a:off x="1604357" y="2452970"/>
                <a:ext cx="57420" cy="56832"/>
              </a:xfrm>
              <a:prstGeom prst="ellipse">
                <a:avLst/>
              </a:prstGeom>
              <a:solidFill>
                <a:schemeClr val="bg1"/>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8" name="Oval 47">
                <a:extLst>
                  <a:ext uri="{FF2B5EF4-FFF2-40B4-BE49-F238E27FC236}">
                    <a16:creationId xmlns:a16="http://schemas.microsoft.com/office/drawing/2014/main" id="{7D094482-9CBC-47F0-82CC-FF4D426BB21D}"/>
                  </a:ext>
                </a:extLst>
              </p:cNvPr>
              <p:cNvSpPr/>
              <p:nvPr/>
            </p:nvSpPr>
            <p:spPr bwMode="gray">
              <a:xfrm>
                <a:off x="1613793" y="2462309"/>
                <a:ext cx="38548" cy="38153"/>
              </a:xfrm>
              <a:prstGeom prst="ellipse">
                <a:avLst/>
              </a:prstGeom>
              <a:solidFill>
                <a:schemeClr val="accent5"/>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5" name="Oval 44">
                <a:extLst>
                  <a:ext uri="{FF2B5EF4-FFF2-40B4-BE49-F238E27FC236}">
                    <a16:creationId xmlns:a16="http://schemas.microsoft.com/office/drawing/2014/main" id="{CBF95110-6DF1-47FA-BDE4-25498B402530}"/>
                  </a:ext>
                </a:extLst>
              </p:cNvPr>
              <p:cNvSpPr/>
              <p:nvPr/>
            </p:nvSpPr>
            <p:spPr bwMode="gray">
              <a:xfrm>
                <a:off x="1565796" y="2439424"/>
                <a:ext cx="57420" cy="56832"/>
              </a:xfrm>
              <a:prstGeom prst="ellipse">
                <a:avLst/>
              </a:prstGeom>
              <a:solidFill>
                <a:schemeClr val="bg1"/>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6" name="Oval 45">
                <a:extLst>
                  <a:ext uri="{FF2B5EF4-FFF2-40B4-BE49-F238E27FC236}">
                    <a16:creationId xmlns:a16="http://schemas.microsoft.com/office/drawing/2014/main" id="{1FD7D4E5-39A1-4BF9-A610-6B116963D359}"/>
                  </a:ext>
                </a:extLst>
              </p:cNvPr>
              <p:cNvSpPr/>
              <p:nvPr/>
            </p:nvSpPr>
            <p:spPr bwMode="gray">
              <a:xfrm>
                <a:off x="1575232" y="2448764"/>
                <a:ext cx="38548" cy="38153"/>
              </a:xfrm>
              <a:prstGeom prst="ellipse">
                <a:avLst/>
              </a:prstGeom>
              <a:solidFill>
                <a:schemeClr val="accent5"/>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3" name="Oval 42">
                <a:extLst>
                  <a:ext uri="{FF2B5EF4-FFF2-40B4-BE49-F238E27FC236}">
                    <a16:creationId xmlns:a16="http://schemas.microsoft.com/office/drawing/2014/main" id="{9AB15FD4-58F7-44A1-806B-A7C6674BC782}"/>
                  </a:ext>
                </a:extLst>
              </p:cNvPr>
              <p:cNvSpPr/>
              <p:nvPr/>
            </p:nvSpPr>
            <p:spPr bwMode="gray">
              <a:xfrm>
                <a:off x="1526684" y="2429059"/>
                <a:ext cx="57420" cy="56832"/>
              </a:xfrm>
              <a:prstGeom prst="ellipse">
                <a:avLst/>
              </a:prstGeom>
              <a:solidFill>
                <a:schemeClr val="bg1"/>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4" name="Oval 43">
                <a:extLst>
                  <a:ext uri="{FF2B5EF4-FFF2-40B4-BE49-F238E27FC236}">
                    <a16:creationId xmlns:a16="http://schemas.microsoft.com/office/drawing/2014/main" id="{99261C1A-0B92-4D8E-9472-039CFD1A0AC1}"/>
                  </a:ext>
                </a:extLst>
              </p:cNvPr>
              <p:cNvSpPr/>
              <p:nvPr/>
            </p:nvSpPr>
            <p:spPr bwMode="gray">
              <a:xfrm>
                <a:off x="1536121" y="2438400"/>
                <a:ext cx="38548" cy="38153"/>
              </a:xfrm>
              <a:prstGeom prst="ellipse">
                <a:avLst/>
              </a:prstGeom>
              <a:solidFill>
                <a:schemeClr val="accent5"/>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1" name="Oval 40">
                <a:extLst>
                  <a:ext uri="{FF2B5EF4-FFF2-40B4-BE49-F238E27FC236}">
                    <a16:creationId xmlns:a16="http://schemas.microsoft.com/office/drawing/2014/main" id="{B1F9CAB9-3370-4B58-9DF8-F1FF95F15A2F}"/>
                  </a:ext>
                </a:extLst>
              </p:cNvPr>
              <p:cNvSpPr/>
              <p:nvPr/>
            </p:nvSpPr>
            <p:spPr bwMode="gray">
              <a:xfrm>
                <a:off x="1487989" y="2411724"/>
                <a:ext cx="57420" cy="56832"/>
              </a:xfrm>
              <a:prstGeom prst="ellipse">
                <a:avLst/>
              </a:prstGeom>
              <a:solidFill>
                <a:schemeClr val="bg1"/>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2" name="Oval 41">
                <a:extLst>
                  <a:ext uri="{FF2B5EF4-FFF2-40B4-BE49-F238E27FC236}">
                    <a16:creationId xmlns:a16="http://schemas.microsoft.com/office/drawing/2014/main" id="{A5E92EDB-60CF-4DD3-94D3-E1055B350FF8}"/>
                  </a:ext>
                </a:extLst>
              </p:cNvPr>
              <p:cNvSpPr/>
              <p:nvPr/>
            </p:nvSpPr>
            <p:spPr bwMode="gray">
              <a:xfrm>
                <a:off x="1497426" y="2421064"/>
                <a:ext cx="38548" cy="38153"/>
              </a:xfrm>
              <a:prstGeom prst="ellipse">
                <a:avLst/>
              </a:prstGeom>
              <a:solidFill>
                <a:schemeClr val="accent5"/>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39" name="Oval 38">
                <a:extLst>
                  <a:ext uri="{FF2B5EF4-FFF2-40B4-BE49-F238E27FC236}">
                    <a16:creationId xmlns:a16="http://schemas.microsoft.com/office/drawing/2014/main" id="{66B1A0AA-F1D0-49FB-9532-67403E2F4465}"/>
                  </a:ext>
                </a:extLst>
              </p:cNvPr>
              <p:cNvSpPr/>
              <p:nvPr/>
            </p:nvSpPr>
            <p:spPr bwMode="gray">
              <a:xfrm>
                <a:off x="1451578" y="2390045"/>
                <a:ext cx="57420" cy="56832"/>
              </a:xfrm>
              <a:prstGeom prst="ellipse">
                <a:avLst/>
              </a:prstGeom>
              <a:solidFill>
                <a:schemeClr val="bg1"/>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40" name="Oval 39">
                <a:extLst>
                  <a:ext uri="{FF2B5EF4-FFF2-40B4-BE49-F238E27FC236}">
                    <a16:creationId xmlns:a16="http://schemas.microsoft.com/office/drawing/2014/main" id="{B26916FF-F75B-4250-8DDE-DE16FC04AC9F}"/>
                  </a:ext>
                </a:extLst>
              </p:cNvPr>
              <p:cNvSpPr/>
              <p:nvPr/>
            </p:nvSpPr>
            <p:spPr bwMode="gray">
              <a:xfrm>
                <a:off x="1461015" y="2399386"/>
                <a:ext cx="38548" cy="38153"/>
              </a:xfrm>
              <a:prstGeom prst="ellipse">
                <a:avLst/>
              </a:prstGeom>
              <a:solidFill>
                <a:schemeClr val="accent5"/>
              </a:solidFill>
              <a:ln w="3175"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72" name="Oval 71">
                <a:extLst>
                  <a:ext uri="{FF2B5EF4-FFF2-40B4-BE49-F238E27FC236}">
                    <a16:creationId xmlns:a16="http://schemas.microsoft.com/office/drawing/2014/main" id="{B2E7EFD9-E337-4052-A9F3-1D3E35FAFF1B}"/>
                  </a:ext>
                </a:extLst>
              </p:cNvPr>
              <p:cNvSpPr/>
              <p:nvPr/>
            </p:nvSpPr>
            <p:spPr bwMode="gray">
              <a:xfrm>
                <a:off x="2015421" y="2442704"/>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73" name="Oval 72">
                <a:extLst>
                  <a:ext uri="{FF2B5EF4-FFF2-40B4-BE49-F238E27FC236}">
                    <a16:creationId xmlns:a16="http://schemas.microsoft.com/office/drawing/2014/main" id="{E680B16B-DE1E-413F-A173-579B792AC694}"/>
                  </a:ext>
                </a:extLst>
              </p:cNvPr>
              <p:cNvSpPr/>
              <p:nvPr/>
            </p:nvSpPr>
            <p:spPr bwMode="gray">
              <a:xfrm>
                <a:off x="1996429" y="2480494"/>
                <a:ext cx="36863" cy="3648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sp>
          <p:nvSpPr>
            <p:cNvPr id="75" name="Rectangle 74">
              <a:extLst>
                <a:ext uri="{FF2B5EF4-FFF2-40B4-BE49-F238E27FC236}">
                  <a16:creationId xmlns:a16="http://schemas.microsoft.com/office/drawing/2014/main" id="{4DAD4166-9974-44CF-B058-4717DAB99035}"/>
                </a:ext>
              </a:extLst>
            </p:cNvPr>
            <p:cNvSpPr/>
            <p:nvPr/>
          </p:nvSpPr>
          <p:spPr>
            <a:xfrm>
              <a:off x="569232" y="3052467"/>
              <a:ext cx="2028761" cy="338554"/>
            </a:xfrm>
            <a:prstGeom prst="rect">
              <a:avLst/>
            </a:prstGeom>
          </p:spPr>
          <p:txBody>
            <a:bodyPr wrap="none">
              <a:spAutoFit/>
            </a:bodyPr>
            <a:lstStyle/>
            <a:p>
              <a:r>
                <a:rPr lang="en-US" sz="1600" b="1" dirty="0">
                  <a:solidFill>
                    <a:srgbClr val="000000"/>
                  </a:solidFill>
                  <a:latin typeface="Calibri"/>
                </a:rPr>
                <a:t>Veteran Transparency</a:t>
              </a:r>
            </a:p>
          </p:txBody>
        </p:sp>
      </p:grpSp>
      <p:grpSp>
        <p:nvGrpSpPr>
          <p:cNvPr id="297" name="Group 296">
            <a:extLst>
              <a:ext uri="{FF2B5EF4-FFF2-40B4-BE49-F238E27FC236}">
                <a16:creationId xmlns:a16="http://schemas.microsoft.com/office/drawing/2014/main" id="{F955980C-6A3D-4561-AD0A-47457312C989}"/>
              </a:ext>
            </a:extLst>
          </p:cNvPr>
          <p:cNvGrpSpPr/>
          <p:nvPr/>
        </p:nvGrpSpPr>
        <p:grpSpPr>
          <a:xfrm>
            <a:off x="5357016" y="2061866"/>
            <a:ext cx="1721818" cy="1252954"/>
            <a:chOff x="3618309" y="2138067"/>
            <a:chExt cx="1721818" cy="1252954"/>
          </a:xfrm>
        </p:grpSpPr>
        <p:sp>
          <p:nvSpPr>
            <p:cNvPr id="79" name="Rectangle 78">
              <a:extLst>
                <a:ext uri="{FF2B5EF4-FFF2-40B4-BE49-F238E27FC236}">
                  <a16:creationId xmlns:a16="http://schemas.microsoft.com/office/drawing/2014/main" id="{06FE00C1-EEEB-4D0B-AB98-9D3F647C0501}"/>
                </a:ext>
              </a:extLst>
            </p:cNvPr>
            <p:cNvSpPr/>
            <p:nvPr/>
          </p:nvSpPr>
          <p:spPr>
            <a:xfrm>
              <a:off x="3618309" y="3052467"/>
              <a:ext cx="1721818" cy="338554"/>
            </a:xfrm>
            <a:prstGeom prst="rect">
              <a:avLst/>
            </a:prstGeom>
          </p:spPr>
          <p:txBody>
            <a:bodyPr wrap="none">
              <a:spAutoFit/>
            </a:bodyPr>
            <a:lstStyle/>
            <a:p>
              <a:r>
                <a:rPr lang="en-US" sz="1600" b="1" dirty="0">
                  <a:solidFill>
                    <a:srgbClr val="000000"/>
                  </a:solidFill>
                  <a:latin typeface="Calibri"/>
                </a:rPr>
                <a:t>Peer Comparisons</a:t>
              </a:r>
            </a:p>
          </p:txBody>
        </p:sp>
        <p:grpSp>
          <p:nvGrpSpPr>
            <p:cNvPr id="290" name="Group 289">
              <a:extLst>
                <a:ext uri="{FF2B5EF4-FFF2-40B4-BE49-F238E27FC236}">
                  <a16:creationId xmlns:a16="http://schemas.microsoft.com/office/drawing/2014/main" id="{6E574D57-4FFD-405C-B7AB-30FC954354BF}"/>
                </a:ext>
              </a:extLst>
            </p:cNvPr>
            <p:cNvGrpSpPr/>
            <p:nvPr/>
          </p:nvGrpSpPr>
          <p:grpSpPr>
            <a:xfrm>
              <a:off x="3827113" y="2138067"/>
              <a:ext cx="1304210" cy="914400"/>
              <a:chOff x="3965573" y="2138067"/>
              <a:chExt cx="1304210" cy="914400"/>
            </a:xfrm>
          </p:grpSpPr>
          <p:pic>
            <p:nvPicPr>
              <p:cNvPr id="288" name="Graphic 287" descr="Office worker">
                <a:extLst>
                  <a:ext uri="{FF2B5EF4-FFF2-40B4-BE49-F238E27FC236}">
                    <a16:creationId xmlns:a16="http://schemas.microsoft.com/office/drawing/2014/main" id="{F5D1FBC8-CCDD-4682-BECA-41996201BF3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65573" y="2138067"/>
                <a:ext cx="914400" cy="914400"/>
              </a:xfrm>
              <a:prstGeom prst="rect">
                <a:avLst/>
              </a:prstGeom>
            </p:spPr>
          </p:pic>
          <p:pic>
            <p:nvPicPr>
              <p:cNvPr id="289" name="Graphic 288" descr="Office worker">
                <a:extLst>
                  <a:ext uri="{FF2B5EF4-FFF2-40B4-BE49-F238E27FC236}">
                    <a16:creationId xmlns:a16="http://schemas.microsoft.com/office/drawing/2014/main" id="{6A069828-7823-4B17-8ACD-D4A0FF1DE7E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55383" y="2138067"/>
                <a:ext cx="914400" cy="914400"/>
              </a:xfrm>
              <a:prstGeom prst="rect">
                <a:avLst/>
              </a:prstGeom>
            </p:spPr>
          </p:pic>
        </p:grpSp>
      </p:grpSp>
      <p:grpSp>
        <p:nvGrpSpPr>
          <p:cNvPr id="298" name="Group 297">
            <a:extLst>
              <a:ext uri="{FF2B5EF4-FFF2-40B4-BE49-F238E27FC236}">
                <a16:creationId xmlns:a16="http://schemas.microsoft.com/office/drawing/2014/main" id="{A5F7D2D2-749E-4824-8EB3-6257DCF9237E}"/>
              </a:ext>
            </a:extLst>
          </p:cNvPr>
          <p:cNvGrpSpPr/>
          <p:nvPr/>
        </p:nvGrpSpPr>
        <p:grpSpPr>
          <a:xfrm>
            <a:off x="8077201" y="2070745"/>
            <a:ext cx="1784911" cy="1490297"/>
            <a:chOff x="6500336" y="2146945"/>
            <a:chExt cx="1784911" cy="1490297"/>
          </a:xfrm>
        </p:grpSpPr>
        <p:sp>
          <p:nvSpPr>
            <p:cNvPr id="131" name="Rectangle 130">
              <a:extLst>
                <a:ext uri="{FF2B5EF4-FFF2-40B4-BE49-F238E27FC236}">
                  <a16:creationId xmlns:a16="http://schemas.microsoft.com/office/drawing/2014/main" id="{E271A934-26E9-48A4-BDA8-F5351CFCDD7C}"/>
                </a:ext>
              </a:extLst>
            </p:cNvPr>
            <p:cNvSpPr/>
            <p:nvPr/>
          </p:nvSpPr>
          <p:spPr>
            <a:xfrm>
              <a:off x="6500336" y="3052467"/>
              <a:ext cx="1784911" cy="584775"/>
            </a:xfrm>
            <a:prstGeom prst="rect">
              <a:avLst/>
            </a:prstGeom>
          </p:spPr>
          <p:txBody>
            <a:bodyPr wrap="none">
              <a:spAutoFit/>
            </a:bodyPr>
            <a:lstStyle/>
            <a:p>
              <a:pPr algn="ctr"/>
              <a:r>
                <a:rPr lang="en-US" sz="1600" b="1" dirty="0">
                  <a:solidFill>
                    <a:srgbClr val="000000"/>
                  </a:solidFill>
                  <a:latin typeface="Calibri"/>
                </a:rPr>
                <a:t>Data Driven Policy </a:t>
              </a:r>
            </a:p>
            <a:p>
              <a:pPr algn="ctr"/>
              <a:r>
                <a:rPr lang="en-US" sz="1600" b="1" dirty="0">
                  <a:solidFill>
                    <a:srgbClr val="000000"/>
                  </a:solidFill>
                  <a:latin typeface="Calibri"/>
                </a:rPr>
                <a:t>Decisions</a:t>
              </a:r>
            </a:p>
          </p:txBody>
        </p:sp>
        <p:pic>
          <p:nvPicPr>
            <p:cNvPr id="293" name="Graphic 292" descr="Upward trend">
              <a:extLst>
                <a:ext uri="{FF2B5EF4-FFF2-40B4-BE49-F238E27FC236}">
                  <a16:creationId xmlns:a16="http://schemas.microsoft.com/office/drawing/2014/main" id="{EC0C739C-0BA6-4E78-ACB5-EE01074CB63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35591" y="2146945"/>
              <a:ext cx="914400" cy="914400"/>
            </a:xfrm>
            <a:prstGeom prst="rect">
              <a:avLst/>
            </a:prstGeom>
          </p:spPr>
        </p:pic>
      </p:grpSp>
      <p:grpSp>
        <p:nvGrpSpPr>
          <p:cNvPr id="301" name="Group 300">
            <a:extLst>
              <a:ext uri="{FF2B5EF4-FFF2-40B4-BE49-F238E27FC236}">
                <a16:creationId xmlns:a16="http://schemas.microsoft.com/office/drawing/2014/main" id="{1E2E54E2-2D2A-4575-9EDE-64A5FAE35F13}"/>
              </a:ext>
            </a:extLst>
          </p:cNvPr>
          <p:cNvGrpSpPr/>
          <p:nvPr/>
        </p:nvGrpSpPr>
        <p:grpSpPr>
          <a:xfrm>
            <a:off x="3638423" y="3566377"/>
            <a:ext cx="1930208" cy="1437999"/>
            <a:chOff x="2093354" y="3647042"/>
            <a:chExt cx="1930208" cy="1437999"/>
          </a:xfrm>
        </p:grpSpPr>
        <p:sp>
          <p:nvSpPr>
            <p:cNvPr id="183" name="Rectangle 182">
              <a:extLst>
                <a:ext uri="{FF2B5EF4-FFF2-40B4-BE49-F238E27FC236}">
                  <a16:creationId xmlns:a16="http://schemas.microsoft.com/office/drawing/2014/main" id="{E6CEBB2D-79DD-4802-BF7D-5689ABD31EE6}"/>
                </a:ext>
              </a:extLst>
            </p:cNvPr>
            <p:cNvSpPr/>
            <p:nvPr/>
          </p:nvSpPr>
          <p:spPr>
            <a:xfrm>
              <a:off x="2093354" y="4500266"/>
              <a:ext cx="1930208" cy="584775"/>
            </a:xfrm>
            <a:prstGeom prst="rect">
              <a:avLst/>
            </a:prstGeom>
          </p:spPr>
          <p:txBody>
            <a:bodyPr wrap="none">
              <a:spAutoFit/>
            </a:bodyPr>
            <a:lstStyle/>
            <a:p>
              <a:pPr algn="ctr"/>
              <a:r>
                <a:rPr lang="en-US" sz="1600" b="1" dirty="0">
                  <a:solidFill>
                    <a:srgbClr val="000000"/>
                  </a:solidFill>
                  <a:latin typeface="Calibri"/>
                </a:rPr>
                <a:t>Program Participant </a:t>
              </a:r>
            </a:p>
            <a:p>
              <a:pPr algn="ctr"/>
              <a:r>
                <a:rPr lang="en-US" sz="1600" b="1" dirty="0">
                  <a:solidFill>
                    <a:srgbClr val="000000"/>
                  </a:solidFill>
                  <a:latin typeface="Calibri"/>
                </a:rPr>
                <a:t>Performance</a:t>
              </a:r>
            </a:p>
          </p:txBody>
        </p:sp>
        <p:pic>
          <p:nvPicPr>
            <p:cNvPr id="300" name="Graphic 299" descr="Gauge">
              <a:extLst>
                <a:ext uri="{FF2B5EF4-FFF2-40B4-BE49-F238E27FC236}">
                  <a16:creationId xmlns:a16="http://schemas.microsoft.com/office/drawing/2014/main" id="{7BEEE5F4-F0CF-4B8B-A915-E14D3E8D61C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01258" y="3647042"/>
              <a:ext cx="914400" cy="914400"/>
            </a:xfrm>
            <a:prstGeom prst="rect">
              <a:avLst/>
            </a:prstGeom>
          </p:spPr>
        </p:pic>
      </p:grpSp>
      <p:grpSp>
        <p:nvGrpSpPr>
          <p:cNvPr id="304" name="Group 303">
            <a:extLst>
              <a:ext uri="{FF2B5EF4-FFF2-40B4-BE49-F238E27FC236}">
                <a16:creationId xmlns:a16="http://schemas.microsoft.com/office/drawing/2014/main" id="{E2E08364-ED00-4573-855F-5BA44EEF9002}"/>
              </a:ext>
            </a:extLst>
          </p:cNvPr>
          <p:cNvGrpSpPr/>
          <p:nvPr/>
        </p:nvGrpSpPr>
        <p:grpSpPr>
          <a:xfrm>
            <a:off x="6956665" y="3505200"/>
            <a:ext cx="1596912" cy="1499616"/>
            <a:chOff x="5411596" y="3585866"/>
            <a:chExt cx="1596912" cy="1499616"/>
          </a:xfrm>
        </p:grpSpPr>
        <p:sp>
          <p:nvSpPr>
            <p:cNvPr id="235" name="Rectangle 234">
              <a:extLst>
                <a:ext uri="{FF2B5EF4-FFF2-40B4-BE49-F238E27FC236}">
                  <a16:creationId xmlns:a16="http://schemas.microsoft.com/office/drawing/2014/main" id="{0783451D-2450-4E57-92C5-C798EDB2D992}"/>
                </a:ext>
              </a:extLst>
            </p:cNvPr>
            <p:cNvSpPr/>
            <p:nvPr/>
          </p:nvSpPr>
          <p:spPr>
            <a:xfrm>
              <a:off x="5411596" y="4500707"/>
              <a:ext cx="1596912" cy="584775"/>
            </a:xfrm>
            <a:prstGeom prst="rect">
              <a:avLst/>
            </a:prstGeom>
          </p:spPr>
          <p:txBody>
            <a:bodyPr wrap="none">
              <a:spAutoFit/>
            </a:bodyPr>
            <a:lstStyle/>
            <a:p>
              <a:pPr algn="ctr"/>
              <a:r>
                <a:rPr lang="en-US" sz="1600" b="1" dirty="0">
                  <a:solidFill>
                    <a:srgbClr val="000000"/>
                  </a:solidFill>
                  <a:latin typeface="Calibri"/>
                </a:rPr>
                <a:t>Compliance and </a:t>
              </a:r>
            </a:p>
            <a:p>
              <a:pPr algn="ctr"/>
              <a:r>
                <a:rPr lang="en-US" sz="1600" b="1" dirty="0">
                  <a:solidFill>
                    <a:srgbClr val="000000"/>
                  </a:solidFill>
                  <a:latin typeface="Calibri"/>
                </a:rPr>
                <a:t>Enforcement</a:t>
              </a:r>
            </a:p>
          </p:txBody>
        </p:sp>
        <p:pic>
          <p:nvPicPr>
            <p:cNvPr id="303" name="Graphic 302" descr="Checklist">
              <a:extLst>
                <a:ext uri="{FF2B5EF4-FFF2-40B4-BE49-F238E27FC236}">
                  <a16:creationId xmlns:a16="http://schemas.microsoft.com/office/drawing/2014/main" id="{8E241A53-6A77-4940-982A-5F5E4E93DCD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2852" y="3585866"/>
              <a:ext cx="914400" cy="914400"/>
            </a:xfrm>
            <a:prstGeom prst="rect">
              <a:avLst/>
            </a:prstGeom>
          </p:spPr>
        </p:pic>
      </p:grpSp>
    </p:spTree>
    <p:extLst>
      <p:ext uri="{BB962C8B-B14F-4D97-AF65-F5344CB8AC3E}">
        <p14:creationId xmlns:p14="http://schemas.microsoft.com/office/powerpoint/2010/main" val="1643294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a:solidFill>
                  <a:prstClr val="white"/>
                </a:solidFill>
                <a:latin typeface="Calibri"/>
              </a:rPr>
              <a:pPr/>
              <a:t>14</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dirty="0"/>
              <a:t>Transformation Features and Benefits to Lenders</a:t>
            </a:r>
          </a:p>
        </p:txBody>
      </p:sp>
      <p:grpSp>
        <p:nvGrpSpPr>
          <p:cNvPr id="14" name="Group 13">
            <a:extLst>
              <a:ext uri="{FF2B5EF4-FFF2-40B4-BE49-F238E27FC236}">
                <a16:creationId xmlns:a16="http://schemas.microsoft.com/office/drawing/2014/main" id="{22580E1D-B249-4529-8C7D-60DFE7AF81AD}"/>
              </a:ext>
            </a:extLst>
          </p:cNvPr>
          <p:cNvGrpSpPr/>
          <p:nvPr/>
        </p:nvGrpSpPr>
        <p:grpSpPr>
          <a:xfrm>
            <a:off x="6347460" y="1163056"/>
            <a:ext cx="3840480" cy="4495800"/>
            <a:chOff x="4800600" y="1163056"/>
            <a:chExt cx="3840480" cy="4495800"/>
          </a:xfrm>
        </p:grpSpPr>
        <p:sp>
          <p:nvSpPr>
            <p:cNvPr id="64" name="Rectangle 63"/>
            <p:cNvSpPr/>
            <p:nvPr/>
          </p:nvSpPr>
          <p:spPr>
            <a:xfrm>
              <a:off x="4800600" y="2535173"/>
              <a:ext cx="3840480" cy="707886"/>
            </a:xfrm>
            <a:prstGeom prst="rect">
              <a:avLst/>
            </a:prstGeom>
          </p:spPr>
          <p:txBody>
            <a:bodyPr wrap="square">
              <a:spAutoFit/>
            </a:bodyPr>
            <a:lstStyle/>
            <a:p>
              <a:pPr algn="ctr"/>
              <a:r>
                <a:rPr lang="en-US" sz="2000" b="1" dirty="0">
                  <a:solidFill>
                    <a:srgbClr val="000000"/>
                  </a:solidFill>
                  <a:latin typeface="Calibri"/>
                </a:rPr>
                <a:t>Benefits of VALERI </a:t>
              </a:r>
            </a:p>
            <a:p>
              <a:pPr algn="ctr"/>
              <a:r>
                <a:rPr lang="en-US" sz="2000" b="1" dirty="0">
                  <a:solidFill>
                    <a:srgbClr val="000000"/>
                  </a:solidFill>
                  <a:latin typeface="Calibri"/>
                </a:rPr>
                <a:t>Modernization</a:t>
              </a:r>
              <a:endParaRPr lang="en-US" sz="2400" b="1" dirty="0">
                <a:solidFill>
                  <a:srgbClr val="000000"/>
                </a:solidFill>
                <a:latin typeface="Calibri"/>
              </a:endParaRPr>
            </a:p>
          </p:txBody>
        </p:sp>
        <p:cxnSp>
          <p:nvCxnSpPr>
            <p:cNvPr id="67" name="Straight Connector 66"/>
            <p:cNvCxnSpPr/>
            <p:nvPr/>
          </p:nvCxnSpPr>
          <p:spPr>
            <a:xfrm>
              <a:off x="4800600" y="3322236"/>
              <a:ext cx="3840480" cy="0"/>
            </a:xfrm>
            <a:prstGeom prst="line">
              <a:avLst/>
            </a:prstGeom>
            <a:noFill/>
            <a:ln w="19050" cap="flat" cmpd="sng" algn="ctr">
              <a:solidFill>
                <a:schemeClr val="accent5"/>
              </a:solidFill>
              <a:prstDash val="solid"/>
            </a:ln>
            <a:effectLst/>
          </p:spPr>
        </p:cxnSp>
        <p:sp>
          <p:nvSpPr>
            <p:cNvPr id="70" name="Text Placeholder 2"/>
            <p:cNvSpPr txBox="1">
              <a:spLocks/>
            </p:cNvSpPr>
            <p:nvPr/>
          </p:nvSpPr>
          <p:spPr>
            <a:xfrm>
              <a:off x="4800600" y="3525256"/>
              <a:ext cx="3840480" cy="2133600"/>
            </a:xfrm>
            <a:prstGeom prst="rect">
              <a:avLst/>
            </a:prstGeom>
          </p:spPr>
          <p:txBody>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Real Time Information</a:t>
              </a:r>
            </a:p>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Interoperability (adopting MISMO and UCD/ULAD)</a:t>
              </a:r>
            </a:p>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Greater access to reporting and system data</a:t>
              </a:r>
            </a:p>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VA Guaranty Certainty throughout</a:t>
              </a:r>
            </a:p>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Lender Scorecard integration, transparency, and utilization</a:t>
              </a:r>
            </a:p>
          </p:txBody>
        </p:sp>
        <p:grpSp>
          <p:nvGrpSpPr>
            <p:cNvPr id="11" name="Group 10">
              <a:extLst>
                <a:ext uri="{FF2B5EF4-FFF2-40B4-BE49-F238E27FC236}">
                  <a16:creationId xmlns:a16="http://schemas.microsoft.com/office/drawing/2014/main" id="{5594C311-A585-47C9-B6B6-CD4DFF20567F}"/>
                </a:ext>
              </a:extLst>
            </p:cNvPr>
            <p:cNvGrpSpPr/>
            <p:nvPr/>
          </p:nvGrpSpPr>
          <p:grpSpPr>
            <a:xfrm>
              <a:off x="6106801" y="1163056"/>
              <a:ext cx="1228079" cy="1232224"/>
              <a:chOff x="6015363" y="1163056"/>
              <a:chExt cx="1228079" cy="1232224"/>
            </a:xfrm>
          </p:grpSpPr>
          <p:sp>
            <p:nvSpPr>
              <p:cNvPr id="77" name="Oval 76"/>
              <p:cNvSpPr/>
              <p:nvPr/>
            </p:nvSpPr>
            <p:spPr>
              <a:xfrm>
                <a:off x="6015363" y="1163056"/>
                <a:ext cx="1228079" cy="1232224"/>
              </a:xfrm>
              <a:prstGeom prst="ellipse">
                <a:avLst/>
              </a:prstGeom>
              <a:solidFill>
                <a:schemeClr val="accent1"/>
              </a:solidFill>
              <a:ln w="28575" cap="flat" cmpd="sng" algn="ctr">
                <a:noFill/>
                <a:prstDash val="solid"/>
              </a:ln>
              <a:effectLst/>
            </p:spPr>
            <p:txBody>
              <a:bodyPr rtlCol="0" anchor="ctr"/>
              <a:lstStyle/>
              <a:p>
                <a:pPr algn="ctr">
                  <a:defRPr/>
                </a:pPr>
                <a:endParaRPr lang="en-US" sz="900" b="1" kern="0" dirty="0">
                  <a:solidFill>
                    <a:srgbClr val="FFFFFF"/>
                  </a:solidFill>
                  <a:latin typeface="Calibri"/>
                </a:endParaRPr>
              </a:p>
            </p:txBody>
          </p:sp>
          <p:grpSp>
            <p:nvGrpSpPr>
              <p:cNvPr id="86" name="Group 85"/>
              <p:cNvGrpSpPr/>
              <p:nvPr/>
            </p:nvGrpSpPr>
            <p:grpSpPr>
              <a:xfrm>
                <a:off x="6414550" y="1421803"/>
                <a:ext cx="429704" cy="721016"/>
                <a:chOff x="1592242" y="1643688"/>
                <a:chExt cx="429704" cy="721016"/>
              </a:xfrm>
            </p:grpSpPr>
            <p:sp>
              <p:nvSpPr>
                <p:cNvPr id="79" name="Freeform 253"/>
                <p:cNvSpPr>
                  <a:spLocks noEditPoints="1"/>
                </p:cNvSpPr>
                <p:nvPr/>
              </p:nvSpPr>
              <p:spPr bwMode="auto">
                <a:xfrm>
                  <a:off x="1592242" y="1643688"/>
                  <a:ext cx="429704" cy="721016"/>
                </a:xfrm>
                <a:custGeom>
                  <a:avLst/>
                  <a:gdLst>
                    <a:gd name="T0" fmla="*/ 190 w 452"/>
                    <a:gd name="T1" fmla="*/ 348 h 805"/>
                    <a:gd name="T2" fmla="*/ 154 w 452"/>
                    <a:gd name="T3" fmla="*/ 317 h 805"/>
                    <a:gd name="T4" fmla="*/ 152 w 452"/>
                    <a:gd name="T5" fmla="*/ 283 h 805"/>
                    <a:gd name="T6" fmla="*/ 178 w 452"/>
                    <a:gd name="T7" fmla="*/ 285 h 805"/>
                    <a:gd name="T8" fmla="*/ 208 w 452"/>
                    <a:gd name="T9" fmla="*/ 321 h 805"/>
                    <a:gd name="T10" fmla="*/ 243 w 452"/>
                    <a:gd name="T11" fmla="*/ 329 h 805"/>
                    <a:gd name="T12" fmla="*/ 257 w 452"/>
                    <a:gd name="T13" fmla="*/ 299 h 805"/>
                    <a:gd name="T14" fmla="*/ 296 w 452"/>
                    <a:gd name="T15" fmla="*/ 280 h 805"/>
                    <a:gd name="T16" fmla="*/ 303 w 452"/>
                    <a:gd name="T17" fmla="*/ 302 h 805"/>
                    <a:gd name="T18" fmla="*/ 281 w 452"/>
                    <a:gd name="T19" fmla="*/ 339 h 805"/>
                    <a:gd name="T20" fmla="*/ 244 w 452"/>
                    <a:gd name="T21" fmla="*/ 347 h 805"/>
                    <a:gd name="T22" fmla="*/ 355 w 452"/>
                    <a:gd name="T23" fmla="*/ 421 h 805"/>
                    <a:gd name="T24" fmla="*/ 303 w 452"/>
                    <a:gd name="T25" fmla="*/ 518 h 805"/>
                    <a:gd name="T26" fmla="*/ 247 w 452"/>
                    <a:gd name="T27" fmla="*/ 382 h 805"/>
                    <a:gd name="T28" fmla="*/ 298 w 452"/>
                    <a:gd name="T29" fmla="*/ 366 h 805"/>
                    <a:gd name="T30" fmla="*/ 334 w 452"/>
                    <a:gd name="T31" fmla="*/ 302 h 805"/>
                    <a:gd name="T32" fmla="*/ 315 w 452"/>
                    <a:gd name="T33" fmla="*/ 255 h 805"/>
                    <a:gd name="T34" fmla="*/ 277 w 452"/>
                    <a:gd name="T35" fmla="*/ 248 h 805"/>
                    <a:gd name="T36" fmla="*/ 227 w 452"/>
                    <a:gd name="T37" fmla="*/ 288 h 805"/>
                    <a:gd name="T38" fmla="*/ 168 w 452"/>
                    <a:gd name="T39" fmla="*/ 247 h 805"/>
                    <a:gd name="T40" fmla="*/ 130 w 452"/>
                    <a:gd name="T41" fmla="*/ 260 h 805"/>
                    <a:gd name="T42" fmla="*/ 120 w 452"/>
                    <a:gd name="T43" fmla="*/ 317 h 805"/>
                    <a:gd name="T44" fmla="*/ 170 w 452"/>
                    <a:gd name="T45" fmla="*/ 375 h 805"/>
                    <a:gd name="T46" fmla="*/ 211 w 452"/>
                    <a:gd name="T47" fmla="*/ 380 h 805"/>
                    <a:gd name="T48" fmla="*/ 139 w 452"/>
                    <a:gd name="T49" fmla="*/ 496 h 805"/>
                    <a:gd name="T50" fmla="*/ 97 w 452"/>
                    <a:gd name="T51" fmla="*/ 423 h 805"/>
                    <a:gd name="T52" fmla="*/ 35 w 452"/>
                    <a:gd name="T53" fmla="*/ 288 h 805"/>
                    <a:gd name="T54" fmla="*/ 40 w 452"/>
                    <a:gd name="T55" fmla="*/ 179 h 805"/>
                    <a:gd name="T56" fmla="*/ 101 w 452"/>
                    <a:gd name="T57" fmla="*/ 80 h 805"/>
                    <a:gd name="T58" fmla="*/ 206 w 452"/>
                    <a:gd name="T59" fmla="*/ 34 h 805"/>
                    <a:gd name="T60" fmla="*/ 303 w 452"/>
                    <a:gd name="T61" fmla="*/ 49 h 805"/>
                    <a:gd name="T62" fmla="*/ 388 w 452"/>
                    <a:gd name="T63" fmla="*/ 125 h 805"/>
                    <a:gd name="T64" fmla="*/ 422 w 452"/>
                    <a:gd name="T65" fmla="*/ 240 h 805"/>
                    <a:gd name="T66" fmla="*/ 395 w 452"/>
                    <a:gd name="T67" fmla="*/ 358 h 805"/>
                    <a:gd name="T68" fmla="*/ 277 w 452"/>
                    <a:gd name="T69" fmla="*/ 735 h 805"/>
                    <a:gd name="T70" fmla="*/ 185 w 452"/>
                    <a:gd name="T71" fmla="*/ 741 h 805"/>
                    <a:gd name="T72" fmla="*/ 300 w 452"/>
                    <a:gd name="T73" fmla="*/ 735 h 805"/>
                    <a:gd name="T74" fmla="*/ 138 w 452"/>
                    <a:gd name="T75" fmla="*/ 19 h 805"/>
                    <a:gd name="T76" fmla="*/ 38 w 452"/>
                    <a:gd name="T77" fmla="*/ 106 h 805"/>
                    <a:gd name="T78" fmla="*/ 0 w 452"/>
                    <a:gd name="T79" fmla="*/ 240 h 805"/>
                    <a:gd name="T80" fmla="*/ 30 w 452"/>
                    <a:gd name="T81" fmla="*/ 370 h 805"/>
                    <a:gd name="T82" fmla="*/ 73 w 452"/>
                    <a:gd name="T83" fmla="*/ 443 h 805"/>
                    <a:gd name="T84" fmla="*/ 130 w 452"/>
                    <a:gd name="T85" fmla="*/ 562 h 805"/>
                    <a:gd name="T86" fmla="*/ 122 w 452"/>
                    <a:gd name="T87" fmla="*/ 753 h 805"/>
                    <a:gd name="T88" fmla="*/ 168 w 452"/>
                    <a:gd name="T89" fmla="*/ 768 h 805"/>
                    <a:gd name="T90" fmla="*/ 249 w 452"/>
                    <a:gd name="T91" fmla="*/ 805 h 805"/>
                    <a:gd name="T92" fmla="*/ 320 w 452"/>
                    <a:gd name="T93" fmla="*/ 767 h 805"/>
                    <a:gd name="T94" fmla="*/ 330 w 452"/>
                    <a:gd name="T95" fmla="*/ 573 h 805"/>
                    <a:gd name="T96" fmla="*/ 344 w 452"/>
                    <a:gd name="T97" fmla="*/ 502 h 805"/>
                    <a:gd name="T98" fmla="*/ 382 w 452"/>
                    <a:gd name="T99" fmla="*/ 439 h 805"/>
                    <a:gd name="T100" fmla="*/ 447 w 452"/>
                    <a:gd name="T101" fmla="*/ 293 h 805"/>
                    <a:gd name="T102" fmla="*/ 442 w 452"/>
                    <a:gd name="T103" fmla="*/ 169 h 805"/>
                    <a:gd name="T104" fmla="*/ 369 w 452"/>
                    <a:gd name="T105" fmla="*/ 55 h 805"/>
                    <a:gd name="T106" fmla="*/ 249 w 452"/>
                    <a:gd name="T107" fmla="*/ 1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2" h="805">
                      <a:moveTo>
                        <a:pt x="208" y="347"/>
                      </a:moveTo>
                      <a:lnTo>
                        <a:pt x="208" y="347"/>
                      </a:lnTo>
                      <a:lnTo>
                        <a:pt x="203" y="348"/>
                      </a:lnTo>
                      <a:lnTo>
                        <a:pt x="198" y="350"/>
                      </a:lnTo>
                      <a:lnTo>
                        <a:pt x="198" y="350"/>
                      </a:lnTo>
                      <a:lnTo>
                        <a:pt x="190" y="348"/>
                      </a:lnTo>
                      <a:lnTo>
                        <a:pt x="181" y="345"/>
                      </a:lnTo>
                      <a:lnTo>
                        <a:pt x="173" y="339"/>
                      </a:lnTo>
                      <a:lnTo>
                        <a:pt x="163" y="331"/>
                      </a:lnTo>
                      <a:lnTo>
                        <a:pt x="163" y="331"/>
                      </a:lnTo>
                      <a:lnTo>
                        <a:pt x="159" y="325"/>
                      </a:lnTo>
                      <a:lnTo>
                        <a:pt x="154" y="317"/>
                      </a:lnTo>
                      <a:lnTo>
                        <a:pt x="151" y="310"/>
                      </a:lnTo>
                      <a:lnTo>
                        <a:pt x="149" y="302"/>
                      </a:lnTo>
                      <a:lnTo>
                        <a:pt x="147" y="298"/>
                      </a:lnTo>
                      <a:lnTo>
                        <a:pt x="147" y="291"/>
                      </a:lnTo>
                      <a:lnTo>
                        <a:pt x="149" y="286"/>
                      </a:lnTo>
                      <a:lnTo>
                        <a:pt x="152" y="283"/>
                      </a:lnTo>
                      <a:lnTo>
                        <a:pt x="152" y="283"/>
                      </a:lnTo>
                      <a:lnTo>
                        <a:pt x="155" y="280"/>
                      </a:lnTo>
                      <a:lnTo>
                        <a:pt x="162" y="280"/>
                      </a:lnTo>
                      <a:lnTo>
                        <a:pt x="162" y="280"/>
                      </a:lnTo>
                      <a:lnTo>
                        <a:pt x="170" y="282"/>
                      </a:lnTo>
                      <a:lnTo>
                        <a:pt x="178" y="285"/>
                      </a:lnTo>
                      <a:lnTo>
                        <a:pt x="187" y="291"/>
                      </a:lnTo>
                      <a:lnTo>
                        <a:pt x="195" y="299"/>
                      </a:lnTo>
                      <a:lnTo>
                        <a:pt x="195" y="299"/>
                      </a:lnTo>
                      <a:lnTo>
                        <a:pt x="200" y="305"/>
                      </a:lnTo>
                      <a:lnTo>
                        <a:pt x="204" y="313"/>
                      </a:lnTo>
                      <a:lnTo>
                        <a:pt x="208" y="321"/>
                      </a:lnTo>
                      <a:lnTo>
                        <a:pt x="211" y="329"/>
                      </a:lnTo>
                      <a:lnTo>
                        <a:pt x="211" y="329"/>
                      </a:lnTo>
                      <a:lnTo>
                        <a:pt x="211" y="337"/>
                      </a:lnTo>
                      <a:lnTo>
                        <a:pt x="209" y="342"/>
                      </a:lnTo>
                      <a:lnTo>
                        <a:pt x="208" y="347"/>
                      </a:lnTo>
                      <a:close/>
                      <a:moveTo>
                        <a:pt x="243" y="329"/>
                      </a:moveTo>
                      <a:lnTo>
                        <a:pt x="243" y="329"/>
                      </a:lnTo>
                      <a:lnTo>
                        <a:pt x="244" y="321"/>
                      </a:lnTo>
                      <a:lnTo>
                        <a:pt x="247" y="313"/>
                      </a:lnTo>
                      <a:lnTo>
                        <a:pt x="252" y="305"/>
                      </a:lnTo>
                      <a:lnTo>
                        <a:pt x="257" y="299"/>
                      </a:lnTo>
                      <a:lnTo>
                        <a:pt x="257" y="299"/>
                      </a:lnTo>
                      <a:lnTo>
                        <a:pt x="266" y="291"/>
                      </a:lnTo>
                      <a:lnTo>
                        <a:pt x="274" y="285"/>
                      </a:lnTo>
                      <a:lnTo>
                        <a:pt x="282" y="282"/>
                      </a:lnTo>
                      <a:lnTo>
                        <a:pt x="292" y="280"/>
                      </a:lnTo>
                      <a:lnTo>
                        <a:pt x="292" y="280"/>
                      </a:lnTo>
                      <a:lnTo>
                        <a:pt x="296" y="280"/>
                      </a:lnTo>
                      <a:lnTo>
                        <a:pt x="301" y="283"/>
                      </a:lnTo>
                      <a:lnTo>
                        <a:pt x="301" y="283"/>
                      </a:lnTo>
                      <a:lnTo>
                        <a:pt x="303" y="286"/>
                      </a:lnTo>
                      <a:lnTo>
                        <a:pt x="304" y="291"/>
                      </a:lnTo>
                      <a:lnTo>
                        <a:pt x="304" y="298"/>
                      </a:lnTo>
                      <a:lnTo>
                        <a:pt x="303" y="302"/>
                      </a:lnTo>
                      <a:lnTo>
                        <a:pt x="301" y="310"/>
                      </a:lnTo>
                      <a:lnTo>
                        <a:pt x="298" y="317"/>
                      </a:lnTo>
                      <a:lnTo>
                        <a:pt x="293" y="325"/>
                      </a:lnTo>
                      <a:lnTo>
                        <a:pt x="288" y="331"/>
                      </a:lnTo>
                      <a:lnTo>
                        <a:pt x="288" y="331"/>
                      </a:lnTo>
                      <a:lnTo>
                        <a:pt x="281" y="339"/>
                      </a:lnTo>
                      <a:lnTo>
                        <a:pt x="271" y="345"/>
                      </a:lnTo>
                      <a:lnTo>
                        <a:pt x="263" y="348"/>
                      </a:lnTo>
                      <a:lnTo>
                        <a:pt x="254" y="350"/>
                      </a:lnTo>
                      <a:lnTo>
                        <a:pt x="254" y="350"/>
                      </a:lnTo>
                      <a:lnTo>
                        <a:pt x="249" y="348"/>
                      </a:lnTo>
                      <a:lnTo>
                        <a:pt x="244" y="347"/>
                      </a:lnTo>
                      <a:lnTo>
                        <a:pt x="244" y="347"/>
                      </a:lnTo>
                      <a:lnTo>
                        <a:pt x="243" y="342"/>
                      </a:lnTo>
                      <a:lnTo>
                        <a:pt x="241" y="337"/>
                      </a:lnTo>
                      <a:lnTo>
                        <a:pt x="243" y="329"/>
                      </a:lnTo>
                      <a:close/>
                      <a:moveTo>
                        <a:pt x="355" y="421"/>
                      </a:moveTo>
                      <a:lnTo>
                        <a:pt x="355" y="421"/>
                      </a:lnTo>
                      <a:lnTo>
                        <a:pt x="353" y="426"/>
                      </a:lnTo>
                      <a:lnTo>
                        <a:pt x="353" y="426"/>
                      </a:lnTo>
                      <a:lnTo>
                        <a:pt x="339" y="447"/>
                      </a:lnTo>
                      <a:lnTo>
                        <a:pt x="322" y="478"/>
                      </a:lnTo>
                      <a:lnTo>
                        <a:pt x="312" y="497"/>
                      </a:lnTo>
                      <a:lnTo>
                        <a:pt x="303" y="518"/>
                      </a:lnTo>
                      <a:lnTo>
                        <a:pt x="296" y="539"/>
                      </a:lnTo>
                      <a:lnTo>
                        <a:pt x="292" y="561"/>
                      </a:lnTo>
                      <a:lnTo>
                        <a:pt x="241" y="561"/>
                      </a:lnTo>
                      <a:lnTo>
                        <a:pt x="241" y="380"/>
                      </a:lnTo>
                      <a:lnTo>
                        <a:pt x="241" y="380"/>
                      </a:lnTo>
                      <a:lnTo>
                        <a:pt x="247" y="382"/>
                      </a:lnTo>
                      <a:lnTo>
                        <a:pt x="254" y="382"/>
                      </a:lnTo>
                      <a:lnTo>
                        <a:pt x="254" y="382"/>
                      </a:lnTo>
                      <a:lnTo>
                        <a:pt x="262" y="382"/>
                      </a:lnTo>
                      <a:lnTo>
                        <a:pt x="269" y="380"/>
                      </a:lnTo>
                      <a:lnTo>
                        <a:pt x="284" y="375"/>
                      </a:lnTo>
                      <a:lnTo>
                        <a:pt x="298" y="366"/>
                      </a:lnTo>
                      <a:lnTo>
                        <a:pt x="311" y="353"/>
                      </a:lnTo>
                      <a:lnTo>
                        <a:pt x="311" y="353"/>
                      </a:lnTo>
                      <a:lnTo>
                        <a:pt x="320" y="342"/>
                      </a:lnTo>
                      <a:lnTo>
                        <a:pt x="327" y="329"/>
                      </a:lnTo>
                      <a:lnTo>
                        <a:pt x="331" y="317"/>
                      </a:lnTo>
                      <a:lnTo>
                        <a:pt x="334" y="302"/>
                      </a:lnTo>
                      <a:lnTo>
                        <a:pt x="334" y="291"/>
                      </a:lnTo>
                      <a:lnTo>
                        <a:pt x="333" y="279"/>
                      </a:lnTo>
                      <a:lnTo>
                        <a:pt x="328" y="269"/>
                      </a:lnTo>
                      <a:lnTo>
                        <a:pt x="322" y="260"/>
                      </a:lnTo>
                      <a:lnTo>
                        <a:pt x="322" y="260"/>
                      </a:lnTo>
                      <a:lnTo>
                        <a:pt x="315" y="255"/>
                      </a:lnTo>
                      <a:lnTo>
                        <a:pt x="307" y="250"/>
                      </a:lnTo>
                      <a:lnTo>
                        <a:pt x="300" y="248"/>
                      </a:lnTo>
                      <a:lnTo>
                        <a:pt x="292" y="247"/>
                      </a:lnTo>
                      <a:lnTo>
                        <a:pt x="292" y="247"/>
                      </a:lnTo>
                      <a:lnTo>
                        <a:pt x="284" y="247"/>
                      </a:lnTo>
                      <a:lnTo>
                        <a:pt x="277" y="248"/>
                      </a:lnTo>
                      <a:lnTo>
                        <a:pt x="262" y="255"/>
                      </a:lnTo>
                      <a:lnTo>
                        <a:pt x="249" y="264"/>
                      </a:lnTo>
                      <a:lnTo>
                        <a:pt x="236" y="275"/>
                      </a:lnTo>
                      <a:lnTo>
                        <a:pt x="236" y="275"/>
                      </a:lnTo>
                      <a:lnTo>
                        <a:pt x="227" y="288"/>
                      </a:lnTo>
                      <a:lnTo>
                        <a:pt x="227" y="288"/>
                      </a:lnTo>
                      <a:lnTo>
                        <a:pt x="217" y="275"/>
                      </a:lnTo>
                      <a:lnTo>
                        <a:pt x="217" y="275"/>
                      </a:lnTo>
                      <a:lnTo>
                        <a:pt x="204" y="264"/>
                      </a:lnTo>
                      <a:lnTo>
                        <a:pt x="190" y="255"/>
                      </a:lnTo>
                      <a:lnTo>
                        <a:pt x="176" y="248"/>
                      </a:lnTo>
                      <a:lnTo>
                        <a:pt x="168" y="247"/>
                      </a:lnTo>
                      <a:lnTo>
                        <a:pt x="162" y="247"/>
                      </a:lnTo>
                      <a:lnTo>
                        <a:pt x="162" y="247"/>
                      </a:lnTo>
                      <a:lnTo>
                        <a:pt x="152" y="248"/>
                      </a:lnTo>
                      <a:lnTo>
                        <a:pt x="144" y="250"/>
                      </a:lnTo>
                      <a:lnTo>
                        <a:pt x="136" y="255"/>
                      </a:lnTo>
                      <a:lnTo>
                        <a:pt x="130" y="260"/>
                      </a:lnTo>
                      <a:lnTo>
                        <a:pt x="130" y="260"/>
                      </a:lnTo>
                      <a:lnTo>
                        <a:pt x="124" y="269"/>
                      </a:lnTo>
                      <a:lnTo>
                        <a:pt x="119" y="279"/>
                      </a:lnTo>
                      <a:lnTo>
                        <a:pt x="117" y="291"/>
                      </a:lnTo>
                      <a:lnTo>
                        <a:pt x="117" y="302"/>
                      </a:lnTo>
                      <a:lnTo>
                        <a:pt x="120" y="317"/>
                      </a:lnTo>
                      <a:lnTo>
                        <a:pt x="125" y="329"/>
                      </a:lnTo>
                      <a:lnTo>
                        <a:pt x="133" y="342"/>
                      </a:lnTo>
                      <a:lnTo>
                        <a:pt x="143" y="353"/>
                      </a:lnTo>
                      <a:lnTo>
                        <a:pt x="143" y="353"/>
                      </a:lnTo>
                      <a:lnTo>
                        <a:pt x="155" y="366"/>
                      </a:lnTo>
                      <a:lnTo>
                        <a:pt x="170" y="375"/>
                      </a:lnTo>
                      <a:lnTo>
                        <a:pt x="184" y="380"/>
                      </a:lnTo>
                      <a:lnTo>
                        <a:pt x="190" y="382"/>
                      </a:lnTo>
                      <a:lnTo>
                        <a:pt x="198" y="382"/>
                      </a:lnTo>
                      <a:lnTo>
                        <a:pt x="198" y="382"/>
                      </a:lnTo>
                      <a:lnTo>
                        <a:pt x="204" y="382"/>
                      </a:lnTo>
                      <a:lnTo>
                        <a:pt x="211" y="380"/>
                      </a:lnTo>
                      <a:lnTo>
                        <a:pt x="211" y="561"/>
                      </a:lnTo>
                      <a:lnTo>
                        <a:pt x="160" y="561"/>
                      </a:lnTo>
                      <a:lnTo>
                        <a:pt x="160" y="561"/>
                      </a:lnTo>
                      <a:lnTo>
                        <a:pt x="155" y="539"/>
                      </a:lnTo>
                      <a:lnTo>
                        <a:pt x="149" y="516"/>
                      </a:lnTo>
                      <a:lnTo>
                        <a:pt x="139" y="496"/>
                      </a:lnTo>
                      <a:lnTo>
                        <a:pt x="130" y="475"/>
                      </a:lnTo>
                      <a:lnTo>
                        <a:pt x="111" y="443"/>
                      </a:lnTo>
                      <a:lnTo>
                        <a:pt x="98" y="424"/>
                      </a:lnTo>
                      <a:lnTo>
                        <a:pt x="98" y="424"/>
                      </a:lnTo>
                      <a:lnTo>
                        <a:pt x="97" y="423"/>
                      </a:lnTo>
                      <a:lnTo>
                        <a:pt x="97" y="423"/>
                      </a:lnTo>
                      <a:lnTo>
                        <a:pt x="82" y="402"/>
                      </a:lnTo>
                      <a:lnTo>
                        <a:pt x="70" y="380"/>
                      </a:lnTo>
                      <a:lnTo>
                        <a:pt x="57" y="358"/>
                      </a:lnTo>
                      <a:lnTo>
                        <a:pt x="48" y="336"/>
                      </a:lnTo>
                      <a:lnTo>
                        <a:pt x="41" y="312"/>
                      </a:lnTo>
                      <a:lnTo>
                        <a:pt x="35" y="288"/>
                      </a:lnTo>
                      <a:lnTo>
                        <a:pt x="32" y="264"/>
                      </a:lnTo>
                      <a:lnTo>
                        <a:pt x="30" y="240"/>
                      </a:lnTo>
                      <a:lnTo>
                        <a:pt x="30" y="240"/>
                      </a:lnTo>
                      <a:lnTo>
                        <a:pt x="32" y="220"/>
                      </a:lnTo>
                      <a:lnTo>
                        <a:pt x="35" y="199"/>
                      </a:lnTo>
                      <a:lnTo>
                        <a:pt x="40" y="179"/>
                      </a:lnTo>
                      <a:lnTo>
                        <a:pt x="46" y="160"/>
                      </a:lnTo>
                      <a:lnTo>
                        <a:pt x="54" y="142"/>
                      </a:lnTo>
                      <a:lnTo>
                        <a:pt x="63" y="125"/>
                      </a:lnTo>
                      <a:lnTo>
                        <a:pt x="75" y="109"/>
                      </a:lnTo>
                      <a:lnTo>
                        <a:pt x="87" y="93"/>
                      </a:lnTo>
                      <a:lnTo>
                        <a:pt x="101" y="80"/>
                      </a:lnTo>
                      <a:lnTo>
                        <a:pt x="117" y="68"/>
                      </a:lnTo>
                      <a:lnTo>
                        <a:pt x="133" y="58"/>
                      </a:lnTo>
                      <a:lnTo>
                        <a:pt x="151" y="49"/>
                      </a:lnTo>
                      <a:lnTo>
                        <a:pt x="168" y="42"/>
                      </a:lnTo>
                      <a:lnTo>
                        <a:pt x="187" y="38"/>
                      </a:lnTo>
                      <a:lnTo>
                        <a:pt x="206" y="34"/>
                      </a:lnTo>
                      <a:lnTo>
                        <a:pt x="227" y="33"/>
                      </a:lnTo>
                      <a:lnTo>
                        <a:pt x="227" y="33"/>
                      </a:lnTo>
                      <a:lnTo>
                        <a:pt x="246" y="34"/>
                      </a:lnTo>
                      <a:lnTo>
                        <a:pt x="265" y="38"/>
                      </a:lnTo>
                      <a:lnTo>
                        <a:pt x="284" y="42"/>
                      </a:lnTo>
                      <a:lnTo>
                        <a:pt x="303" y="49"/>
                      </a:lnTo>
                      <a:lnTo>
                        <a:pt x="319" y="58"/>
                      </a:lnTo>
                      <a:lnTo>
                        <a:pt x="336" y="68"/>
                      </a:lnTo>
                      <a:lnTo>
                        <a:pt x="350" y="80"/>
                      </a:lnTo>
                      <a:lnTo>
                        <a:pt x="365" y="93"/>
                      </a:lnTo>
                      <a:lnTo>
                        <a:pt x="377" y="109"/>
                      </a:lnTo>
                      <a:lnTo>
                        <a:pt x="388" y="125"/>
                      </a:lnTo>
                      <a:lnTo>
                        <a:pt x="398" y="142"/>
                      </a:lnTo>
                      <a:lnTo>
                        <a:pt x="406" y="160"/>
                      </a:lnTo>
                      <a:lnTo>
                        <a:pt x="412" y="179"/>
                      </a:lnTo>
                      <a:lnTo>
                        <a:pt x="418" y="199"/>
                      </a:lnTo>
                      <a:lnTo>
                        <a:pt x="420" y="220"/>
                      </a:lnTo>
                      <a:lnTo>
                        <a:pt x="422" y="240"/>
                      </a:lnTo>
                      <a:lnTo>
                        <a:pt x="422" y="240"/>
                      </a:lnTo>
                      <a:lnTo>
                        <a:pt x="420" y="264"/>
                      </a:lnTo>
                      <a:lnTo>
                        <a:pt x="417" y="286"/>
                      </a:lnTo>
                      <a:lnTo>
                        <a:pt x="412" y="312"/>
                      </a:lnTo>
                      <a:lnTo>
                        <a:pt x="404" y="334"/>
                      </a:lnTo>
                      <a:lnTo>
                        <a:pt x="395" y="358"/>
                      </a:lnTo>
                      <a:lnTo>
                        <a:pt x="384" y="380"/>
                      </a:lnTo>
                      <a:lnTo>
                        <a:pt x="371" y="402"/>
                      </a:lnTo>
                      <a:lnTo>
                        <a:pt x="355" y="421"/>
                      </a:lnTo>
                      <a:close/>
                      <a:moveTo>
                        <a:pt x="300" y="735"/>
                      </a:moveTo>
                      <a:lnTo>
                        <a:pt x="277" y="735"/>
                      </a:lnTo>
                      <a:lnTo>
                        <a:pt x="277" y="735"/>
                      </a:lnTo>
                      <a:lnTo>
                        <a:pt x="271" y="737"/>
                      </a:lnTo>
                      <a:lnTo>
                        <a:pt x="266" y="741"/>
                      </a:lnTo>
                      <a:lnTo>
                        <a:pt x="241" y="772"/>
                      </a:lnTo>
                      <a:lnTo>
                        <a:pt x="211" y="772"/>
                      </a:lnTo>
                      <a:lnTo>
                        <a:pt x="185" y="741"/>
                      </a:lnTo>
                      <a:lnTo>
                        <a:pt x="185" y="741"/>
                      </a:lnTo>
                      <a:lnTo>
                        <a:pt x="181" y="737"/>
                      </a:lnTo>
                      <a:lnTo>
                        <a:pt x="174" y="735"/>
                      </a:lnTo>
                      <a:lnTo>
                        <a:pt x="154" y="735"/>
                      </a:lnTo>
                      <a:lnTo>
                        <a:pt x="154" y="592"/>
                      </a:lnTo>
                      <a:lnTo>
                        <a:pt x="300" y="592"/>
                      </a:lnTo>
                      <a:lnTo>
                        <a:pt x="300" y="735"/>
                      </a:lnTo>
                      <a:close/>
                      <a:moveTo>
                        <a:pt x="227" y="0"/>
                      </a:moveTo>
                      <a:lnTo>
                        <a:pt x="227" y="0"/>
                      </a:lnTo>
                      <a:lnTo>
                        <a:pt x="203" y="1"/>
                      </a:lnTo>
                      <a:lnTo>
                        <a:pt x="181" y="4"/>
                      </a:lnTo>
                      <a:lnTo>
                        <a:pt x="159" y="11"/>
                      </a:lnTo>
                      <a:lnTo>
                        <a:pt x="138" y="19"/>
                      </a:lnTo>
                      <a:lnTo>
                        <a:pt x="119" y="30"/>
                      </a:lnTo>
                      <a:lnTo>
                        <a:pt x="100" y="41"/>
                      </a:lnTo>
                      <a:lnTo>
                        <a:pt x="82" y="55"/>
                      </a:lnTo>
                      <a:lnTo>
                        <a:pt x="67" y="71"/>
                      </a:lnTo>
                      <a:lnTo>
                        <a:pt x="52" y="87"/>
                      </a:lnTo>
                      <a:lnTo>
                        <a:pt x="38" y="106"/>
                      </a:lnTo>
                      <a:lnTo>
                        <a:pt x="27" y="126"/>
                      </a:lnTo>
                      <a:lnTo>
                        <a:pt x="17" y="147"/>
                      </a:lnTo>
                      <a:lnTo>
                        <a:pt x="10" y="169"/>
                      </a:lnTo>
                      <a:lnTo>
                        <a:pt x="5" y="191"/>
                      </a:lnTo>
                      <a:lnTo>
                        <a:pt x="2" y="215"/>
                      </a:lnTo>
                      <a:lnTo>
                        <a:pt x="0" y="240"/>
                      </a:lnTo>
                      <a:lnTo>
                        <a:pt x="0" y="240"/>
                      </a:lnTo>
                      <a:lnTo>
                        <a:pt x="2" y="266"/>
                      </a:lnTo>
                      <a:lnTo>
                        <a:pt x="5" y="293"/>
                      </a:lnTo>
                      <a:lnTo>
                        <a:pt x="11" y="320"/>
                      </a:lnTo>
                      <a:lnTo>
                        <a:pt x="19" y="345"/>
                      </a:lnTo>
                      <a:lnTo>
                        <a:pt x="30" y="370"/>
                      </a:lnTo>
                      <a:lnTo>
                        <a:pt x="41" y="396"/>
                      </a:lnTo>
                      <a:lnTo>
                        <a:pt x="56" y="420"/>
                      </a:lnTo>
                      <a:lnTo>
                        <a:pt x="71" y="442"/>
                      </a:lnTo>
                      <a:lnTo>
                        <a:pt x="71" y="442"/>
                      </a:lnTo>
                      <a:lnTo>
                        <a:pt x="73" y="443"/>
                      </a:lnTo>
                      <a:lnTo>
                        <a:pt x="73" y="443"/>
                      </a:lnTo>
                      <a:lnTo>
                        <a:pt x="81" y="454"/>
                      </a:lnTo>
                      <a:lnTo>
                        <a:pt x="98" y="483"/>
                      </a:lnTo>
                      <a:lnTo>
                        <a:pt x="109" y="502"/>
                      </a:lnTo>
                      <a:lnTo>
                        <a:pt x="117" y="521"/>
                      </a:lnTo>
                      <a:lnTo>
                        <a:pt x="125" y="542"/>
                      </a:lnTo>
                      <a:lnTo>
                        <a:pt x="130" y="562"/>
                      </a:lnTo>
                      <a:lnTo>
                        <a:pt x="130" y="562"/>
                      </a:lnTo>
                      <a:lnTo>
                        <a:pt x="127" y="565"/>
                      </a:lnTo>
                      <a:lnTo>
                        <a:pt x="125" y="569"/>
                      </a:lnTo>
                      <a:lnTo>
                        <a:pt x="124" y="572"/>
                      </a:lnTo>
                      <a:lnTo>
                        <a:pt x="122" y="577"/>
                      </a:lnTo>
                      <a:lnTo>
                        <a:pt x="122" y="753"/>
                      </a:lnTo>
                      <a:lnTo>
                        <a:pt x="122" y="753"/>
                      </a:lnTo>
                      <a:lnTo>
                        <a:pt x="124" y="759"/>
                      </a:lnTo>
                      <a:lnTo>
                        <a:pt x="127" y="764"/>
                      </a:lnTo>
                      <a:lnTo>
                        <a:pt x="132" y="767"/>
                      </a:lnTo>
                      <a:lnTo>
                        <a:pt x="138" y="768"/>
                      </a:lnTo>
                      <a:lnTo>
                        <a:pt x="168" y="768"/>
                      </a:lnTo>
                      <a:lnTo>
                        <a:pt x="192" y="800"/>
                      </a:lnTo>
                      <a:lnTo>
                        <a:pt x="192" y="800"/>
                      </a:lnTo>
                      <a:lnTo>
                        <a:pt x="197" y="803"/>
                      </a:lnTo>
                      <a:lnTo>
                        <a:pt x="203" y="805"/>
                      </a:lnTo>
                      <a:lnTo>
                        <a:pt x="249" y="805"/>
                      </a:lnTo>
                      <a:lnTo>
                        <a:pt x="249" y="805"/>
                      </a:lnTo>
                      <a:lnTo>
                        <a:pt x="255" y="803"/>
                      </a:lnTo>
                      <a:lnTo>
                        <a:pt x="260" y="800"/>
                      </a:lnTo>
                      <a:lnTo>
                        <a:pt x="285" y="768"/>
                      </a:lnTo>
                      <a:lnTo>
                        <a:pt x="314" y="768"/>
                      </a:lnTo>
                      <a:lnTo>
                        <a:pt x="314" y="768"/>
                      </a:lnTo>
                      <a:lnTo>
                        <a:pt x="320" y="767"/>
                      </a:lnTo>
                      <a:lnTo>
                        <a:pt x="325" y="764"/>
                      </a:lnTo>
                      <a:lnTo>
                        <a:pt x="328" y="759"/>
                      </a:lnTo>
                      <a:lnTo>
                        <a:pt x="330" y="753"/>
                      </a:lnTo>
                      <a:lnTo>
                        <a:pt x="330" y="577"/>
                      </a:lnTo>
                      <a:lnTo>
                        <a:pt x="330" y="577"/>
                      </a:lnTo>
                      <a:lnTo>
                        <a:pt x="330" y="573"/>
                      </a:lnTo>
                      <a:lnTo>
                        <a:pt x="328" y="569"/>
                      </a:lnTo>
                      <a:lnTo>
                        <a:pt x="323" y="564"/>
                      </a:lnTo>
                      <a:lnTo>
                        <a:pt x="323" y="564"/>
                      </a:lnTo>
                      <a:lnTo>
                        <a:pt x="328" y="543"/>
                      </a:lnTo>
                      <a:lnTo>
                        <a:pt x="334" y="523"/>
                      </a:lnTo>
                      <a:lnTo>
                        <a:pt x="344" y="502"/>
                      </a:lnTo>
                      <a:lnTo>
                        <a:pt x="353" y="483"/>
                      </a:lnTo>
                      <a:lnTo>
                        <a:pt x="372" y="454"/>
                      </a:lnTo>
                      <a:lnTo>
                        <a:pt x="380" y="443"/>
                      </a:lnTo>
                      <a:lnTo>
                        <a:pt x="380" y="443"/>
                      </a:lnTo>
                      <a:lnTo>
                        <a:pt x="382" y="439"/>
                      </a:lnTo>
                      <a:lnTo>
                        <a:pt x="382" y="439"/>
                      </a:lnTo>
                      <a:lnTo>
                        <a:pt x="398" y="418"/>
                      </a:lnTo>
                      <a:lnTo>
                        <a:pt x="412" y="394"/>
                      </a:lnTo>
                      <a:lnTo>
                        <a:pt x="423" y="369"/>
                      </a:lnTo>
                      <a:lnTo>
                        <a:pt x="433" y="344"/>
                      </a:lnTo>
                      <a:lnTo>
                        <a:pt x="442" y="318"/>
                      </a:lnTo>
                      <a:lnTo>
                        <a:pt x="447" y="293"/>
                      </a:lnTo>
                      <a:lnTo>
                        <a:pt x="450" y="266"/>
                      </a:lnTo>
                      <a:lnTo>
                        <a:pt x="452" y="240"/>
                      </a:lnTo>
                      <a:lnTo>
                        <a:pt x="452" y="240"/>
                      </a:lnTo>
                      <a:lnTo>
                        <a:pt x="450" y="215"/>
                      </a:lnTo>
                      <a:lnTo>
                        <a:pt x="447" y="191"/>
                      </a:lnTo>
                      <a:lnTo>
                        <a:pt x="442" y="169"/>
                      </a:lnTo>
                      <a:lnTo>
                        <a:pt x="434" y="147"/>
                      </a:lnTo>
                      <a:lnTo>
                        <a:pt x="425" y="126"/>
                      </a:lnTo>
                      <a:lnTo>
                        <a:pt x="414" y="106"/>
                      </a:lnTo>
                      <a:lnTo>
                        <a:pt x="401" y="87"/>
                      </a:lnTo>
                      <a:lnTo>
                        <a:pt x="385" y="71"/>
                      </a:lnTo>
                      <a:lnTo>
                        <a:pt x="369" y="55"/>
                      </a:lnTo>
                      <a:lnTo>
                        <a:pt x="352" y="41"/>
                      </a:lnTo>
                      <a:lnTo>
                        <a:pt x="334" y="30"/>
                      </a:lnTo>
                      <a:lnTo>
                        <a:pt x="314" y="19"/>
                      </a:lnTo>
                      <a:lnTo>
                        <a:pt x="293" y="11"/>
                      </a:lnTo>
                      <a:lnTo>
                        <a:pt x="271" y="4"/>
                      </a:lnTo>
                      <a:lnTo>
                        <a:pt x="249" y="1"/>
                      </a:lnTo>
                      <a:lnTo>
                        <a:pt x="227"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a:defRPr/>
                  </a:pPr>
                  <a:endParaRPr lang="en-US" kern="0" dirty="0">
                    <a:solidFill>
                      <a:srgbClr val="7F7F7F"/>
                    </a:solidFill>
                    <a:latin typeface="Calibri"/>
                  </a:endParaRPr>
                </a:p>
              </p:txBody>
            </p:sp>
            <p:grpSp>
              <p:nvGrpSpPr>
                <p:cNvPr id="83" name="Group 82"/>
                <p:cNvGrpSpPr/>
                <p:nvPr/>
              </p:nvGrpSpPr>
              <p:grpSpPr>
                <a:xfrm>
                  <a:off x="1660191" y="1729441"/>
                  <a:ext cx="293805" cy="293805"/>
                  <a:chOff x="2794076" y="1802439"/>
                  <a:chExt cx="293805" cy="293805"/>
                </a:xfrm>
              </p:grpSpPr>
              <p:sp>
                <p:nvSpPr>
                  <p:cNvPr id="82" name="Oval 81"/>
                  <p:cNvSpPr/>
                  <p:nvPr/>
                </p:nvSpPr>
                <p:spPr>
                  <a:xfrm>
                    <a:off x="2887012" y="1890121"/>
                    <a:ext cx="118866" cy="11886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prstClr val="white"/>
                      </a:solidFill>
                      <a:latin typeface="Calibri"/>
                    </a:endParaRPr>
                  </a:p>
                </p:txBody>
              </p:sp>
              <p:sp>
                <p:nvSpPr>
                  <p:cNvPr id="81" name="8-Point Star 18"/>
                  <p:cNvSpPr/>
                  <p:nvPr/>
                </p:nvSpPr>
                <p:spPr>
                  <a:xfrm rot="20024235" flipH="1">
                    <a:off x="2794076" y="1802439"/>
                    <a:ext cx="293805" cy="293805"/>
                  </a:xfrm>
                  <a:custGeom>
                    <a:avLst/>
                    <a:gdLst/>
                    <a:ahLst/>
                    <a:cxnLst/>
                    <a:rect l="l" t="t" r="r" b="b"/>
                    <a:pathLst>
                      <a:path w="3040380" h="3040380">
                        <a:moveTo>
                          <a:pt x="1520190" y="971550"/>
                        </a:moveTo>
                        <a:cubicBezTo>
                          <a:pt x="1217184" y="971550"/>
                          <a:pt x="971550" y="1217184"/>
                          <a:pt x="971550" y="1520190"/>
                        </a:cubicBezTo>
                        <a:cubicBezTo>
                          <a:pt x="971550" y="1823196"/>
                          <a:pt x="1217184" y="2068830"/>
                          <a:pt x="1520190" y="2068830"/>
                        </a:cubicBezTo>
                        <a:cubicBezTo>
                          <a:pt x="1823196" y="2068830"/>
                          <a:pt x="2068830" y="1823196"/>
                          <a:pt x="2068830" y="1520190"/>
                        </a:cubicBezTo>
                        <a:cubicBezTo>
                          <a:pt x="2068830" y="1217184"/>
                          <a:pt x="1823196" y="971550"/>
                          <a:pt x="1520190" y="971550"/>
                        </a:cubicBezTo>
                        <a:close/>
                        <a:moveTo>
                          <a:pt x="1520190" y="0"/>
                        </a:moveTo>
                        <a:cubicBezTo>
                          <a:pt x="1586792" y="0"/>
                          <a:pt x="1652393" y="4283"/>
                          <a:pt x="1716539" y="14094"/>
                        </a:cubicBezTo>
                        <a:lnTo>
                          <a:pt x="1824743" y="350145"/>
                        </a:lnTo>
                        <a:cubicBezTo>
                          <a:pt x="1933334" y="374378"/>
                          <a:pt x="2037036" y="417195"/>
                          <a:pt x="2131002" y="478094"/>
                        </a:cubicBezTo>
                        <a:lnTo>
                          <a:pt x="2446152" y="316463"/>
                        </a:lnTo>
                        <a:cubicBezTo>
                          <a:pt x="2551357" y="395501"/>
                          <a:pt x="2644879" y="489023"/>
                          <a:pt x="2723917" y="594229"/>
                        </a:cubicBezTo>
                        <a:lnTo>
                          <a:pt x="2564636" y="904796"/>
                        </a:lnTo>
                        <a:cubicBezTo>
                          <a:pt x="2569646" y="911341"/>
                          <a:pt x="2573744" y="918462"/>
                          <a:pt x="2577779" y="925640"/>
                        </a:cubicBezTo>
                        <a:cubicBezTo>
                          <a:pt x="2630072" y="1018660"/>
                          <a:pt x="2668781" y="1115626"/>
                          <a:pt x="2689512" y="1215405"/>
                        </a:cubicBezTo>
                        <a:lnTo>
                          <a:pt x="3026287" y="1323842"/>
                        </a:lnTo>
                        <a:cubicBezTo>
                          <a:pt x="3036097" y="1387988"/>
                          <a:pt x="3040380" y="1453589"/>
                          <a:pt x="3040380" y="1520190"/>
                        </a:cubicBezTo>
                        <a:cubicBezTo>
                          <a:pt x="3040380" y="1586792"/>
                          <a:pt x="3036097" y="1652393"/>
                          <a:pt x="3026287" y="1716539"/>
                        </a:cubicBezTo>
                        <a:lnTo>
                          <a:pt x="2690239" y="1824742"/>
                        </a:lnTo>
                        <a:cubicBezTo>
                          <a:pt x="2666005" y="1933335"/>
                          <a:pt x="2623188" y="2037037"/>
                          <a:pt x="2562287" y="2131005"/>
                        </a:cubicBezTo>
                        <a:lnTo>
                          <a:pt x="2723917" y="2446152"/>
                        </a:lnTo>
                        <a:cubicBezTo>
                          <a:pt x="2644879" y="2551357"/>
                          <a:pt x="2551357" y="2644879"/>
                          <a:pt x="2446151" y="2723917"/>
                        </a:cubicBezTo>
                        <a:lnTo>
                          <a:pt x="2135585" y="2564637"/>
                        </a:lnTo>
                        <a:cubicBezTo>
                          <a:pt x="2129042" y="2569647"/>
                          <a:pt x="2121921" y="2573744"/>
                          <a:pt x="2114744" y="2577779"/>
                        </a:cubicBezTo>
                        <a:cubicBezTo>
                          <a:pt x="2021723" y="2630072"/>
                          <a:pt x="1924755" y="2668781"/>
                          <a:pt x="1824976" y="2689511"/>
                        </a:cubicBezTo>
                        <a:lnTo>
                          <a:pt x="1716539" y="3026287"/>
                        </a:lnTo>
                        <a:cubicBezTo>
                          <a:pt x="1652393" y="3036097"/>
                          <a:pt x="1586792" y="3040380"/>
                          <a:pt x="1520190" y="3040380"/>
                        </a:cubicBezTo>
                        <a:cubicBezTo>
                          <a:pt x="1453589" y="3040380"/>
                          <a:pt x="1387987" y="3036097"/>
                          <a:pt x="1323841" y="3026287"/>
                        </a:cubicBezTo>
                        <a:lnTo>
                          <a:pt x="1215638" y="2690237"/>
                        </a:lnTo>
                        <a:cubicBezTo>
                          <a:pt x="1107045" y="2666005"/>
                          <a:pt x="1003344" y="2623186"/>
                          <a:pt x="909378" y="2562286"/>
                        </a:cubicBezTo>
                        <a:lnTo>
                          <a:pt x="594229" y="2723917"/>
                        </a:lnTo>
                        <a:cubicBezTo>
                          <a:pt x="489023" y="2644879"/>
                          <a:pt x="395501" y="2551357"/>
                          <a:pt x="316463" y="2446152"/>
                        </a:cubicBezTo>
                        <a:lnTo>
                          <a:pt x="475745" y="2135582"/>
                        </a:lnTo>
                        <a:cubicBezTo>
                          <a:pt x="470736" y="2129039"/>
                          <a:pt x="466639" y="2121919"/>
                          <a:pt x="462604" y="2114742"/>
                        </a:cubicBezTo>
                        <a:cubicBezTo>
                          <a:pt x="410311" y="2021723"/>
                          <a:pt x="371603" y="1924756"/>
                          <a:pt x="350872" y="1824977"/>
                        </a:cubicBezTo>
                        <a:lnTo>
                          <a:pt x="14094" y="1716539"/>
                        </a:lnTo>
                        <a:cubicBezTo>
                          <a:pt x="4283" y="1652393"/>
                          <a:pt x="0" y="1586792"/>
                          <a:pt x="0" y="1520190"/>
                        </a:cubicBezTo>
                        <a:cubicBezTo>
                          <a:pt x="0" y="1453589"/>
                          <a:pt x="4283" y="1387988"/>
                          <a:pt x="14093" y="1323841"/>
                        </a:cubicBezTo>
                        <a:lnTo>
                          <a:pt x="350147" y="1215637"/>
                        </a:lnTo>
                        <a:cubicBezTo>
                          <a:pt x="374379" y="1107046"/>
                          <a:pt x="417197" y="1003347"/>
                          <a:pt x="478096" y="909381"/>
                        </a:cubicBezTo>
                        <a:lnTo>
                          <a:pt x="316464" y="594228"/>
                        </a:lnTo>
                        <a:cubicBezTo>
                          <a:pt x="395501" y="489023"/>
                          <a:pt x="489023" y="395501"/>
                          <a:pt x="594229" y="316463"/>
                        </a:cubicBezTo>
                        <a:lnTo>
                          <a:pt x="904800" y="475746"/>
                        </a:lnTo>
                        <a:cubicBezTo>
                          <a:pt x="911343" y="470736"/>
                          <a:pt x="918463" y="466639"/>
                          <a:pt x="925641" y="462604"/>
                        </a:cubicBezTo>
                        <a:cubicBezTo>
                          <a:pt x="1018661" y="410311"/>
                          <a:pt x="1115626" y="371603"/>
                          <a:pt x="1215403" y="350873"/>
                        </a:cubicBezTo>
                        <a:lnTo>
                          <a:pt x="1323841" y="14093"/>
                        </a:lnTo>
                        <a:cubicBezTo>
                          <a:pt x="1387988" y="4283"/>
                          <a:pt x="1453589" y="0"/>
                          <a:pt x="1520190" y="0"/>
                        </a:cubicBezTo>
                        <a:close/>
                      </a:path>
                    </a:pathLst>
                  </a:custGeom>
                  <a:solidFill>
                    <a:schemeClr val="bg1"/>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rgbClr val="0083BE"/>
                      </a:solidFill>
                      <a:latin typeface="Calibri" panose="020F0502020204030204"/>
                    </a:endParaRPr>
                  </a:p>
                </p:txBody>
              </p:sp>
            </p:grpSp>
          </p:grpSp>
        </p:grpSp>
      </p:grpSp>
      <p:grpSp>
        <p:nvGrpSpPr>
          <p:cNvPr id="15" name="Group 14">
            <a:extLst>
              <a:ext uri="{FF2B5EF4-FFF2-40B4-BE49-F238E27FC236}">
                <a16:creationId xmlns:a16="http://schemas.microsoft.com/office/drawing/2014/main" id="{FEA62759-58DE-44B3-839B-FB9AB03C901A}"/>
              </a:ext>
            </a:extLst>
          </p:cNvPr>
          <p:cNvGrpSpPr/>
          <p:nvPr/>
        </p:nvGrpSpPr>
        <p:grpSpPr>
          <a:xfrm>
            <a:off x="2004060" y="1163056"/>
            <a:ext cx="3840480" cy="4551944"/>
            <a:chOff x="457200" y="1163056"/>
            <a:chExt cx="3840480" cy="4551944"/>
          </a:xfrm>
        </p:grpSpPr>
        <p:sp>
          <p:nvSpPr>
            <p:cNvPr id="8" name="Rectangle 7"/>
            <p:cNvSpPr/>
            <p:nvPr/>
          </p:nvSpPr>
          <p:spPr>
            <a:xfrm>
              <a:off x="457200" y="2591317"/>
              <a:ext cx="3840480" cy="707886"/>
            </a:xfrm>
            <a:prstGeom prst="rect">
              <a:avLst/>
            </a:prstGeom>
          </p:spPr>
          <p:txBody>
            <a:bodyPr wrap="square">
              <a:spAutoFit/>
            </a:bodyPr>
            <a:lstStyle/>
            <a:p>
              <a:pPr algn="ctr"/>
              <a:r>
                <a:rPr lang="en-US" sz="2000" b="1" dirty="0">
                  <a:solidFill>
                    <a:srgbClr val="000000"/>
                  </a:solidFill>
                  <a:latin typeface="Calibri"/>
                </a:rPr>
                <a:t>Features of VALERI </a:t>
              </a:r>
            </a:p>
            <a:p>
              <a:pPr algn="ctr"/>
              <a:r>
                <a:rPr lang="en-US" sz="2000" b="1" dirty="0">
                  <a:solidFill>
                    <a:srgbClr val="000000"/>
                  </a:solidFill>
                  <a:latin typeface="Calibri"/>
                </a:rPr>
                <a:t>Modernization</a:t>
              </a:r>
              <a:endParaRPr lang="en-US" sz="2400" b="1" dirty="0">
                <a:solidFill>
                  <a:srgbClr val="000000"/>
                </a:solidFill>
                <a:latin typeface="Calibri"/>
              </a:endParaRPr>
            </a:p>
          </p:txBody>
        </p:sp>
        <p:cxnSp>
          <p:nvCxnSpPr>
            <p:cNvPr id="68" name="Straight Connector 67"/>
            <p:cNvCxnSpPr>
              <a:cxnSpLocks/>
            </p:cNvCxnSpPr>
            <p:nvPr/>
          </p:nvCxnSpPr>
          <p:spPr>
            <a:xfrm>
              <a:off x="457200" y="3378380"/>
              <a:ext cx="3840480" cy="0"/>
            </a:xfrm>
            <a:prstGeom prst="line">
              <a:avLst/>
            </a:prstGeom>
            <a:noFill/>
            <a:ln w="19050" cap="flat" cmpd="sng" algn="ctr">
              <a:solidFill>
                <a:schemeClr val="accent5"/>
              </a:solidFill>
              <a:prstDash val="solid"/>
            </a:ln>
            <a:effectLst/>
          </p:spPr>
        </p:cxnSp>
        <p:sp>
          <p:nvSpPr>
            <p:cNvPr id="71" name="Text Placeholder 2"/>
            <p:cNvSpPr txBox="1">
              <a:spLocks/>
            </p:cNvSpPr>
            <p:nvPr/>
          </p:nvSpPr>
          <p:spPr>
            <a:xfrm>
              <a:off x="457200" y="3581400"/>
              <a:ext cx="3840480" cy="2133600"/>
            </a:xfrm>
            <a:prstGeom prst="rect">
              <a:avLst/>
            </a:prstGeom>
          </p:spPr>
          <p:txBody>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Self Service capabilities and functionality</a:t>
              </a:r>
            </a:p>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Transparent Case Management through one solution</a:t>
              </a:r>
            </a:p>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Training, education, and program information included</a:t>
              </a:r>
            </a:p>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eLearning – available anytime, anywhere</a:t>
              </a:r>
            </a:p>
            <a:p>
              <a:pPr marL="228600" indent="-228600">
                <a:spcBef>
                  <a:spcPts val="600"/>
                </a:spcBef>
                <a:buClr>
                  <a:srgbClr val="C62630"/>
                </a:buClr>
                <a:defRPr/>
              </a:pPr>
              <a:r>
                <a:rPr lang="en-US" sz="1600" dirty="0">
                  <a:solidFill>
                    <a:srgbClr val="3C3C3B"/>
                  </a:solidFill>
                  <a:latin typeface="Calibri" panose="020F0502020204030204" pitchFamily="34" charset="0"/>
                  <a:cs typeface="Calibri" panose="020F0502020204030204" pitchFamily="34" charset="0"/>
                </a:rPr>
                <a:t>Web portal (information portal)</a:t>
              </a:r>
            </a:p>
            <a:p>
              <a:pPr marL="228600" indent="-228600">
                <a:spcBef>
                  <a:spcPts val="600"/>
                </a:spcBef>
                <a:buClr>
                  <a:srgbClr val="C62630"/>
                </a:buClr>
                <a:defRPr/>
              </a:pPr>
              <a:endParaRPr lang="en-US" sz="1600" dirty="0">
                <a:solidFill>
                  <a:srgbClr val="3C3C3B"/>
                </a:solidFill>
                <a:latin typeface="Calibri" panose="020F0502020204030204" pitchFamily="34" charset="0"/>
                <a:cs typeface="Calibri" panose="020F0502020204030204" pitchFamily="34" charset="0"/>
              </a:endParaRPr>
            </a:p>
            <a:p>
              <a:pPr marL="0" indent="0">
                <a:spcBef>
                  <a:spcPts val="600"/>
                </a:spcBef>
                <a:buClr>
                  <a:srgbClr val="C62630"/>
                </a:buClr>
                <a:buNone/>
                <a:defRPr/>
              </a:pPr>
              <a:endParaRPr lang="en-US" sz="1600" dirty="0">
                <a:solidFill>
                  <a:srgbClr val="3C3C3B"/>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230E8968-8323-40C9-9C68-3AA95793946D}"/>
                </a:ext>
              </a:extLst>
            </p:cNvPr>
            <p:cNvGrpSpPr/>
            <p:nvPr/>
          </p:nvGrpSpPr>
          <p:grpSpPr>
            <a:xfrm>
              <a:off x="1763401" y="1163056"/>
              <a:ext cx="1228079" cy="1232224"/>
              <a:chOff x="1824362" y="958024"/>
              <a:chExt cx="1228079" cy="1232224"/>
            </a:xfrm>
          </p:grpSpPr>
          <p:sp>
            <p:nvSpPr>
              <p:cNvPr id="76" name="Oval 75"/>
              <p:cNvSpPr/>
              <p:nvPr/>
            </p:nvSpPr>
            <p:spPr>
              <a:xfrm>
                <a:off x="1824362" y="958024"/>
                <a:ext cx="1228079" cy="1232224"/>
              </a:xfrm>
              <a:prstGeom prst="ellipse">
                <a:avLst/>
              </a:prstGeom>
              <a:solidFill>
                <a:schemeClr val="accent1"/>
              </a:solidFill>
              <a:ln w="28575" cap="flat" cmpd="sng" algn="ctr">
                <a:noFill/>
                <a:prstDash val="solid"/>
              </a:ln>
              <a:effectLst/>
            </p:spPr>
            <p:txBody>
              <a:bodyPr rtlCol="0" anchor="ctr"/>
              <a:lstStyle/>
              <a:p>
                <a:pPr algn="ctr">
                  <a:defRPr/>
                </a:pPr>
                <a:endParaRPr lang="en-US" sz="900" b="1" kern="0" dirty="0">
                  <a:solidFill>
                    <a:srgbClr val="FFFFFF"/>
                  </a:solidFill>
                  <a:latin typeface="Calibri"/>
                </a:endParaRPr>
              </a:p>
            </p:txBody>
          </p:sp>
          <p:pic>
            <p:nvPicPr>
              <p:cNvPr id="87" name="Picture 86"/>
              <p:cNvPicPr>
                <a:picLocks noChangeAspect="1"/>
              </p:cNvPicPr>
              <p:nvPr/>
            </p:nvPicPr>
            <p:blipFill>
              <a:blip r:embed="rId3">
                <a:lum bright="70000" contrast="-70000"/>
              </a:blip>
              <a:stretch>
                <a:fillRect/>
              </a:stretch>
            </p:blipFill>
            <p:spPr>
              <a:xfrm>
                <a:off x="1944582" y="1080317"/>
                <a:ext cx="987638" cy="987638"/>
              </a:xfrm>
              <a:prstGeom prst="rect">
                <a:avLst/>
              </a:prstGeom>
            </p:spPr>
          </p:pic>
        </p:grpSp>
      </p:grpSp>
      <p:pic>
        <p:nvPicPr>
          <p:cNvPr id="24" name="Picture 2" descr="C:\Users\vacoGrovem\AppData\Local\Microsoft\Windows\Temporary Internet Files\Content.Outlook\83QVOJUE\CHOOSE-VA-rev.png">
            <a:extLst>
              <a:ext uri="{FF2B5EF4-FFF2-40B4-BE49-F238E27FC236}">
                <a16:creationId xmlns:a16="http://schemas.microsoft.com/office/drawing/2014/main" id="{F5880AB0-2E0A-4764-A374-7D4FE5274E8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76003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C5A3FB9-9E1F-42EA-A929-947A46A33467}"/>
              </a:ext>
            </a:extLst>
          </p:cNvPr>
          <p:cNvSpPr>
            <a:spLocks noGrp="1"/>
          </p:cNvSpPr>
          <p:nvPr>
            <p:ph type="sldNum" sz="quarter" idx="12"/>
          </p:nvPr>
        </p:nvSpPr>
        <p:spPr/>
        <p:txBody>
          <a:bodyPr/>
          <a:lstStyle/>
          <a:p>
            <a:fld id="{D983F1FA-211D-3044-9E35-958DFBC26156}" type="slidenum">
              <a:rPr lang="en-US">
                <a:solidFill>
                  <a:prstClr val="white"/>
                </a:solidFill>
                <a:latin typeface="Calibri"/>
              </a:rPr>
              <a:pPr/>
              <a:t>15</a:t>
            </a:fld>
            <a:endParaRPr lang="en-US" dirty="0">
              <a:solidFill>
                <a:prstClr val="white"/>
              </a:solidFill>
              <a:latin typeface="Calibri"/>
            </a:endParaRPr>
          </a:p>
        </p:txBody>
      </p:sp>
      <p:sp>
        <p:nvSpPr>
          <p:cNvPr id="4" name="Title 3">
            <a:extLst>
              <a:ext uri="{FF2B5EF4-FFF2-40B4-BE49-F238E27FC236}">
                <a16:creationId xmlns:a16="http://schemas.microsoft.com/office/drawing/2014/main" id="{17FCB032-0429-4258-B22B-D10460B3FAB4}"/>
              </a:ext>
            </a:extLst>
          </p:cNvPr>
          <p:cNvSpPr>
            <a:spLocks noGrp="1"/>
          </p:cNvSpPr>
          <p:nvPr>
            <p:ph type="title"/>
          </p:nvPr>
        </p:nvSpPr>
        <p:spPr/>
        <p:txBody>
          <a:bodyPr/>
          <a:lstStyle/>
          <a:p>
            <a:r>
              <a:rPr lang="en-US" dirty="0"/>
              <a:t>Combined Timeline of Upcoming Activities</a:t>
            </a:r>
          </a:p>
        </p:txBody>
      </p:sp>
      <p:graphicFrame>
        <p:nvGraphicFramePr>
          <p:cNvPr id="5" name="Content Placeholder 4">
            <a:extLst>
              <a:ext uri="{FF2B5EF4-FFF2-40B4-BE49-F238E27FC236}">
                <a16:creationId xmlns:a16="http://schemas.microsoft.com/office/drawing/2014/main" id="{00DE0C25-58D0-4261-B177-21EE1FE62BD0}"/>
              </a:ext>
            </a:extLst>
          </p:cNvPr>
          <p:cNvGraphicFramePr>
            <a:graphicFrameLocks/>
          </p:cNvGraphicFramePr>
          <p:nvPr>
            <p:extLst/>
          </p:nvPr>
        </p:nvGraphicFramePr>
        <p:xfrm>
          <a:off x="1828800" y="838201"/>
          <a:ext cx="8458200" cy="4000689"/>
        </p:xfrm>
        <a:graphic>
          <a:graphicData uri="http://schemas.openxmlformats.org/drawingml/2006/table">
            <a:tbl>
              <a:tblPr firstRow="1" bandRow="1"/>
              <a:tblGrid>
                <a:gridCol w="1524000">
                  <a:extLst>
                    <a:ext uri="{9D8B030D-6E8A-4147-A177-3AD203B41FA5}">
                      <a16:colId xmlns:a16="http://schemas.microsoft.com/office/drawing/2014/main" val="20000"/>
                    </a:ext>
                  </a:extLst>
                </a:gridCol>
                <a:gridCol w="462280">
                  <a:extLst>
                    <a:ext uri="{9D8B030D-6E8A-4147-A177-3AD203B41FA5}">
                      <a16:colId xmlns:a16="http://schemas.microsoft.com/office/drawing/2014/main" val="20001"/>
                    </a:ext>
                  </a:extLst>
                </a:gridCol>
                <a:gridCol w="462280">
                  <a:extLst>
                    <a:ext uri="{9D8B030D-6E8A-4147-A177-3AD203B41FA5}">
                      <a16:colId xmlns:a16="http://schemas.microsoft.com/office/drawing/2014/main" val="20002"/>
                    </a:ext>
                  </a:extLst>
                </a:gridCol>
                <a:gridCol w="462280">
                  <a:extLst>
                    <a:ext uri="{9D8B030D-6E8A-4147-A177-3AD203B41FA5}">
                      <a16:colId xmlns:a16="http://schemas.microsoft.com/office/drawing/2014/main" val="20003"/>
                    </a:ext>
                  </a:extLst>
                </a:gridCol>
                <a:gridCol w="462280">
                  <a:extLst>
                    <a:ext uri="{9D8B030D-6E8A-4147-A177-3AD203B41FA5}">
                      <a16:colId xmlns:a16="http://schemas.microsoft.com/office/drawing/2014/main" val="20004"/>
                    </a:ext>
                  </a:extLst>
                </a:gridCol>
                <a:gridCol w="462280">
                  <a:extLst>
                    <a:ext uri="{9D8B030D-6E8A-4147-A177-3AD203B41FA5}">
                      <a16:colId xmlns:a16="http://schemas.microsoft.com/office/drawing/2014/main" val="20005"/>
                    </a:ext>
                  </a:extLst>
                </a:gridCol>
                <a:gridCol w="462280">
                  <a:extLst>
                    <a:ext uri="{9D8B030D-6E8A-4147-A177-3AD203B41FA5}">
                      <a16:colId xmlns:a16="http://schemas.microsoft.com/office/drawing/2014/main" val="20006"/>
                    </a:ext>
                  </a:extLst>
                </a:gridCol>
                <a:gridCol w="462280">
                  <a:extLst>
                    <a:ext uri="{9D8B030D-6E8A-4147-A177-3AD203B41FA5}">
                      <a16:colId xmlns:a16="http://schemas.microsoft.com/office/drawing/2014/main" val="20007"/>
                    </a:ext>
                  </a:extLst>
                </a:gridCol>
                <a:gridCol w="462280">
                  <a:extLst>
                    <a:ext uri="{9D8B030D-6E8A-4147-A177-3AD203B41FA5}">
                      <a16:colId xmlns:a16="http://schemas.microsoft.com/office/drawing/2014/main" val="20008"/>
                    </a:ext>
                  </a:extLst>
                </a:gridCol>
                <a:gridCol w="462280">
                  <a:extLst>
                    <a:ext uri="{9D8B030D-6E8A-4147-A177-3AD203B41FA5}">
                      <a16:colId xmlns:a16="http://schemas.microsoft.com/office/drawing/2014/main" val="20009"/>
                    </a:ext>
                  </a:extLst>
                </a:gridCol>
                <a:gridCol w="462280">
                  <a:extLst>
                    <a:ext uri="{9D8B030D-6E8A-4147-A177-3AD203B41FA5}">
                      <a16:colId xmlns:a16="http://schemas.microsoft.com/office/drawing/2014/main" val="20010"/>
                    </a:ext>
                  </a:extLst>
                </a:gridCol>
                <a:gridCol w="462280">
                  <a:extLst>
                    <a:ext uri="{9D8B030D-6E8A-4147-A177-3AD203B41FA5}">
                      <a16:colId xmlns:a16="http://schemas.microsoft.com/office/drawing/2014/main" val="20011"/>
                    </a:ext>
                  </a:extLst>
                </a:gridCol>
                <a:gridCol w="462280">
                  <a:extLst>
                    <a:ext uri="{9D8B030D-6E8A-4147-A177-3AD203B41FA5}">
                      <a16:colId xmlns:a16="http://schemas.microsoft.com/office/drawing/2014/main" val="2521672987"/>
                    </a:ext>
                  </a:extLst>
                </a:gridCol>
                <a:gridCol w="462280">
                  <a:extLst>
                    <a:ext uri="{9D8B030D-6E8A-4147-A177-3AD203B41FA5}">
                      <a16:colId xmlns:a16="http://schemas.microsoft.com/office/drawing/2014/main" val="2827758608"/>
                    </a:ext>
                  </a:extLst>
                </a:gridCol>
                <a:gridCol w="462280">
                  <a:extLst>
                    <a:ext uri="{9D8B030D-6E8A-4147-A177-3AD203B41FA5}">
                      <a16:colId xmlns:a16="http://schemas.microsoft.com/office/drawing/2014/main" val="1281103779"/>
                    </a:ext>
                  </a:extLst>
                </a:gridCol>
                <a:gridCol w="462280">
                  <a:extLst>
                    <a:ext uri="{9D8B030D-6E8A-4147-A177-3AD203B41FA5}">
                      <a16:colId xmlns:a16="http://schemas.microsoft.com/office/drawing/2014/main" val="1903884002"/>
                    </a:ext>
                  </a:extLst>
                </a:gridCol>
              </a:tblGrid>
              <a:tr h="363699">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lvl="0" indent="0" algn="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altLang="ja-JP" sz="1600" b="0" i="0" u="none" strike="noStrike" cap="none" normalizeH="0" baseline="0" dirty="0">
                          <a:ln>
                            <a:noFill/>
                          </a:ln>
                          <a:solidFill>
                            <a:srgbClr val="3C3C3B"/>
                          </a:solidFill>
                          <a:effectLst/>
                          <a:latin typeface="+mj-lt"/>
                          <a:ea typeface="MS PGothic"/>
                          <a:cs typeface="MS PGothic"/>
                        </a:rPr>
                        <a:t>Year</a:t>
                      </a:r>
                    </a:p>
                  </a:txBody>
                  <a:tcPr marL="45720" marR="45720" anchor="ctr" horzOverflow="overflow">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8">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600" b="1" i="0" u="none" strike="noStrike" cap="none" normalizeH="0" baseline="0" dirty="0">
                          <a:ln>
                            <a:noFill/>
                          </a:ln>
                          <a:solidFill>
                            <a:schemeClr val="bg1"/>
                          </a:solidFill>
                          <a:effectLst/>
                          <a:latin typeface="+mj-lt"/>
                          <a:cs typeface="Arial" pitchFamily="34" charset="0"/>
                        </a:rPr>
                        <a:t>2019</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1" i="0" u="none" strike="noStrike" cap="none" normalizeH="0" baseline="0" dirty="0">
                        <a:ln>
                          <a:noFill/>
                        </a:ln>
                        <a:solidFill>
                          <a:schemeClr val="bg1"/>
                        </a:solidFill>
                        <a:effectLst/>
                        <a:latin typeface="Arial" pitchFamily="34" charset="0"/>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hMerge="1">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1" i="0" u="none" strike="noStrike" cap="none" normalizeH="0" baseline="0" dirty="0">
                        <a:ln>
                          <a:noFill/>
                        </a:ln>
                        <a:solidFill>
                          <a:schemeClr val="bg1"/>
                        </a:solidFill>
                        <a:effectLst/>
                        <a:latin typeface="Arial" pitchFamily="34" charset="0"/>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hMerge="1">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1" i="0" u="none" strike="noStrike" cap="none" normalizeH="0" baseline="0" dirty="0">
                        <a:ln>
                          <a:noFill/>
                        </a:ln>
                        <a:solidFill>
                          <a:schemeClr val="bg1"/>
                        </a:solidFill>
                        <a:effectLst/>
                        <a:latin typeface="Arial" pitchFamily="34" charset="0"/>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hMerge="1">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200" b="1" i="0" u="none" strike="noStrike" cap="none" normalizeH="0" baseline="0" dirty="0">
                        <a:ln>
                          <a:noFill/>
                        </a:ln>
                        <a:solidFill>
                          <a:schemeClr val="bg1"/>
                        </a:solidFill>
                        <a:effectLst/>
                        <a:latin typeface="Arial" pitchFamily="34" charset="0"/>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B4B4B4"/>
                    </a:solidFill>
                  </a:tcPr>
                </a:tc>
                <a:tc hMerge="1">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1" i="0" u="none" strike="noStrike" cap="none" normalizeH="0" baseline="0" dirty="0">
                        <a:ln>
                          <a:noFill/>
                        </a:ln>
                        <a:solidFill>
                          <a:schemeClr val="bg1"/>
                        </a:solidFill>
                        <a:effectLst/>
                        <a:latin typeface="+mj-lt"/>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1" i="0" u="none" strike="noStrike" cap="none" normalizeH="0" baseline="0" dirty="0">
                        <a:ln>
                          <a:noFill/>
                        </a:ln>
                        <a:solidFill>
                          <a:schemeClr val="bg1"/>
                        </a:solidFill>
                        <a:effectLst/>
                        <a:latin typeface="+mj-lt"/>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1" i="0" u="none" strike="noStrike" cap="none" normalizeH="0" baseline="0" dirty="0">
                        <a:ln>
                          <a:noFill/>
                        </a:ln>
                        <a:solidFill>
                          <a:schemeClr val="bg1"/>
                        </a:solidFill>
                        <a:effectLst/>
                        <a:latin typeface="+mj-lt"/>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gridSpan="7">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600" b="1" i="0" u="none" strike="noStrike" cap="none" normalizeH="0" baseline="0" dirty="0">
                          <a:ln>
                            <a:noFill/>
                          </a:ln>
                          <a:solidFill>
                            <a:schemeClr val="bg1"/>
                          </a:solidFill>
                          <a:effectLst/>
                          <a:latin typeface="+mj-lt"/>
                          <a:cs typeface="Arial" pitchFamily="34" charset="0"/>
                        </a:rPr>
                        <a:t>2020</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1" i="0" u="none" strike="noStrike" cap="none" normalizeH="0" baseline="0" dirty="0">
                        <a:ln>
                          <a:noFill/>
                        </a:ln>
                        <a:solidFill>
                          <a:schemeClr val="bg1"/>
                        </a:solidFill>
                        <a:effectLst/>
                        <a:latin typeface="+mj-lt"/>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1" i="0" u="none" strike="noStrike" cap="none" normalizeH="0" baseline="0" dirty="0">
                        <a:ln>
                          <a:noFill/>
                        </a:ln>
                        <a:solidFill>
                          <a:schemeClr val="bg1"/>
                        </a:solidFill>
                        <a:effectLst/>
                        <a:latin typeface="+mj-lt"/>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1" i="0" u="none" strike="noStrike" cap="none" normalizeH="0" baseline="0" dirty="0">
                        <a:ln>
                          <a:noFill/>
                        </a:ln>
                        <a:solidFill>
                          <a:schemeClr val="bg1"/>
                        </a:solidFill>
                        <a:effectLst/>
                        <a:latin typeface="+mj-lt"/>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1" i="0" u="none" strike="noStrike" cap="none" normalizeH="0" baseline="0" dirty="0">
                        <a:ln>
                          <a:noFill/>
                        </a:ln>
                        <a:solidFill>
                          <a:schemeClr val="bg1"/>
                        </a:solidFill>
                        <a:effectLst/>
                        <a:latin typeface="+mj-lt"/>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1" i="0" u="none" strike="noStrike" cap="none" normalizeH="0" baseline="0" dirty="0">
                        <a:ln>
                          <a:noFill/>
                        </a:ln>
                        <a:solidFill>
                          <a:schemeClr val="bg1"/>
                        </a:solidFill>
                        <a:effectLst/>
                        <a:latin typeface="+mj-lt"/>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1" i="0" u="none" strike="noStrike" cap="none" normalizeH="0" baseline="0" dirty="0">
                        <a:ln>
                          <a:noFill/>
                        </a:ln>
                        <a:solidFill>
                          <a:schemeClr val="bg1"/>
                        </a:solidFill>
                        <a:effectLst/>
                        <a:latin typeface="+mj-lt"/>
                        <a:cs typeface="Arial" pitchFamily="34" charset="0"/>
                      </a:endParaRP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rgbClr val="EEEEEE"/>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10000"/>
                  </a:ext>
                </a:extLst>
              </a:tr>
              <a:tr h="36369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altLang="ja-JP" sz="1600" b="0" i="0" u="none" strike="noStrike" cap="none" normalizeH="0" baseline="0" dirty="0">
                          <a:ln>
                            <a:noFill/>
                          </a:ln>
                          <a:solidFill>
                            <a:srgbClr val="3C3C3B"/>
                          </a:solidFill>
                          <a:effectLst/>
                          <a:latin typeface="+mj-lt"/>
                          <a:ea typeface="MS PGothic"/>
                          <a:cs typeface="MS PGothic"/>
                        </a:rPr>
                        <a:t>Month</a:t>
                      </a:r>
                    </a:p>
                  </a:txBody>
                  <a:tcPr marL="45720" marR="45720" anchor="ctr" horzOverflow="overflow">
                    <a:lnL w="12700" cap="flat" cmpd="sng" algn="ctr">
                      <a:no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May</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June</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July</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Aug</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p>
                      <a:r>
                        <a:rPr lang="en-US" sz="1500" b="1" dirty="0"/>
                        <a:t>Sept</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Oct</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Nov</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Dec</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Jan</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Feb</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Mar</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Apr</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May</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June</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tc>
                  <a:txBody>
                    <a:bodyPr/>
                    <a:lstStyle/>
                    <a:p>
                      <a:pPr marL="0" marR="0" lvl="0" indent="0" algn="ctr"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tx1"/>
                          </a:solidFill>
                          <a:effectLst/>
                          <a:latin typeface="+mj-lt"/>
                          <a:cs typeface="Arial" pitchFamily="34" charset="0"/>
                        </a:rPr>
                        <a:t>July</a:t>
                      </a:r>
                    </a:p>
                  </a:txBody>
                  <a:tcPr marL="45720" marR="45720" anchor="ctr" horzOverflow="overflow">
                    <a:lnL w="12700" cap="flat" cmpd="sng" algn="ctr">
                      <a:solidFill>
                        <a:sysClr val="window" lastClr="FFFFFF"/>
                      </a:solidFill>
                      <a:prstDash val="solid"/>
                      <a:round/>
                      <a:headEnd type="none" w="med" len="med"/>
                      <a:tailEnd type="none" w="med" len="med"/>
                    </a:lnL>
                    <a:lnR w="12700" cap="flat" cmpd="sng" algn="ctr">
                      <a:solidFill>
                        <a:srgbClr val="EEEEEE"/>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90000"/>
                      </a:schemeClr>
                    </a:solidFill>
                  </a:tcPr>
                </a:tc>
                <a:extLst>
                  <a:ext uri="{0D108BD9-81ED-4DB2-BD59-A6C34878D82A}">
                    <a16:rowId xmlns:a16="http://schemas.microsoft.com/office/drawing/2014/main" val="10001"/>
                  </a:ext>
                </a:extLst>
              </a:tr>
              <a:tr h="36369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r>
                        <a:rPr kumimoji="0" lang="en-US" sz="1500" b="1" i="0" u="none" strike="noStrike" cap="none" normalizeH="0" baseline="0" dirty="0">
                          <a:ln>
                            <a:noFill/>
                          </a:ln>
                          <a:solidFill>
                            <a:schemeClr val="bg1"/>
                          </a:solidFill>
                          <a:effectLst/>
                          <a:latin typeface="+mj-lt"/>
                          <a:cs typeface="Arial" pitchFamily="34" charset="0"/>
                        </a:rPr>
                        <a:t>UCD</a:t>
                      </a:r>
                    </a:p>
                  </a:txBody>
                  <a:tcPr marL="45720" marR="45720" anchor="ctr" horzOverflow="overflow">
                    <a:lnL w="12700" cap="flat" cmpd="sng" algn="ctr">
                      <a:noFill/>
                      <a:prstDash val="solid"/>
                      <a:round/>
                      <a:headEnd type="none" w="med" len="med"/>
                      <a:tailEnd type="none" w="med" len="med"/>
                    </a:lnL>
                    <a:lnR w="12700" cap="flat" cmpd="sng" algn="ctr">
                      <a:solidFill>
                        <a:srgbClr val="EEEEEE"/>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rgbClr val="EEEEEE"/>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rgbClr val="EEEEEE"/>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369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5888" marR="0" lvl="0" indent="-115888" algn="l" defTabSz="1106488" rtl="0" eaLnBrk="1" fontAlgn="base" latinLnBrk="0" hangingPunct="1">
                        <a:lnSpc>
                          <a:spcPct val="100000"/>
                        </a:lnSpc>
                        <a:spcBef>
                          <a:spcPts val="400"/>
                        </a:spcBef>
                        <a:spcAft>
                          <a:spcPct val="0"/>
                        </a:spcAft>
                        <a:buClr>
                          <a:schemeClr val="tx1"/>
                        </a:buClr>
                        <a:buSzPct val="75000"/>
                        <a:buFontTx/>
                        <a:buChar char="•"/>
                        <a:tabLst>
                          <a:tab pos="5715000" algn="l"/>
                        </a:tabLst>
                      </a:pPr>
                      <a:r>
                        <a:rPr kumimoji="0" lang="en-US" sz="1500" b="0" i="0" u="none" strike="noStrike" kern="1200" cap="none" normalizeH="0" baseline="0" dirty="0">
                          <a:ln>
                            <a:noFill/>
                          </a:ln>
                          <a:solidFill>
                            <a:srgbClr val="3C3C3B"/>
                          </a:solidFill>
                          <a:effectLst/>
                          <a:latin typeface="+mj-lt"/>
                          <a:ea typeface="+mn-ea"/>
                          <a:cs typeface="Arial" pitchFamily="34" charset="0"/>
                        </a:rPr>
                        <a:t>Pre-Production</a:t>
                      </a:r>
                    </a:p>
                  </a:txBody>
                  <a:tcPr marL="45720" marR="45720" anchor="ctr" horzOverflow="overflow">
                    <a:lnL w="12700" cap="flat" cmpd="sng" algn="ctr">
                      <a:noFill/>
                      <a:prstDash val="solid"/>
                      <a:round/>
                      <a:headEnd type="none" w="med" len="med"/>
                      <a:tailEnd type="none" w="med" len="med"/>
                    </a:lnL>
                    <a:lnR w="12700" cap="flat" cmpd="sng" algn="ctr">
                      <a:solidFill>
                        <a:srgbClr val="EEEEEE"/>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rgbClr val="EEEEEE"/>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rgbClr val="EEEEEE"/>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6369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5888" marR="0" lvl="0" indent="-115888" algn="l" defTabSz="1106488" rtl="0" eaLnBrk="1" fontAlgn="base" latinLnBrk="0" hangingPunct="1">
                        <a:lnSpc>
                          <a:spcPct val="100000"/>
                        </a:lnSpc>
                        <a:spcBef>
                          <a:spcPts val="400"/>
                        </a:spcBef>
                        <a:spcAft>
                          <a:spcPct val="0"/>
                        </a:spcAft>
                        <a:buClr>
                          <a:schemeClr val="tx1"/>
                        </a:buClr>
                        <a:buSzPct val="75000"/>
                        <a:buFontTx/>
                        <a:buChar char="•"/>
                        <a:tabLst>
                          <a:tab pos="5715000" algn="l"/>
                        </a:tabLst>
                      </a:pPr>
                      <a:r>
                        <a:rPr kumimoji="0" lang="en-US" sz="1500" b="0" i="0" u="none" strike="noStrike" kern="1200" cap="none" normalizeH="0" baseline="0" dirty="0">
                          <a:ln>
                            <a:noFill/>
                          </a:ln>
                          <a:solidFill>
                            <a:srgbClr val="3C3C3B"/>
                          </a:solidFill>
                          <a:effectLst/>
                          <a:latin typeface="+mj-lt"/>
                          <a:ea typeface="+mn-ea"/>
                          <a:cs typeface="Arial" pitchFamily="34" charset="0"/>
                        </a:rPr>
                        <a:t>Production</a:t>
                      </a:r>
                    </a:p>
                  </a:txBody>
                  <a:tcPr marL="45720" marR="45720" anchor="ctr" horzOverflow="overflow">
                    <a:lnL w="12700" cap="flat" cmpd="sng" algn="ctr">
                      <a:noFill/>
                      <a:prstDash val="solid"/>
                      <a:round/>
                      <a:headEnd type="none" w="med" len="med"/>
                      <a:tailEnd type="none" w="med" len="med"/>
                    </a:lnL>
                    <a:lnR w="12700" cap="flat" cmpd="sng" algn="ctr">
                      <a:solidFill>
                        <a:srgbClr val="EEEEEE"/>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rgbClr val="EEEEEE"/>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rgbClr val="EEEEEE"/>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6369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5888" marR="0" lvl="0" indent="-115888" algn="l" defTabSz="1106488" rtl="0" eaLnBrk="1" fontAlgn="base" latinLnBrk="0" hangingPunct="1">
                        <a:lnSpc>
                          <a:spcPct val="100000"/>
                        </a:lnSpc>
                        <a:spcBef>
                          <a:spcPts val="400"/>
                        </a:spcBef>
                        <a:spcAft>
                          <a:spcPct val="0"/>
                        </a:spcAft>
                        <a:buClr>
                          <a:schemeClr val="tx1"/>
                        </a:buClr>
                        <a:buSzPct val="75000"/>
                        <a:buFontTx/>
                        <a:buChar char="•"/>
                        <a:tabLst>
                          <a:tab pos="5715000" algn="l"/>
                        </a:tabLst>
                      </a:pPr>
                      <a:r>
                        <a:rPr kumimoji="0" lang="en-US" sz="1500" b="0" i="0" u="none" strike="noStrike" kern="1200" cap="none" normalizeH="0" baseline="0" dirty="0">
                          <a:ln>
                            <a:noFill/>
                          </a:ln>
                          <a:solidFill>
                            <a:srgbClr val="3C3C3B"/>
                          </a:solidFill>
                          <a:effectLst/>
                          <a:latin typeface="+mj-lt"/>
                          <a:ea typeface="+mn-ea"/>
                          <a:cs typeface="Arial" pitchFamily="34" charset="0"/>
                        </a:rPr>
                        <a:t>Mandatory</a:t>
                      </a:r>
                    </a:p>
                  </a:txBody>
                  <a:tcPr marL="45720" marR="45720" anchor="ctr" horzOverflow="overflow">
                    <a:lnL w="12700" cap="flat" cmpd="sng" algn="ctr">
                      <a:noFill/>
                      <a:prstDash val="solid"/>
                      <a:round/>
                      <a:headEnd type="none" w="med" len="med"/>
                      <a:tailEnd type="none" w="med" len="med"/>
                    </a:lnL>
                    <a:lnR w="12700" cap="flat" cmpd="sng" algn="ctr">
                      <a:solidFill>
                        <a:srgbClr val="EEEEEE"/>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rgbClr val="EEEEEE"/>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rgbClr val="EEEEEE"/>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6369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2"/>
                        </a:buClr>
                        <a:buSzTx/>
                        <a:buFont typeface="Times New Roman" pitchFamily="18" charset="0"/>
                        <a:buNone/>
                        <a:tabLst>
                          <a:tab pos="5715000" algn="l"/>
                        </a:tabLst>
                      </a:pPr>
                      <a:r>
                        <a:rPr kumimoji="0" lang="en-US" sz="1500" b="1" i="0" u="none" strike="noStrike" cap="none" normalizeH="0" baseline="0" dirty="0">
                          <a:ln>
                            <a:noFill/>
                          </a:ln>
                          <a:solidFill>
                            <a:schemeClr val="bg1"/>
                          </a:solidFill>
                          <a:effectLst/>
                          <a:latin typeface="+mj-lt"/>
                          <a:cs typeface="Arial" pitchFamily="34" charset="0"/>
                        </a:rPr>
                        <a:t>ULAD</a:t>
                      </a:r>
                    </a:p>
                  </a:txBody>
                  <a:tcPr marL="45720" marR="45720" anchor="ctr" horzOverflow="overflow">
                    <a:lnL w="12700" cap="flat" cmpd="sng" algn="ctr">
                      <a:noFill/>
                      <a:prstDash val="solid"/>
                      <a:round/>
                      <a:headEnd type="none" w="med" len="med"/>
                      <a:tailEnd type="none" w="med" len="med"/>
                    </a:lnL>
                    <a:lnR w="12700" cap="flat" cmpd="sng" algn="ctr">
                      <a:solidFill>
                        <a:srgbClr val="EEEEEE"/>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rgbClr val="EEEEEE"/>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rgbClr val="EEEEEE"/>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63699">
                <a:tc>
                  <a:txBody>
                    <a:bodyPr/>
                    <a:lstStyle/>
                    <a:p>
                      <a:pPr marL="115888" marR="0" lvl="0" indent="-115888" algn="l" defTabSz="1106488" rtl="0" eaLnBrk="1" fontAlgn="base" latinLnBrk="0" hangingPunct="1">
                        <a:lnSpc>
                          <a:spcPct val="100000"/>
                        </a:lnSpc>
                        <a:spcBef>
                          <a:spcPts val="400"/>
                        </a:spcBef>
                        <a:spcAft>
                          <a:spcPct val="0"/>
                        </a:spcAft>
                        <a:buClr>
                          <a:schemeClr val="tx1"/>
                        </a:buClr>
                        <a:buSzPct val="75000"/>
                        <a:buFontTx/>
                        <a:buChar char="•"/>
                        <a:tabLst>
                          <a:tab pos="5715000" algn="l"/>
                        </a:tabLst>
                      </a:pPr>
                      <a:r>
                        <a:rPr kumimoji="0" lang="en-US" sz="1500" b="0" i="0" u="none" strike="noStrike" kern="1200" cap="none" normalizeH="0" baseline="0" dirty="0">
                          <a:ln>
                            <a:noFill/>
                          </a:ln>
                          <a:solidFill>
                            <a:srgbClr val="3C3C3B"/>
                          </a:solidFill>
                          <a:effectLst/>
                          <a:latin typeface="+mj-lt"/>
                          <a:ea typeface="+mn-ea"/>
                          <a:cs typeface="Arial" pitchFamily="34" charset="0"/>
                        </a:rPr>
                        <a:t>Test</a:t>
                      </a:r>
                    </a:p>
                  </a:txBody>
                  <a:tcPr marL="45720" marR="45720" anchor="ctr" horzOverflow="overflow">
                    <a:lnL w="12700" cap="flat" cmpd="sng" algn="ctr">
                      <a:noFill/>
                      <a:prstDash val="solid"/>
                      <a:round/>
                      <a:headEnd type="none" w="med" len="med"/>
                      <a:tailEnd type="none" w="med" len="med"/>
                    </a:lnL>
                    <a:lnR w="12700" cap="flat" cmpd="sng" algn="ctr">
                      <a:solidFill>
                        <a:srgbClr val="EEEEEE"/>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rgbClr val="EEEEEE"/>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rgbClr val="EEEEEE"/>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6406477"/>
                  </a:ext>
                </a:extLst>
              </a:tr>
              <a:tr h="36369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5888" marR="0" lvl="0" indent="-115888" algn="l" defTabSz="1106488" rtl="0" eaLnBrk="1" fontAlgn="base" latinLnBrk="0" hangingPunct="1">
                        <a:lnSpc>
                          <a:spcPct val="100000"/>
                        </a:lnSpc>
                        <a:spcBef>
                          <a:spcPts val="400"/>
                        </a:spcBef>
                        <a:spcAft>
                          <a:spcPct val="0"/>
                        </a:spcAft>
                        <a:buClr>
                          <a:schemeClr val="tx1"/>
                        </a:buClr>
                        <a:buSzPct val="75000"/>
                        <a:buFontTx/>
                        <a:buChar char="•"/>
                        <a:tabLst>
                          <a:tab pos="5715000" algn="l"/>
                        </a:tabLst>
                      </a:pPr>
                      <a:r>
                        <a:rPr kumimoji="0" lang="en-US" sz="1500" b="0" i="0" u="none" strike="noStrike" kern="1200" cap="none" normalizeH="0" baseline="0" dirty="0">
                          <a:ln>
                            <a:noFill/>
                          </a:ln>
                          <a:solidFill>
                            <a:srgbClr val="3C3C3B"/>
                          </a:solidFill>
                          <a:effectLst/>
                          <a:latin typeface="+mj-lt"/>
                          <a:ea typeface="+mn-ea"/>
                          <a:cs typeface="Arial" pitchFamily="34" charset="0"/>
                        </a:rPr>
                        <a:t>Build</a:t>
                      </a:r>
                    </a:p>
                  </a:txBody>
                  <a:tcPr marL="45720" marR="45720" anchor="ctr" horzOverflow="overflow">
                    <a:lnL w="12700" cap="flat" cmpd="sng" algn="ctr">
                      <a:noFill/>
                      <a:prstDash val="solid"/>
                      <a:round/>
                      <a:headEnd type="none" w="med" len="med"/>
                      <a:tailEnd type="none" w="med" len="med"/>
                    </a:lnL>
                    <a:lnR w="12700" cap="flat" cmpd="sng" algn="ctr">
                      <a:solidFill>
                        <a:srgbClr val="EEEEEE"/>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rgbClr val="EEEEEE"/>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rgbClr val="EEEEEE"/>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6369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5888" marR="0" lvl="0" indent="-115888" algn="l" defTabSz="1106488" rtl="0" eaLnBrk="1" fontAlgn="base" latinLnBrk="0" hangingPunct="1">
                        <a:lnSpc>
                          <a:spcPct val="100000"/>
                        </a:lnSpc>
                        <a:spcBef>
                          <a:spcPts val="400"/>
                        </a:spcBef>
                        <a:spcAft>
                          <a:spcPct val="0"/>
                        </a:spcAft>
                        <a:buClr>
                          <a:schemeClr val="tx1"/>
                        </a:buClr>
                        <a:buSzPct val="75000"/>
                        <a:buFontTx/>
                        <a:buChar char="•"/>
                        <a:tabLst>
                          <a:tab pos="5715000" algn="l"/>
                        </a:tabLst>
                      </a:pPr>
                      <a:r>
                        <a:rPr kumimoji="0" lang="en-US" sz="1500" b="0" i="0" u="none" strike="noStrike" kern="1200" cap="none" normalizeH="0" baseline="0" dirty="0">
                          <a:ln>
                            <a:noFill/>
                          </a:ln>
                          <a:solidFill>
                            <a:srgbClr val="3C3C3B"/>
                          </a:solidFill>
                          <a:effectLst/>
                          <a:latin typeface="+mj-lt"/>
                          <a:ea typeface="+mn-ea"/>
                          <a:cs typeface="Arial" pitchFamily="34" charset="0"/>
                        </a:rPr>
                        <a:t>Pilot</a:t>
                      </a:r>
                    </a:p>
                  </a:txBody>
                  <a:tcPr marL="45720" marR="45720" anchor="ctr" horzOverflow="overflow">
                    <a:lnL w="12700" cap="flat" cmpd="sng" algn="ctr">
                      <a:noFill/>
                      <a:prstDash val="solid"/>
                      <a:round/>
                      <a:headEnd type="none" w="med" len="med"/>
                      <a:tailEnd type="none" w="med" len="med"/>
                    </a:lnL>
                    <a:lnR w="12700" cap="flat" cmpd="sng" algn="ctr">
                      <a:solidFill>
                        <a:srgbClr val="EEEEEE"/>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rgbClr val="EEEEEE"/>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rgbClr val="EEEEEE"/>
                      </a:solid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6369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15888" marR="0" lvl="0" indent="-115888" algn="l" defTabSz="1106488" rtl="0" eaLnBrk="1" fontAlgn="base" latinLnBrk="0" hangingPunct="1">
                        <a:lnSpc>
                          <a:spcPct val="100000"/>
                        </a:lnSpc>
                        <a:spcBef>
                          <a:spcPts val="400"/>
                        </a:spcBef>
                        <a:spcAft>
                          <a:spcPct val="0"/>
                        </a:spcAft>
                        <a:buClr>
                          <a:schemeClr val="tx1"/>
                        </a:buClr>
                        <a:buSzPct val="75000"/>
                        <a:buFontTx/>
                        <a:buChar char="•"/>
                        <a:tabLst>
                          <a:tab pos="5715000" algn="l"/>
                        </a:tabLst>
                      </a:pPr>
                      <a:r>
                        <a:rPr kumimoji="0" lang="en-US" sz="1500" b="0" i="0" u="none" strike="noStrike" kern="1200" cap="none" normalizeH="0" baseline="0" dirty="0">
                          <a:ln>
                            <a:noFill/>
                          </a:ln>
                          <a:solidFill>
                            <a:srgbClr val="3C3C3B"/>
                          </a:solidFill>
                          <a:effectLst/>
                          <a:latin typeface="+mj-lt"/>
                          <a:ea typeface="+mn-ea"/>
                          <a:cs typeface="Arial" pitchFamily="34" charset="0"/>
                        </a:rPr>
                        <a:t>Mandatory</a:t>
                      </a:r>
                    </a:p>
                  </a:txBody>
                  <a:tcPr marL="45720" marR="45720" anchor="ctr" horzOverflow="overflow">
                    <a:lnL w="12700" cap="flat" cmpd="sng" algn="ctr">
                      <a:noFill/>
                      <a:prstDash val="solid"/>
                      <a:round/>
                      <a:headEnd type="none" w="med" len="med"/>
                      <a:tailEnd type="none" w="med" len="med"/>
                    </a:lnL>
                    <a:lnR w="12700" cap="flat" cmpd="sng" algn="ctr">
                      <a:solidFill>
                        <a:srgbClr val="EEEEEE"/>
                      </a:solidFill>
                      <a:prstDash val="sys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rgbClr val="EEEEEE"/>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chemeClr val="accent6">
                          <a:lumMod val="9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106488" rtl="0" eaLnBrk="1" fontAlgn="base" latinLnBrk="0" hangingPunct="1">
                        <a:lnSpc>
                          <a:spcPct val="100000"/>
                        </a:lnSpc>
                        <a:spcBef>
                          <a:spcPct val="0"/>
                        </a:spcBef>
                        <a:spcAft>
                          <a:spcPct val="0"/>
                        </a:spcAft>
                        <a:buClr>
                          <a:schemeClr val="tx1"/>
                        </a:buClr>
                        <a:buSzTx/>
                        <a:buFont typeface="Times New Roman" pitchFamily="18" charset="0"/>
                        <a:buNone/>
                        <a:tabLst>
                          <a:tab pos="5715000" algn="l"/>
                        </a:tabLst>
                      </a:pPr>
                      <a:endParaRPr kumimoji="0" lang="en-US" sz="1600" b="0" i="0" u="none" strike="noStrike" cap="none" normalizeH="0" baseline="0" dirty="0">
                        <a:ln>
                          <a:noFill/>
                        </a:ln>
                        <a:solidFill>
                          <a:schemeClr val="tx1"/>
                        </a:solidFill>
                        <a:effectLst/>
                        <a:latin typeface="+mj-lt"/>
                        <a:cs typeface="Arial" pitchFamily="34" charset="0"/>
                      </a:endParaRPr>
                    </a:p>
                  </a:txBody>
                  <a:tcPr marL="45720" marR="45720" anchor="ctr" horzOverflow="overflow">
                    <a:lnL w="12700" cap="flat" cmpd="sng" algn="ctr">
                      <a:solidFill>
                        <a:schemeClr val="accent6">
                          <a:lumMod val="90000"/>
                        </a:schemeClr>
                      </a:solidFill>
                      <a:prstDash val="sysDash"/>
                      <a:round/>
                      <a:headEnd type="none" w="med" len="med"/>
                      <a:tailEnd type="none" w="med" len="med"/>
                    </a:lnL>
                    <a:lnR w="12700" cap="flat" cmpd="sng" algn="ctr">
                      <a:solidFill>
                        <a:srgbClr val="EEEEEE"/>
                      </a:solidFill>
                      <a:prstDash val="solid"/>
                      <a:round/>
                      <a:headEnd type="none" w="med" len="med"/>
                      <a:tailEnd type="none" w="med" len="med"/>
                    </a:lnR>
                    <a:lnT w="12700" cap="flat" cmpd="sng" algn="ctr">
                      <a:noFill/>
                      <a:prstDash val="sysDash"/>
                      <a:round/>
                      <a:headEnd type="none" w="med" len="med"/>
                      <a:tailEnd type="none" w="med" len="med"/>
                    </a:lnT>
                    <a:lnB w="12700" cap="flat" cmpd="sng" algn="ctr">
                      <a:solidFill>
                        <a:srgbClr val="EEEEE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6" name="AutoShape 2284">
            <a:extLst>
              <a:ext uri="{FF2B5EF4-FFF2-40B4-BE49-F238E27FC236}">
                <a16:creationId xmlns:a16="http://schemas.microsoft.com/office/drawing/2014/main" id="{AE2539E9-8E12-4545-BEF9-DE943F064F94}"/>
              </a:ext>
            </a:extLst>
          </p:cNvPr>
          <p:cNvSpPr>
            <a:spLocks noChangeArrowheads="1"/>
          </p:cNvSpPr>
          <p:nvPr/>
        </p:nvSpPr>
        <p:spPr bwMode="gray">
          <a:xfrm>
            <a:off x="9981622" y="4761483"/>
            <a:ext cx="151245" cy="147004"/>
          </a:xfrm>
          <a:prstGeom prst="diamond">
            <a:avLst/>
          </a:prstGeom>
          <a:solidFill>
            <a:schemeClr val="accent5"/>
          </a:solidFill>
          <a:ln w="9525" algn="ctr">
            <a:noFill/>
            <a:miter lim="800000"/>
            <a:headEnd/>
            <a:tailEnd/>
          </a:ln>
          <a:effectLst/>
        </p:spPr>
        <p:txBody>
          <a:bodyPr wrap="none" lIns="0" tIns="0" rIns="0" bIns="0" anchor="ctr"/>
          <a:lstStyle/>
          <a:p>
            <a:pPr>
              <a:spcBef>
                <a:spcPct val="120000"/>
              </a:spcBef>
            </a:pPr>
            <a:endParaRPr lang="en-US" sz="1200" dirty="0">
              <a:solidFill>
                <a:srgbClr val="3F3F3F"/>
              </a:solidFill>
              <a:latin typeface="Arial"/>
            </a:endParaRPr>
          </a:p>
          <a:p>
            <a:pPr algn="ctr">
              <a:spcBef>
                <a:spcPct val="120000"/>
              </a:spcBef>
            </a:pPr>
            <a:r>
              <a:rPr lang="en-US" sz="1200" dirty="0">
                <a:solidFill>
                  <a:srgbClr val="3F3F3F"/>
                </a:solidFill>
                <a:latin typeface="Arial"/>
              </a:rPr>
              <a:t>Milestone</a:t>
            </a:r>
          </a:p>
        </p:txBody>
      </p:sp>
      <p:sp>
        <p:nvSpPr>
          <p:cNvPr id="19" name="Rectangle 239">
            <a:extLst>
              <a:ext uri="{FF2B5EF4-FFF2-40B4-BE49-F238E27FC236}">
                <a16:creationId xmlns:a16="http://schemas.microsoft.com/office/drawing/2014/main" id="{85A6C662-4A01-4AAB-A4DC-0818DC8E7879}"/>
              </a:ext>
            </a:extLst>
          </p:cNvPr>
          <p:cNvSpPr>
            <a:spLocks noChangeArrowheads="1"/>
          </p:cNvSpPr>
          <p:nvPr/>
        </p:nvSpPr>
        <p:spPr bwMode="gray">
          <a:xfrm>
            <a:off x="7315201" y="2208492"/>
            <a:ext cx="685801" cy="258149"/>
          </a:xfrm>
          <a:prstGeom prst="rect">
            <a:avLst/>
          </a:prstGeom>
          <a:solidFill>
            <a:schemeClr val="accent2"/>
          </a:solidFill>
          <a:ln w="9525" algn="ctr">
            <a:noFill/>
            <a:miter lim="800000"/>
            <a:headEnd/>
            <a:tailEnd/>
          </a:ln>
        </p:spPr>
        <p:txBody>
          <a:bodyPr wrap="none" lIns="0" tIns="0" rIns="0" bIns="0" anchor="ctr"/>
          <a:lstStyle/>
          <a:p>
            <a:pPr>
              <a:defRPr/>
            </a:pPr>
            <a:endParaRPr lang="en-US" sz="1200" kern="0" dirty="0">
              <a:solidFill>
                <a:srgbClr val="000000"/>
              </a:solidFill>
              <a:latin typeface="Arial"/>
            </a:endParaRPr>
          </a:p>
        </p:txBody>
      </p:sp>
      <p:sp>
        <p:nvSpPr>
          <p:cNvPr id="23" name="AutoShape 2284">
            <a:extLst>
              <a:ext uri="{FF2B5EF4-FFF2-40B4-BE49-F238E27FC236}">
                <a16:creationId xmlns:a16="http://schemas.microsoft.com/office/drawing/2014/main" id="{6B92AD43-C104-43D4-A36A-5F074B0A639B}"/>
              </a:ext>
            </a:extLst>
          </p:cNvPr>
          <p:cNvSpPr>
            <a:spLocks noChangeArrowheads="1"/>
          </p:cNvSpPr>
          <p:nvPr/>
        </p:nvSpPr>
        <p:spPr bwMode="gray">
          <a:xfrm>
            <a:off x="7647370" y="2774344"/>
            <a:ext cx="228023" cy="221629"/>
          </a:xfrm>
          <a:prstGeom prst="diamond">
            <a:avLst/>
          </a:prstGeom>
          <a:solidFill>
            <a:schemeClr val="accent2"/>
          </a:solidFill>
          <a:ln w="9525" algn="ctr">
            <a:noFill/>
            <a:miter lim="800000"/>
            <a:headEnd/>
            <a:tailEnd/>
          </a:ln>
          <a:effectLst/>
        </p:spPr>
        <p:txBody>
          <a:bodyPr wrap="none" lIns="0" tIns="0" rIns="0" bIns="0" anchor="ctr"/>
          <a:lstStyle/>
          <a:p>
            <a:pPr>
              <a:spcBef>
                <a:spcPct val="120000"/>
              </a:spcBef>
            </a:pPr>
            <a:endParaRPr lang="en-US" sz="1200" dirty="0">
              <a:solidFill>
                <a:srgbClr val="3F3F3F"/>
              </a:solidFill>
              <a:latin typeface="Arial"/>
            </a:endParaRPr>
          </a:p>
        </p:txBody>
      </p:sp>
      <p:sp>
        <p:nvSpPr>
          <p:cNvPr id="25" name="Rectangle 239">
            <a:extLst>
              <a:ext uri="{FF2B5EF4-FFF2-40B4-BE49-F238E27FC236}">
                <a16:creationId xmlns:a16="http://schemas.microsoft.com/office/drawing/2014/main" id="{6B1EFD16-A695-4125-8340-D6098BE24917}"/>
              </a:ext>
            </a:extLst>
          </p:cNvPr>
          <p:cNvSpPr>
            <a:spLocks noChangeArrowheads="1"/>
          </p:cNvSpPr>
          <p:nvPr/>
        </p:nvSpPr>
        <p:spPr bwMode="gray">
          <a:xfrm>
            <a:off x="4716518" y="2027852"/>
            <a:ext cx="541283" cy="258149"/>
          </a:xfrm>
          <a:prstGeom prst="rect">
            <a:avLst/>
          </a:prstGeom>
          <a:solidFill>
            <a:schemeClr val="accent2"/>
          </a:solidFill>
          <a:ln w="9525" algn="ctr">
            <a:noFill/>
            <a:miter lim="800000"/>
            <a:headEnd/>
            <a:tailEnd/>
          </a:ln>
        </p:spPr>
        <p:txBody>
          <a:bodyPr wrap="none" lIns="0" tIns="0" rIns="0" bIns="0" anchor="ctr"/>
          <a:lstStyle/>
          <a:p>
            <a:pPr>
              <a:defRPr/>
            </a:pPr>
            <a:endParaRPr lang="en-US" sz="1200" kern="0" dirty="0">
              <a:solidFill>
                <a:srgbClr val="000000"/>
              </a:solidFill>
              <a:latin typeface="Arial"/>
            </a:endParaRPr>
          </a:p>
        </p:txBody>
      </p:sp>
      <p:sp>
        <p:nvSpPr>
          <p:cNvPr id="26" name="Rectangle 239">
            <a:extLst>
              <a:ext uri="{FF2B5EF4-FFF2-40B4-BE49-F238E27FC236}">
                <a16:creationId xmlns:a16="http://schemas.microsoft.com/office/drawing/2014/main" id="{C83DDCB6-D558-4147-A482-5868237E4968}"/>
              </a:ext>
            </a:extLst>
          </p:cNvPr>
          <p:cNvSpPr>
            <a:spLocks noChangeArrowheads="1"/>
          </p:cNvSpPr>
          <p:nvPr/>
        </p:nvSpPr>
        <p:spPr bwMode="gray">
          <a:xfrm>
            <a:off x="4949825" y="3742906"/>
            <a:ext cx="2060575" cy="258149"/>
          </a:xfrm>
          <a:prstGeom prst="rect">
            <a:avLst/>
          </a:prstGeom>
          <a:solidFill>
            <a:schemeClr val="tx2"/>
          </a:solidFill>
          <a:ln w="9525" algn="ctr">
            <a:noFill/>
            <a:miter lim="800000"/>
            <a:headEnd/>
            <a:tailEnd/>
          </a:ln>
        </p:spPr>
        <p:txBody>
          <a:bodyPr wrap="none" lIns="0" tIns="0" rIns="0" bIns="0" anchor="ctr"/>
          <a:lstStyle/>
          <a:p>
            <a:pPr>
              <a:defRPr/>
            </a:pPr>
            <a:endParaRPr lang="en-US" sz="1200" kern="0" dirty="0">
              <a:solidFill>
                <a:srgbClr val="000000"/>
              </a:solidFill>
              <a:latin typeface="Arial"/>
            </a:endParaRPr>
          </a:p>
        </p:txBody>
      </p:sp>
      <p:sp>
        <p:nvSpPr>
          <p:cNvPr id="28" name="AutoShape 2284">
            <a:extLst>
              <a:ext uri="{FF2B5EF4-FFF2-40B4-BE49-F238E27FC236}">
                <a16:creationId xmlns:a16="http://schemas.microsoft.com/office/drawing/2014/main" id="{93074550-3F9A-4659-AE76-28B712EF2513}"/>
              </a:ext>
            </a:extLst>
          </p:cNvPr>
          <p:cNvSpPr>
            <a:spLocks noChangeArrowheads="1"/>
          </p:cNvSpPr>
          <p:nvPr/>
        </p:nvSpPr>
        <p:spPr bwMode="gray">
          <a:xfrm>
            <a:off x="9943234" y="4495801"/>
            <a:ext cx="228023" cy="221629"/>
          </a:xfrm>
          <a:prstGeom prst="diamond">
            <a:avLst/>
          </a:prstGeom>
          <a:solidFill>
            <a:schemeClr val="tx2"/>
          </a:solidFill>
          <a:ln w="9525" algn="ctr">
            <a:noFill/>
            <a:miter lim="800000"/>
            <a:headEnd/>
            <a:tailEnd/>
          </a:ln>
          <a:effectLst/>
        </p:spPr>
        <p:txBody>
          <a:bodyPr wrap="none" lIns="0" tIns="0" rIns="0" bIns="0" anchor="ctr"/>
          <a:lstStyle/>
          <a:p>
            <a:pPr>
              <a:spcBef>
                <a:spcPct val="120000"/>
              </a:spcBef>
            </a:pPr>
            <a:endParaRPr lang="en-US" sz="1200" dirty="0">
              <a:solidFill>
                <a:srgbClr val="3F3F3F"/>
              </a:solidFill>
              <a:latin typeface="Arial"/>
            </a:endParaRPr>
          </a:p>
        </p:txBody>
      </p:sp>
      <p:sp>
        <p:nvSpPr>
          <p:cNvPr id="30" name="Rectangle 29">
            <a:extLst>
              <a:ext uri="{FF2B5EF4-FFF2-40B4-BE49-F238E27FC236}">
                <a16:creationId xmlns:a16="http://schemas.microsoft.com/office/drawing/2014/main" id="{E2DA6B6F-2263-44E2-ADE7-DB86F203BEFA}"/>
              </a:ext>
            </a:extLst>
          </p:cNvPr>
          <p:cNvSpPr/>
          <p:nvPr/>
        </p:nvSpPr>
        <p:spPr>
          <a:xfrm>
            <a:off x="2103511" y="5174904"/>
            <a:ext cx="7984981" cy="692497"/>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spcAft>
                <a:spcPts val="600"/>
              </a:spcAft>
              <a:defRPr/>
            </a:pPr>
            <a:r>
              <a:rPr lang="en-US" b="1" kern="0" dirty="0">
                <a:solidFill>
                  <a:srgbClr val="373737"/>
                </a:solidFill>
                <a:latin typeface="Calibri"/>
              </a:rPr>
              <a:t>Future Loan Origination Functionality in the next 5 years:</a:t>
            </a:r>
          </a:p>
          <a:p>
            <a:pPr marL="515938" lvl="1" indent="-285750">
              <a:buFont typeface="Arial" panose="020B0604020202020204" pitchFamily="34" charset="0"/>
              <a:buChar char="•"/>
              <a:defRPr/>
            </a:pPr>
            <a:r>
              <a:rPr lang="en-US" sz="1600" kern="0" dirty="0">
                <a:solidFill>
                  <a:srgbClr val="000000"/>
                </a:solidFill>
                <a:latin typeface="Calibri"/>
                <a:cs typeface="Arial" panose="020B0604020202020204" pitchFamily="34" charset="0"/>
              </a:rPr>
              <a:t>Automated Origination Functionality	</a:t>
            </a:r>
            <a:r>
              <a:rPr lang="en-US" sz="1200" dirty="0">
                <a:solidFill>
                  <a:srgbClr val="000000"/>
                </a:solidFill>
                <a:latin typeface="Calibri"/>
              </a:rPr>
              <a:t>•          </a:t>
            </a:r>
            <a:r>
              <a:rPr lang="en-US" sz="1600" kern="0" dirty="0">
                <a:solidFill>
                  <a:srgbClr val="000000"/>
                </a:solidFill>
                <a:latin typeface="Calibri"/>
                <a:cs typeface="Arial" panose="020B0604020202020204" pitchFamily="34" charset="0"/>
              </a:rPr>
              <a:t>Automated Underwriting Functionality</a:t>
            </a:r>
          </a:p>
        </p:txBody>
      </p:sp>
      <p:sp>
        <p:nvSpPr>
          <p:cNvPr id="31" name="Rectangle 239">
            <a:extLst>
              <a:ext uri="{FF2B5EF4-FFF2-40B4-BE49-F238E27FC236}">
                <a16:creationId xmlns:a16="http://schemas.microsoft.com/office/drawing/2014/main" id="{A66D8CBE-0DC6-47EA-938C-D7211009368D}"/>
              </a:ext>
            </a:extLst>
          </p:cNvPr>
          <p:cNvSpPr>
            <a:spLocks noChangeArrowheads="1"/>
          </p:cNvSpPr>
          <p:nvPr/>
        </p:nvSpPr>
        <p:spPr bwMode="gray">
          <a:xfrm>
            <a:off x="3344918" y="3445825"/>
            <a:ext cx="1608083" cy="258149"/>
          </a:xfrm>
          <a:prstGeom prst="rect">
            <a:avLst/>
          </a:prstGeom>
          <a:solidFill>
            <a:schemeClr val="tx2"/>
          </a:solidFill>
          <a:ln w="9525" algn="ctr">
            <a:noFill/>
            <a:miter lim="800000"/>
            <a:headEnd/>
            <a:tailEnd/>
          </a:ln>
        </p:spPr>
        <p:txBody>
          <a:bodyPr wrap="none" lIns="0" tIns="0" rIns="0" bIns="0" anchor="ctr"/>
          <a:lstStyle/>
          <a:p>
            <a:pPr>
              <a:defRPr/>
            </a:pPr>
            <a:endParaRPr lang="en-US" sz="1200" kern="0" dirty="0">
              <a:solidFill>
                <a:srgbClr val="000000"/>
              </a:solidFill>
              <a:latin typeface="Arial"/>
            </a:endParaRPr>
          </a:p>
        </p:txBody>
      </p:sp>
      <p:sp>
        <p:nvSpPr>
          <p:cNvPr id="32" name="Rectangle 239">
            <a:extLst>
              <a:ext uri="{FF2B5EF4-FFF2-40B4-BE49-F238E27FC236}">
                <a16:creationId xmlns:a16="http://schemas.microsoft.com/office/drawing/2014/main" id="{A767D873-A8E0-4A1A-837C-9B3BF4DE0712}"/>
              </a:ext>
            </a:extLst>
          </p:cNvPr>
          <p:cNvSpPr>
            <a:spLocks noChangeArrowheads="1"/>
          </p:cNvSpPr>
          <p:nvPr/>
        </p:nvSpPr>
        <p:spPr bwMode="gray">
          <a:xfrm>
            <a:off x="7468057" y="4136083"/>
            <a:ext cx="532944" cy="258149"/>
          </a:xfrm>
          <a:prstGeom prst="rect">
            <a:avLst/>
          </a:prstGeom>
          <a:solidFill>
            <a:schemeClr val="tx2"/>
          </a:solidFill>
          <a:ln w="9525" algn="ctr">
            <a:noFill/>
            <a:miter lim="800000"/>
            <a:headEnd/>
            <a:tailEnd/>
          </a:ln>
        </p:spPr>
        <p:txBody>
          <a:bodyPr wrap="none" lIns="0" tIns="0" rIns="0" bIns="0" anchor="ctr"/>
          <a:lstStyle/>
          <a:p>
            <a:pPr>
              <a:defRPr/>
            </a:pPr>
            <a:endParaRPr lang="en-US" sz="1200" kern="0" dirty="0">
              <a:solidFill>
                <a:srgbClr val="000000"/>
              </a:solidFill>
              <a:latin typeface="Arial"/>
            </a:endParaRPr>
          </a:p>
        </p:txBody>
      </p:sp>
    </p:spTree>
    <p:extLst>
      <p:ext uri="{BB962C8B-B14F-4D97-AF65-F5344CB8AC3E}">
        <p14:creationId xmlns:p14="http://schemas.microsoft.com/office/powerpoint/2010/main" val="31955047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a:solidFill>
                  <a:prstClr val="white"/>
                </a:solidFill>
                <a:latin typeface="Calibri"/>
              </a:rPr>
              <a:pPr/>
              <a:t>16</a:t>
            </a:fld>
            <a:endParaRPr lang="en-US" dirty="0">
              <a:solidFill>
                <a:prstClr val="white"/>
              </a:solidFill>
              <a:latin typeface="Calibri"/>
            </a:endParaRPr>
          </a:p>
        </p:txBody>
      </p:sp>
      <p:sp>
        <p:nvSpPr>
          <p:cNvPr id="5" name="TextBox 4"/>
          <p:cNvSpPr txBox="1"/>
          <p:nvPr/>
        </p:nvSpPr>
        <p:spPr>
          <a:xfrm>
            <a:off x="4686300" y="3044281"/>
            <a:ext cx="2819400" cy="769441"/>
          </a:xfrm>
          <a:prstGeom prst="rect">
            <a:avLst/>
          </a:prstGeom>
          <a:noFill/>
        </p:spPr>
        <p:txBody>
          <a:bodyPr wrap="square" rtlCol="0">
            <a:spAutoFit/>
          </a:bodyPr>
          <a:lstStyle/>
          <a:p>
            <a:pPr algn="ctr"/>
            <a:r>
              <a:rPr lang="en-US" sz="4400" b="1" dirty="0">
                <a:solidFill>
                  <a:srgbClr val="000000"/>
                </a:solidFill>
                <a:latin typeface="Calibri"/>
              </a:rPr>
              <a:t>Questions?</a:t>
            </a:r>
          </a:p>
        </p:txBody>
      </p:sp>
      <p:pic>
        <p:nvPicPr>
          <p:cNvPr id="4" name="Picture 2" descr="C:\Users\vacoGrovem\AppData\Local\Microsoft\Windows\Temporary Internet Files\Content.Outlook\83QVOJUE\CHOOSE-VA-rev.png">
            <a:extLst>
              <a:ext uri="{FF2B5EF4-FFF2-40B4-BE49-F238E27FC236}">
                <a16:creationId xmlns:a16="http://schemas.microsoft.com/office/drawing/2014/main" id="{C494C435-BA28-4F26-9EB1-950E4682230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4388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alpha val="73000"/>
          </a:schemeClr>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D983F1FA-211D-3044-9E35-958DFBC26156}" type="slidenum">
              <a:rPr lang="en-US">
                <a:solidFill>
                  <a:prstClr val="white"/>
                </a:solidFill>
                <a:latin typeface="Calibri"/>
              </a:rPr>
              <a:pPr>
                <a:defRPr/>
              </a:pPr>
              <a:t>2</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dirty="0"/>
              <a:t>2019 VALERI Modernization</a:t>
            </a:r>
          </a:p>
        </p:txBody>
      </p:sp>
      <p:grpSp>
        <p:nvGrpSpPr>
          <p:cNvPr id="6" name="States"/>
          <p:cNvGrpSpPr/>
          <p:nvPr/>
        </p:nvGrpSpPr>
        <p:grpSpPr>
          <a:xfrm>
            <a:off x="1981276" y="842946"/>
            <a:ext cx="8229448" cy="5021401"/>
            <a:chOff x="1374041" y="1588926"/>
            <a:chExt cx="7393291" cy="4526265"/>
          </a:xfrm>
          <a:solidFill>
            <a:schemeClr val="accent5">
              <a:alpha val="30000"/>
            </a:schemeClr>
          </a:solidFill>
        </p:grpSpPr>
        <p:sp>
          <p:nvSpPr>
            <p:cNvPr id="7" name="Freeform 6"/>
            <p:cNvSpPr>
              <a:spLocks noEditPoints="1"/>
            </p:cNvSpPr>
            <p:nvPr/>
          </p:nvSpPr>
          <p:spPr bwMode="gray">
            <a:xfrm>
              <a:off x="1944654" y="1588926"/>
              <a:ext cx="919460" cy="668259"/>
            </a:xfrm>
            <a:custGeom>
              <a:avLst/>
              <a:gdLst/>
              <a:ahLst/>
              <a:cxnLst>
                <a:cxn ang="0">
                  <a:pos x="166" y="92"/>
                </a:cxn>
                <a:cxn ang="0">
                  <a:pos x="171" y="63"/>
                </a:cxn>
                <a:cxn ang="0">
                  <a:pos x="180" y="60"/>
                </a:cxn>
                <a:cxn ang="0">
                  <a:pos x="185" y="29"/>
                </a:cxn>
                <a:cxn ang="0">
                  <a:pos x="175" y="0"/>
                </a:cxn>
                <a:cxn ang="0">
                  <a:pos x="571" y="101"/>
                </a:cxn>
                <a:cxn ang="0">
                  <a:pos x="530" y="282"/>
                </a:cxn>
                <a:cxn ang="0">
                  <a:pos x="508" y="376"/>
                </a:cxn>
                <a:cxn ang="0">
                  <a:pos x="513" y="398"/>
                </a:cxn>
                <a:cxn ang="0">
                  <a:pos x="469" y="405"/>
                </a:cxn>
                <a:cxn ang="0">
                  <a:pos x="354" y="383"/>
                </a:cxn>
                <a:cxn ang="0">
                  <a:pos x="324" y="380"/>
                </a:cxn>
                <a:cxn ang="0">
                  <a:pos x="293" y="381"/>
                </a:cxn>
                <a:cxn ang="0">
                  <a:pos x="264" y="386"/>
                </a:cxn>
                <a:cxn ang="0">
                  <a:pos x="233" y="376"/>
                </a:cxn>
                <a:cxn ang="0">
                  <a:pos x="207" y="380"/>
                </a:cxn>
                <a:cxn ang="0">
                  <a:pos x="190" y="380"/>
                </a:cxn>
                <a:cxn ang="0">
                  <a:pos x="182" y="368"/>
                </a:cxn>
                <a:cxn ang="0">
                  <a:pos x="154" y="361"/>
                </a:cxn>
                <a:cxn ang="0">
                  <a:pos x="132" y="361"/>
                </a:cxn>
                <a:cxn ang="0">
                  <a:pos x="103" y="359"/>
                </a:cxn>
                <a:cxn ang="0">
                  <a:pos x="76" y="342"/>
                </a:cxn>
                <a:cxn ang="0">
                  <a:pos x="81" y="320"/>
                </a:cxn>
                <a:cxn ang="0">
                  <a:pos x="74" y="291"/>
                </a:cxn>
                <a:cxn ang="0">
                  <a:pos x="55" y="282"/>
                </a:cxn>
                <a:cxn ang="0">
                  <a:pos x="14" y="258"/>
                </a:cxn>
                <a:cxn ang="0">
                  <a:pos x="9" y="241"/>
                </a:cxn>
                <a:cxn ang="0">
                  <a:pos x="24" y="212"/>
                </a:cxn>
                <a:cxn ang="0">
                  <a:pos x="14" y="197"/>
                </a:cxn>
                <a:cxn ang="0">
                  <a:pos x="23" y="188"/>
                </a:cxn>
                <a:cxn ang="0">
                  <a:pos x="16" y="181"/>
                </a:cxn>
                <a:cxn ang="0">
                  <a:pos x="23" y="104"/>
                </a:cxn>
                <a:cxn ang="0">
                  <a:pos x="23" y="22"/>
                </a:cxn>
                <a:cxn ang="0">
                  <a:pos x="137" y="89"/>
                </a:cxn>
                <a:cxn ang="0">
                  <a:pos x="151" y="111"/>
                </a:cxn>
                <a:cxn ang="0">
                  <a:pos x="134" y="116"/>
                </a:cxn>
                <a:cxn ang="0">
                  <a:pos x="110" y="163"/>
                </a:cxn>
                <a:cxn ang="0">
                  <a:pos x="124" y="139"/>
                </a:cxn>
                <a:cxn ang="0">
                  <a:pos x="159" y="115"/>
                </a:cxn>
                <a:cxn ang="0">
                  <a:pos x="147" y="154"/>
                </a:cxn>
                <a:cxn ang="0">
                  <a:pos x="139" y="180"/>
                </a:cxn>
                <a:cxn ang="0">
                  <a:pos x="137" y="166"/>
                </a:cxn>
                <a:cxn ang="0">
                  <a:pos x="122" y="186"/>
                </a:cxn>
                <a:cxn ang="0">
                  <a:pos x="98" y="174"/>
                </a:cxn>
                <a:cxn ang="0">
                  <a:pos x="122" y="197"/>
                </a:cxn>
                <a:cxn ang="0">
                  <a:pos x="147" y="185"/>
                </a:cxn>
                <a:cxn ang="0">
                  <a:pos x="159" y="173"/>
                </a:cxn>
                <a:cxn ang="0">
                  <a:pos x="177" y="116"/>
                </a:cxn>
                <a:cxn ang="0">
                  <a:pos x="144" y="51"/>
                </a:cxn>
                <a:cxn ang="0">
                  <a:pos x="141" y="33"/>
                </a:cxn>
                <a:cxn ang="0">
                  <a:pos x="142" y="46"/>
                </a:cxn>
                <a:cxn ang="0">
                  <a:pos x="171" y="74"/>
                </a:cxn>
                <a:cxn ang="0">
                  <a:pos x="163" y="98"/>
                </a:cxn>
                <a:cxn ang="0">
                  <a:pos x="166" y="116"/>
                </a:cxn>
                <a:cxn ang="0">
                  <a:pos x="153" y="79"/>
                </a:cxn>
              </a:cxnLst>
              <a:rect l="0" t="0" r="r" b="b"/>
              <a:pathLst>
                <a:path w="571" h="415">
                  <a:moveTo>
                    <a:pt x="178" y="86"/>
                  </a:moveTo>
                  <a:lnTo>
                    <a:pt x="173" y="84"/>
                  </a:lnTo>
                  <a:lnTo>
                    <a:pt x="171" y="94"/>
                  </a:lnTo>
                  <a:lnTo>
                    <a:pt x="175" y="103"/>
                  </a:lnTo>
                  <a:lnTo>
                    <a:pt x="166" y="92"/>
                  </a:lnTo>
                  <a:lnTo>
                    <a:pt x="168" y="84"/>
                  </a:lnTo>
                  <a:lnTo>
                    <a:pt x="171" y="80"/>
                  </a:lnTo>
                  <a:lnTo>
                    <a:pt x="178" y="84"/>
                  </a:lnTo>
                  <a:lnTo>
                    <a:pt x="182" y="79"/>
                  </a:lnTo>
                  <a:lnTo>
                    <a:pt x="171" y="63"/>
                  </a:lnTo>
                  <a:lnTo>
                    <a:pt x="165" y="62"/>
                  </a:lnTo>
                  <a:lnTo>
                    <a:pt x="165" y="53"/>
                  </a:lnTo>
                  <a:lnTo>
                    <a:pt x="171" y="51"/>
                  </a:lnTo>
                  <a:lnTo>
                    <a:pt x="177" y="60"/>
                  </a:lnTo>
                  <a:lnTo>
                    <a:pt x="180" y="60"/>
                  </a:lnTo>
                  <a:lnTo>
                    <a:pt x="180" y="50"/>
                  </a:lnTo>
                  <a:lnTo>
                    <a:pt x="187" y="46"/>
                  </a:lnTo>
                  <a:lnTo>
                    <a:pt x="183" y="41"/>
                  </a:lnTo>
                  <a:lnTo>
                    <a:pt x="183" y="34"/>
                  </a:lnTo>
                  <a:lnTo>
                    <a:pt x="185" y="29"/>
                  </a:lnTo>
                  <a:lnTo>
                    <a:pt x="173" y="21"/>
                  </a:lnTo>
                  <a:lnTo>
                    <a:pt x="173" y="9"/>
                  </a:lnTo>
                  <a:lnTo>
                    <a:pt x="170" y="4"/>
                  </a:lnTo>
                  <a:lnTo>
                    <a:pt x="175" y="5"/>
                  </a:lnTo>
                  <a:lnTo>
                    <a:pt x="175" y="0"/>
                  </a:lnTo>
                  <a:lnTo>
                    <a:pt x="306" y="36"/>
                  </a:lnTo>
                  <a:lnTo>
                    <a:pt x="445" y="72"/>
                  </a:lnTo>
                  <a:lnTo>
                    <a:pt x="491" y="82"/>
                  </a:lnTo>
                  <a:lnTo>
                    <a:pt x="544" y="94"/>
                  </a:lnTo>
                  <a:lnTo>
                    <a:pt x="571" y="101"/>
                  </a:lnTo>
                  <a:lnTo>
                    <a:pt x="568" y="118"/>
                  </a:lnTo>
                  <a:lnTo>
                    <a:pt x="549" y="200"/>
                  </a:lnTo>
                  <a:lnTo>
                    <a:pt x="547" y="209"/>
                  </a:lnTo>
                  <a:lnTo>
                    <a:pt x="532" y="272"/>
                  </a:lnTo>
                  <a:lnTo>
                    <a:pt x="530" y="282"/>
                  </a:lnTo>
                  <a:lnTo>
                    <a:pt x="527" y="296"/>
                  </a:lnTo>
                  <a:lnTo>
                    <a:pt x="513" y="357"/>
                  </a:lnTo>
                  <a:lnTo>
                    <a:pt x="512" y="368"/>
                  </a:lnTo>
                  <a:lnTo>
                    <a:pt x="510" y="373"/>
                  </a:lnTo>
                  <a:lnTo>
                    <a:pt x="508" y="376"/>
                  </a:lnTo>
                  <a:lnTo>
                    <a:pt x="510" y="378"/>
                  </a:lnTo>
                  <a:lnTo>
                    <a:pt x="512" y="381"/>
                  </a:lnTo>
                  <a:lnTo>
                    <a:pt x="512" y="388"/>
                  </a:lnTo>
                  <a:lnTo>
                    <a:pt x="512" y="393"/>
                  </a:lnTo>
                  <a:lnTo>
                    <a:pt x="513" y="398"/>
                  </a:lnTo>
                  <a:lnTo>
                    <a:pt x="508" y="403"/>
                  </a:lnTo>
                  <a:lnTo>
                    <a:pt x="506" y="405"/>
                  </a:lnTo>
                  <a:lnTo>
                    <a:pt x="508" y="407"/>
                  </a:lnTo>
                  <a:lnTo>
                    <a:pt x="510" y="415"/>
                  </a:lnTo>
                  <a:lnTo>
                    <a:pt x="469" y="405"/>
                  </a:lnTo>
                  <a:lnTo>
                    <a:pt x="460" y="403"/>
                  </a:lnTo>
                  <a:lnTo>
                    <a:pt x="433" y="397"/>
                  </a:lnTo>
                  <a:lnTo>
                    <a:pt x="431" y="397"/>
                  </a:lnTo>
                  <a:lnTo>
                    <a:pt x="359" y="380"/>
                  </a:lnTo>
                  <a:lnTo>
                    <a:pt x="354" y="383"/>
                  </a:lnTo>
                  <a:lnTo>
                    <a:pt x="346" y="385"/>
                  </a:lnTo>
                  <a:lnTo>
                    <a:pt x="344" y="385"/>
                  </a:lnTo>
                  <a:lnTo>
                    <a:pt x="334" y="381"/>
                  </a:lnTo>
                  <a:lnTo>
                    <a:pt x="329" y="381"/>
                  </a:lnTo>
                  <a:lnTo>
                    <a:pt x="324" y="380"/>
                  </a:lnTo>
                  <a:lnTo>
                    <a:pt x="318" y="381"/>
                  </a:lnTo>
                  <a:lnTo>
                    <a:pt x="313" y="378"/>
                  </a:lnTo>
                  <a:lnTo>
                    <a:pt x="310" y="378"/>
                  </a:lnTo>
                  <a:lnTo>
                    <a:pt x="305" y="383"/>
                  </a:lnTo>
                  <a:lnTo>
                    <a:pt x="293" y="381"/>
                  </a:lnTo>
                  <a:lnTo>
                    <a:pt x="291" y="381"/>
                  </a:lnTo>
                  <a:lnTo>
                    <a:pt x="281" y="381"/>
                  </a:lnTo>
                  <a:lnTo>
                    <a:pt x="276" y="383"/>
                  </a:lnTo>
                  <a:lnTo>
                    <a:pt x="269" y="383"/>
                  </a:lnTo>
                  <a:lnTo>
                    <a:pt x="264" y="386"/>
                  </a:lnTo>
                  <a:lnTo>
                    <a:pt x="257" y="385"/>
                  </a:lnTo>
                  <a:lnTo>
                    <a:pt x="245" y="385"/>
                  </a:lnTo>
                  <a:lnTo>
                    <a:pt x="241" y="383"/>
                  </a:lnTo>
                  <a:lnTo>
                    <a:pt x="238" y="378"/>
                  </a:lnTo>
                  <a:lnTo>
                    <a:pt x="233" y="376"/>
                  </a:lnTo>
                  <a:lnTo>
                    <a:pt x="231" y="376"/>
                  </a:lnTo>
                  <a:lnTo>
                    <a:pt x="228" y="378"/>
                  </a:lnTo>
                  <a:lnTo>
                    <a:pt x="214" y="380"/>
                  </a:lnTo>
                  <a:lnTo>
                    <a:pt x="211" y="381"/>
                  </a:lnTo>
                  <a:lnTo>
                    <a:pt x="207" y="380"/>
                  </a:lnTo>
                  <a:lnTo>
                    <a:pt x="206" y="380"/>
                  </a:lnTo>
                  <a:lnTo>
                    <a:pt x="202" y="378"/>
                  </a:lnTo>
                  <a:lnTo>
                    <a:pt x="199" y="378"/>
                  </a:lnTo>
                  <a:lnTo>
                    <a:pt x="194" y="380"/>
                  </a:lnTo>
                  <a:lnTo>
                    <a:pt x="190" y="380"/>
                  </a:lnTo>
                  <a:lnTo>
                    <a:pt x="188" y="378"/>
                  </a:lnTo>
                  <a:lnTo>
                    <a:pt x="188" y="373"/>
                  </a:lnTo>
                  <a:lnTo>
                    <a:pt x="188" y="373"/>
                  </a:lnTo>
                  <a:lnTo>
                    <a:pt x="185" y="369"/>
                  </a:lnTo>
                  <a:lnTo>
                    <a:pt x="182" y="368"/>
                  </a:lnTo>
                  <a:lnTo>
                    <a:pt x="178" y="366"/>
                  </a:lnTo>
                  <a:lnTo>
                    <a:pt x="175" y="366"/>
                  </a:lnTo>
                  <a:lnTo>
                    <a:pt x="173" y="364"/>
                  </a:lnTo>
                  <a:lnTo>
                    <a:pt x="168" y="361"/>
                  </a:lnTo>
                  <a:lnTo>
                    <a:pt x="154" y="361"/>
                  </a:lnTo>
                  <a:lnTo>
                    <a:pt x="149" y="359"/>
                  </a:lnTo>
                  <a:lnTo>
                    <a:pt x="146" y="357"/>
                  </a:lnTo>
                  <a:lnTo>
                    <a:pt x="141" y="357"/>
                  </a:lnTo>
                  <a:lnTo>
                    <a:pt x="136" y="361"/>
                  </a:lnTo>
                  <a:lnTo>
                    <a:pt x="132" y="361"/>
                  </a:lnTo>
                  <a:lnTo>
                    <a:pt x="130" y="361"/>
                  </a:lnTo>
                  <a:lnTo>
                    <a:pt x="124" y="362"/>
                  </a:lnTo>
                  <a:lnTo>
                    <a:pt x="110" y="364"/>
                  </a:lnTo>
                  <a:lnTo>
                    <a:pt x="106" y="362"/>
                  </a:lnTo>
                  <a:lnTo>
                    <a:pt x="103" y="359"/>
                  </a:lnTo>
                  <a:lnTo>
                    <a:pt x="96" y="357"/>
                  </a:lnTo>
                  <a:lnTo>
                    <a:pt x="89" y="352"/>
                  </a:lnTo>
                  <a:lnTo>
                    <a:pt x="83" y="349"/>
                  </a:lnTo>
                  <a:lnTo>
                    <a:pt x="81" y="345"/>
                  </a:lnTo>
                  <a:lnTo>
                    <a:pt x="76" y="342"/>
                  </a:lnTo>
                  <a:lnTo>
                    <a:pt x="77" y="335"/>
                  </a:lnTo>
                  <a:lnTo>
                    <a:pt x="79" y="332"/>
                  </a:lnTo>
                  <a:lnTo>
                    <a:pt x="79" y="327"/>
                  </a:lnTo>
                  <a:lnTo>
                    <a:pt x="81" y="321"/>
                  </a:lnTo>
                  <a:lnTo>
                    <a:pt x="81" y="320"/>
                  </a:lnTo>
                  <a:lnTo>
                    <a:pt x="81" y="315"/>
                  </a:lnTo>
                  <a:lnTo>
                    <a:pt x="81" y="311"/>
                  </a:lnTo>
                  <a:lnTo>
                    <a:pt x="79" y="301"/>
                  </a:lnTo>
                  <a:lnTo>
                    <a:pt x="79" y="296"/>
                  </a:lnTo>
                  <a:lnTo>
                    <a:pt x="74" y="291"/>
                  </a:lnTo>
                  <a:lnTo>
                    <a:pt x="71" y="284"/>
                  </a:lnTo>
                  <a:lnTo>
                    <a:pt x="65" y="280"/>
                  </a:lnTo>
                  <a:lnTo>
                    <a:pt x="62" y="279"/>
                  </a:lnTo>
                  <a:lnTo>
                    <a:pt x="59" y="280"/>
                  </a:lnTo>
                  <a:lnTo>
                    <a:pt x="55" y="282"/>
                  </a:lnTo>
                  <a:lnTo>
                    <a:pt x="52" y="280"/>
                  </a:lnTo>
                  <a:lnTo>
                    <a:pt x="43" y="263"/>
                  </a:lnTo>
                  <a:lnTo>
                    <a:pt x="33" y="262"/>
                  </a:lnTo>
                  <a:lnTo>
                    <a:pt x="26" y="257"/>
                  </a:lnTo>
                  <a:lnTo>
                    <a:pt x="14" y="258"/>
                  </a:lnTo>
                  <a:lnTo>
                    <a:pt x="7" y="248"/>
                  </a:lnTo>
                  <a:lnTo>
                    <a:pt x="0" y="251"/>
                  </a:lnTo>
                  <a:lnTo>
                    <a:pt x="12" y="214"/>
                  </a:lnTo>
                  <a:lnTo>
                    <a:pt x="14" y="221"/>
                  </a:lnTo>
                  <a:lnTo>
                    <a:pt x="9" y="241"/>
                  </a:lnTo>
                  <a:lnTo>
                    <a:pt x="21" y="243"/>
                  </a:lnTo>
                  <a:lnTo>
                    <a:pt x="18" y="233"/>
                  </a:lnTo>
                  <a:lnTo>
                    <a:pt x="21" y="231"/>
                  </a:lnTo>
                  <a:lnTo>
                    <a:pt x="19" y="217"/>
                  </a:lnTo>
                  <a:lnTo>
                    <a:pt x="24" y="212"/>
                  </a:lnTo>
                  <a:lnTo>
                    <a:pt x="31" y="210"/>
                  </a:lnTo>
                  <a:lnTo>
                    <a:pt x="28" y="207"/>
                  </a:lnTo>
                  <a:lnTo>
                    <a:pt x="18" y="205"/>
                  </a:lnTo>
                  <a:lnTo>
                    <a:pt x="14" y="204"/>
                  </a:lnTo>
                  <a:lnTo>
                    <a:pt x="14" y="197"/>
                  </a:lnTo>
                  <a:lnTo>
                    <a:pt x="16" y="185"/>
                  </a:lnTo>
                  <a:lnTo>
                    <a:pt x="18" y="185"/>
                  </a:lnTo>
                  <a:lnTo>
                    <a:pt x="18" y="188"/>
                  </a:lnTo>
                  <a:lnTo>
                    <a:pt x="21" y="195"/>
                  </a:lnTo>
                  <a:lnTo>
                    <a:pt x="23" y="188"/>
                  </a:lnTo>
                  <a:lnTo>
                    <a:pt x="42" y="186"/>
                  </a:lnTo>
                  <a:lnTo>
                    <a:pt x="28" y="180"/>
                  </a:lnTo>
                  <a:lnTo>
                    <a:pt x="28" y="174"/>
                  </a:lnTo>
                  <a:lnTo>
                    <a:pt x="23" y="171"/>
                  </a:lnTo>
                  <a:lnTo>
                    <a:pt x="16" y="181"/>
                  </a:lnTo>
                  <a:lnTo>
                    <a:pt x="21" y="157"/>
                  </a:lnTo>
                  <a:lnTo>
                    <a:pt x="21" y="145"/>
                  </a:lnTo>
                  <a:lnTo>
                    <a:pt x="18" y="135"/>
                  </a:lnTo>
                  <a:lnTo>
                    <a:pt x="21" y="116"/>
                  </a:lnTo>
                  <a:lnTo>
                    <a:pt x="23" y="104"/>
                  </a:lnTo>
                  <a:lnTo>
                    <a:pt x="19" y="86"/>
                  </a:lnTo>
                  <a:lnTo>
                    <a:pt x="14" y="75"/>
                  </a:lnTo>
                  <a:lnTo>
                    <a:pt x="14" y="45"/>
                  </a:lnTo>
                  <a:lnTo>
                    <a:pt x="18" y="38"/>
                  </a:lnTo>
                  <a:lnTo>
                    <a:pt x="23" y="22"/>
                  </a:lnTo>
                  <a:lnTo>
                    <a:pt x="31" y="28"/>
                  </a:lnTo>
                  <a:lnTo>
                    <a:pt x="65" y="60"/>
                  </a:lnTo>
                  <a:lnTo>
                    <a:pt x="105" y="77"/>
                  </a:lnTo>
                  <a:lnTo>
                    <a:pt x="125" y="79"/>
                  </a:lnTo>
                  <a:lnTo>
                    <a:pt x="137" y="89"/>
                  </a:lnTo>
                  <a:lnTo>
                    <a:pt x="137" y="91"/>
                  </a:lnTo>
                  <a:lnTo>
                    <a:pt x="144" y="86"/>
                  </a:lnTo>
                  <a:lnTo>
                    <a:pt x="149" y="87"/>
                  </a:lnTo>
                  <a:lnTo>
                    <a:pt x="146" y="92"/>
                  </a:lnTo>
                  <a:lnTo>
                    <a:pt x="151" y="111"/>
                  </a:lnTo>
                  <a:lnTo>
                    <a:pt x="149" y="118"/>
                  </a:lnTo>
                  <a:lnTo>
                    <a:pt x="141" y="121"/>
                  </a:lnTo>
                  <a:lnTo>
                    <a:pt x="137" y="121"/>
                  </a:lnTo>
                  <a:lnTo>
                    <a:pt x="139" y="115"/>
                  </a:lnTo>
                  <a:lnTo>
                    <a:pt x="134" y="116"/>
                  </a:lnTo>
                  <a:lnTo>
                    <a:pt x="127" y="132"/>
                  </a:lnTo>
                  <a:lnTo>
                    <a:pt x="118" y="137"/>
                  </a:lnTo>
                  <a:lnTo>
                    <a:pt x="105" y="151"/>
                  </a:lnTo>
                  <a:lnTo>
                    <a:pt x="100" y="161"/>
                  </a:lnTo>
                  <a:lnTo>
                    <a:pt x="110" y="163"/>
                  </a:lnTo>
                  <a:lnTo>
                    <a:pt x="124" y="157"/>
                  </a:lnTo>
                  <a:lnTo>
                    <a:pt x="108" y="163"/>
                  </a:lnTo>
                  <a:lnTo>
                    <a:pt x="103" y="159"/>
                  </a:lnTo>
                  <a:lnTo>
                    <a:pt x="113" y="145"/>
                  </a:lnTo>
                  <a:lnTo>
                    <a:pt x="124" y="139"/>
                  </a:lnTo>
                  <a:lnTo>
                    <a:pt x="137" y="137"/>
                  </a:lnTo>
                  <a:lnTo>
                    <a:pt x="141" y="127"/>
                  </a:lnTo>
                  <a:lnTo>
                    <a:pt x="153" y="120"/>
                  </a:lnTo>
                  <a:lnTo>
                    <a:pt x="154" y="111"/>
                  </a:lnTo>
                  <a:lnTo>
                    <a:pt x="159" y="115"/>
                  </a:lnTo>
                  <a:lnTo>
                    <a:pt x="159" y="132"/>
                  </a:lnTo>
                  <a:lnTo>
                    <a:pt x="147" y="135"/>
                  </a:lnTo>
                  <a:lnTo>
                    <a:pt x="146" y="149"/>
                  </a:lnTo>
                  <a:lnTo>
                    <a:pt x="147" y="149"/>
                  </a:lnTo>
                  <a:lnTo>
                    <a:pt x="147" y="154"/>
                  </a:lnTo>
                  <a:lnTo>
                    <a:pt x="149" y="157"/>
                  </a:lnTo>
                  <a:lnTo>
                    <a:pt x="142" y="168"/>
                  </a:lnTo>
                  <a:lnTo>
                    <a:pt x="142" y="169"/>
                  </a:lnTo>
                  <a:lnTo>
                    <a:pt x="139" y="173"/>
                  </a:lnTo>
                  <a:lnTo>
                    <a:pt x="139" y="180"/>
                  </a:lnTo>
                  <a:lnTo>
                    <a:pt x="137" y="181"/>
                  </a:lnTo>
                  <a:lnTo>
                    <a:pt x="136" y="176"/>
                  </a:lnTo>
                  <a:lnTo>
                    <a:pt x="136" y="180"/>
                  </a:lnTo>
                  <a:lnTo>
                    <a:pt x="129" y="174"/>
                  </a:lnTo>
                  <a:lnTo>
                    <a:pt x="137" y="166"/>
                  </a:lnTo>
                  <a:lnTo>
                    <a:pt x="137" y="166"/>
                  </a:lnTo>
                  <a:lnTo>
                    <a:pt x="127" y="169"/>
                  </a:lnTo>
                  <a:lnTo>
                    <a:pt x="124" y="176"/>
                  </a:lnTo>
                  <a:lnTo>
                    <a:pt x="125" y="181"/>
                  </a:lnTo>
                  <a:lnTo>
                    <a:pt x="122" y="186"/>
                  </a:lnTo>
                  <a:lnTo>
                    <a:pt x="118" y="178"/>
                  </a:lnTo>
                  <a:lnTo>
                    <a:pt x="125" y="169"/>
                  </a:lnTo>
                  <a:lnTo>
                    <a:pt x="124" y="166"/>
                  </a:lnTo>
                  <a:lnTo>
                    <a:pt x="117" y="171"/>
                  </a:lnTo>
                  <a:lnTo>
                    <a:pt x="98" y="174"/>
                  </a:lnTo>
                  <a:lnTo>
                    <a:pt x="96" y="188"/>
                  </a:lnTo>
                  <a:lnTo>
                    <a:pt x="100" y="188"/>
                  </a:lnTo>
                  <a:lnTo>
                    <a:pt x="106" y="195"/>
                  </a:lnTo>
                  <a:lnTo>
                    <a:pt x="118" y="190"/>
                  </a:lnTo>
                  <a:lnTo>
                    <a:pt x="122" y="197"/>
                  </a:lnTo>
                  <a:lnTo>
                    <a:pt x="124" y="195"/>
                  </a:lnTo>
                  <a:lnTo>
                    <a:pt x="134" y="188"/>
                  </a:lnTo>
                  <a:lnTo>
                    <a:pt x="141" y="180"/>
                  </a:lnTo>
                  <a:lnTo>
                    <a:pt x="141" y="176"/>
                  </a:lnTo>
                  <a:lnTo>
                    <a:pt x="147" y="185"/>
                  </a:lnTo>
                  <a:lnTo>
                    <a:pt x="151" y="183"/>
                  </a:lnTo>
                  <a:lnTo>
                    <a:pt x="147" y="180"/>
                  </a:lnTo>
                  <a:lnTo>
                    <a:pt x="149" y="178"/>
                  </a:lnTo>
                  <a:lnTo>
                    <a:pt x="158" y="178"/>
                  </a:lnTo>
                  <a:lnTo>
                    <a:pt x="159" y="173"/>
                  </a:lnTo>
                  <a:lnTo>
                    <a:pt x="158" y="159"/>
                  </a:lnTo>
                  <a:lnTo>
                    <a:pt x="161" y="151"/>
                  </a:lnTo>
                  <a:lnTo>
                    <a:pt x="159" y="142"/>
                  </a:lnTo>
                  <a:lnTo>
                    <a:pt x="165" y="132"/>
                  </a:lnTo>
                  <a:lnTo>
                    <a:pt x="177" y="116"/>
                  </a:lnTo>
                  <a:lnTo>
                    <a:pt x="182" y="115"/>
                  </a:lnTo>
                  <a:lnTo>
                    <a:pt x="183" y="111"/>
                  </a:lnTo>
                  <a:lnTo>
                    <a:pt x="177" y="96"/>
                  </a:lnTo>
                  <a:lnTo>
                    <a:pt x="178" y="86"/>
                  </a:lnTo>
                  <a:close/>
                  <a:moveTo>
                    <a:pt x="144" y="51"/>
                  </a:moveTo>
                  <a:lnTo>
                    <a:pt x="137" y="46"/>
                  </a:lnTo>
                  <a:lnTo>
                    <a:pt x="134" y="39"/>
                  </a:lnTo>
                  <a:lnTo>
                    <a:pt x="134" y="36"/>
                  </a:lnTo>
                  <a:lnTo>
                    <a:pt x="137" y="31"/>
                  </a:lnTo>
                  <a:lnTo>
                    <a:pt x="141" y="33"/>
                  </a:lnTo>
                  <a:lnTo>
                    <a:pt x="146" y="39"/>
                  </a:lnTo>
                  <a:lnTo>
                    <a:pt x="144" y="43"/>
                  </a:lnTo>
                  <a:lnTo>
                    <a:pt x="147" y="43"/>
                  </a:lnTo>
                  <a:lnTo>
                    <a:pt x="142" y="45"/>
                  </a:lnTo>
                  <a:lnTo>
                    <a:pt x="142" y="46"/>
                  </a:lnTo>
                  <a:lnTo>
                    <a:pt x="144" y="51"/>
                  </a:lnTo>
                  <a:close/>
                  <a:moveTo>
                    <a:pt x="156" y="74"/>
                  </a:moveTo>
                  <a:lnTo>
                    <a:pt x="165" y="63"/>
                  </a:lnTo>
                  <a:lnTo>
                    <a:pt x="168" y="63"/>
                  </a:lnTo>
                  <a:lnTo>
                    <a:pt x="171" y="74"/>
                  </a:lnTo>
                  <a:lnTo>
                    <a:pt x="170" y="77"/>
                  </a:lnTo>
                  <a:lnTo>
                    <a:pt x="165" y="74"/>
                  </a:lnTo>
                  <a:lnTo>
                    <a:pt x="154" y="79"/>
                  </a:lnTo>
                  <a:lnTo>
                    <a:pt x="163" y="84"/>
                  </a:lnTo>
                  <a:lnTo>
                    <a:pt x="163" y="98"/>
                  </a:lnTo>
                  <a:lnTo>
                    <a:pt x="166" y="98"/>
                  </a:lnTo>
                  <a:lnTo>
                    <a:pt x="173" y="106"/>
                  </a:lnTo>
                  <a:lnTo>
                    <a:pt x="173" y="113"/>
                  </a:lnTo>
                  <a:lnTo>
                    <a:pt x="170" y="118"/>
                  </a:lnTo>
                  <a:lnTo>
                    <a:pt x="166" y="116"/>
                  </a:lnTo>
                  <a:lnTo>
                    <a:pt x="166" y="108"/>
                  </a:lnTo>
                  <a:lnTo>
                    <a:pt x="159" y="110"/>
                  </a:lnTo>
                  <a:lnTo>
                    <a:pt x="158" y="101"/>
                  </a:lnTo>
                  <a:lnTo>
                    <a:pt x="156" y="84"/>
                  </a:lnTo>
                  <a:lnTo>
                    <a:pt x="153" y="79"/>
                  </a:lnTo>
                  <a:lnTo>
                    <a:pt x="156" y="74"/>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8" name="Freeform 7"/>
            <p:cNvSpPr>
              <a:spLocks/>
            </p:cNvSpPr>
            <p:nvPr/>
          </p:nvSpPr>
          <p:spPr bwMode="gray">
            <a:xfrm>
              <a:off x="2938186" y="1775716"/>
              <a:ext cx="1400927" cy="888864"/>
            </a:xfrm>
            <a:custGeom>
              <a:avLst/>
              <a:gdLst/>
              <a:ahLst/>
              <a:cxnLst>
                <a:cxn ang="0">
                  <a:pos x="269" y="520"/>
                </a:cxn>
                <a:cxn ang="0">
                  <a:pos x="269" y="530"/>
                </a:cxn>
                <a:cxn ang="0">
                  <a:pos x="257" y="528"/>
                </a:cxn>
                <a:cxn ang="0">
                  <a:pos x="241" y="530"/>
                </a:cxn>
                <a:cxn ang="0">
                  <a:pos x="224" y="525"/>
                </a:cxn>
                <a:cxn ang="0">
                  <a:pos x="211" y="522"/>
                </a:cxn>
                <a:cxn ang="0">
                  <a:pos x="200" y="525"/>
                </a:cxn>
                <a:cxn ang="0">
                  <a:pos x="185" y="523"/>
                </a:cxn>
                <a:cxn ang="0">
                  <a:pos x="166" y="523"/>
                </a:cxn>
                <a:cxn ang="0">
                  <a:pos x="159" y="530"/>
                </a:cxn>
                <a:cxn ang="0">
                  <a:pos x="151" y="520"/>
                </a:cxn>
                <a:cxn ang="0">
                  <a:pos x="147" y="506"/>
                </a:cxn>
                <a:cxn ang="0">
                  <a:pos x="146" y="489"/>
                </a:cxn>
                <a:cxn ang="0">
                  <a:pos x="132" y="481"/>
                </a:cxn>
                <a:cxn ang="0">
                  <a:pos x="124" y="462"/>
                </a:cxn>
                <a:cxn ang="0">
                  <a:pos x="129" y="452"/>
                </a:cxn>
                <a:cxn ang="0">
                  <a:pos x="122" y="443"/>
                </a:cxn>
                <a:cxn ang="0">
                  <a:pos x="117" y="431"/>
                </a:cxn>
                <a:cxn ang="0">
                  <a:pos x="112" y="409"/>
                </a:cxn>
                <a:cxn ang="0">
                  <a:pos x="110" y="397"/>
                </a:cxn>
                <a:cxn ang="0">
                  <a:pos x="106" y="383"/>
                </a:cxn>
                <a:cxn ang="0">
                  <a:pos x="100" y="376"/>
                </a:cxn>
                <a:cxn ang="0">
                  <a:pos x="93" y="385"/>
                </a:cxn>
                <a:cxn ang="0">
                  <a:pos x="79" y="388"/>
                </a:cxn>
                <a:cxn ang="0">
                  <a:pos x="69" y="392"/>
                </a:cxn>
                <a:cxn ang="0">
                  <a:pos x="59" y="381"/>
                </a:cxn>
                <a:cxn ang="0">
                  <a:pos x="62" y="369"/>
                </a:cxn>
                <a:cxn ang="0">
                  <a:pos x="65" y="356"/>
                </a:cxn>
                <a:cxn ang="0">
                  <a:pos x="76" y="351"/>
                </a:cxn>
                <a:cxn ang="0">
                  <a:pos x="71" y="337"/>
                </a:cxn>
                <a:cxn ang="0">
                  <a:pos x="74" y="325"/>
                </a:cxn>
                <a:cxn ang="0">
                  <a:pos x="77" y="320"/>
                </a:cxn>
                <a:cxn ang="0">
                  <a:pos x="84" y="296"/>
                </a:cxn>
                <a:cxn ang="0">
                  <a:pos x="91" y="284"/>
                </a:cxn>
                <a:cxn ang="0">
                  <a:pos x="88" y="269"/>
                </a:cxn>
                <a:cxn ang="0">
                  <a:pos x="74" y="264"/>
                </a:cxn>
                <a:cxn ang="0">
                  <a:pos x="64" y="258"/>
                </a:cxn>
                <a:cxn ang="0">
                  <a:pos x="57" y="246"/>
                </a:cxn>
                <a:cxn ang="0">
                  <a:pos x="53" y="228"/>
                </a:cxn>
                <a:cxn ang="0">
                  <a:pos x="45" y="212"/>
                </a:cxn>
                <a:cxn ang="0">
                  <a:pos x="35" y="192"/>
                </a:cxn>
                <a:cxn ang="0">
                  <a:pos x="21" y="182"/>
                </a:cxn>
                <a:cxn ang="0">
                  <a:pos x="9" y="168"/>
                </a:cxn>
                <a:cxn ang="0">
                  <a:pos x="16" y="163"/>
                </a:cxn>
                <a:cxn ang="0">
                  <a:pos x="16" y="146"/>
                </a:cxn>
                <a:cxn ang="0">
                  <a:pos x="11" y="127"/>
                </a:cxn>
                <a:cxn ang="0">
                  <a:pos x="2" y="108"/>
                </a:cxn>
                <a:cxn ang="0">
                  <a:pos x="115" y="19"/>
                </a:cxn>
                <a:cxn ang="0">
                  <a:pos x="484" y="82"/>
                </a:cxn>
                <a:cxn ang="0">
                  <a:pos x="870" y="127"/>
                </a:cxn>
                <a:cxn ang="0">
                  <a:pos x="855" y="303"/>
                </a:cxn>
                <a:cxn ang="0">
                  <a:pos x="843" y="457"/>
                </a:cxn>
                <a:cxn ang="0">
                  <a:pos x="756" y="546"/>
                </a:cxn>
                <a:cxn ang="0">
                  <a:pos x="489" y="515"/>
                </a:cxn>
                <a:cxn ang="0">
                  <a:pos x="306" y="487"/>
                </a:cxn>
                <a:cxn ang="0">
                  <a:pos x="293" y="537"/>
                </a:cxn>
                <a:cxn ang="0">
                  <a:pos x="288" y="525"/>
                </a:cxn>
                <a:cxn ang="0">
                  <a:pos x="282" y="515"/>
                </a:cxn>
                <a:cxn ang="0">
                  <a:pos x="276" y="515"/>
                </a:cxn>
              </a:cxnLst>
              <a:rect l="0" t="0" r="r" b="b"/>
              <a:pathLst>
                <a:path w="870" h="552">
                  <a:moveTo>
                    <a:pt x="271" y="513"/>
                  </a:moveTo>
                  <a:lnTo>
                    <a:pt x="269" y="515"/>
                  </a:lnTo>
                  <a:lnTo>
                    <a:pt x="271" y="516"/>
                  </a:lnTo>
                  <a:lnTo>
                    <a:pt x="271" y="520"/>
                  </a:lnTo>
                  <a:lnTo>
                    <a:pt x="269" y="520"/>
                  </a:lnTo>
                  <a:lnTo>
                    <a:pt x="267" y="520"/>
                  </a:lnTo>
                  <a:lnTo>
                    <a:pt x="267" y="523"/>
                  </a:lnTo>
                  <a:lnTo>
                    <a:pt x="265" y="525"/>
                  </a:lnTo>
                  <a:lnTo>
                    <a:pt x="265" y="530"/>
                  </a:lnTo>
                  <a:lnTo>
                    <a:pt x="269" y="530"/>
                  </a:lnTo>
                  <a:lnTo>
                    <a:pt x="269" y="532"/>
                  </a:lnTo>
                  <a:lnTo>
                    <a:pt x="267" y="532"/>
                  </a:lnTo>
                  <a:lnTo>
                    <a:pt x="265" y="532"/>
                  </a:lnTo>
                  <a:lnTo>
                    <a:pt x="260" y="528"/>
                  </a:lnTo>
                  <a:lnTo>
                    <a:pt x="257" y="528"/>
                  </a:lnTo>
                  <a:lnTo>
                    <a:pt x="252" y="527"/>
                  </a:lnTo>
                  <a:lnTo>
                    <a:pt x="248" y="528"/>
                  </a:lnTo>
                  <a:lnTo>
                    <a:pt x="245" y="530"/>
                  </a:lnTo>
                  <a:lnTo>
                    <a:pt x="243" y="528"/>
                  </a:lnTo>
                  <a:lnTo>
                    <a:pt x="241" y="530"/>
                  </a:lnTo>
                  <a:lnTo>
                    <a:pt x="238" y="525"/>
                  </a:lnTo>
                  <a:lnTo>
                    <a:pt x="233" y="523"/>
                  </a:lnTo>
                  <a:lnTo>
                    <a:pt x="229" y="525"/>
                  </a:lnTo>
                  <a:lnTo>
                    <a:pt x="226" y="525"/>
                  </a:lnTo>
                  <a:lnTo>
                    <a:pt x="224" y="525"/>
                  </a:lnTo>
                  <a:lnTo>
                    <a:pt x="223" y="525"/>
                  </a:lnTo>
                  <a:lnTo>
                    <a:pt x="219" y="525"/>
                  </a:lnTo>
                  <a:lnTo>
                    <a:pt x="218" y="523"/>
                  </a:lnTo>
                  <a:lnTo>
                    <a:pt x="212" y="523"/>
                  </a:lnTo>
                  <a:lnTo>
                    <a:pt x="211" y="522"/>
                  </a:lnTo>
                  <a:lnTo>
                    <a:pt x="211" y="520"/>
                  </a:lnTo>
                  <a:lnTo>
                    <a:pt x="209" y="518"/>
                  </a:lnTo>
                  <a:lnTo>
                    <a:pt x="206" y="520"/>
                  </a:lnTo>
                  <a:lnTo>
                    <a:pt x="202" y="522"/>
                  </a:lnTo>
                  <a:lnTo>
                    <a:pt x="200" y="525"/>
                  </a:lnTo>
                  <a:lnTo>
                    <a:pt x="199" y="528"/>
                  </a:lnTo>
                  <a:lnTo>
                    <a:pt x="194" y="528"/>
                  </a:lnTo>
                  <a:lnTo>
                    <a:pt x="192" y="525"/>
                  </a:lnTo>
                  <a:lnTo>
                    <a:pt x="188" y="527"/>
                  </a:lnTo>
                  <a:lnTo>
                    <a:pt x="185" y="523"/>
                  </a:lnTo>
                  <a:lnTo>
                    <a:pt x="177" y="522"/>
                  </a:lnTo>
                  <a:lnTo>
                    <a:pt x="173" y="520"/>
                  </a:lnTo>
                  <a:lnTo>
                    <a:pt x="171" y="520"/>
                  </a:lnTo>
                  <a:lnTo>
                    <a:pt x="168" y="522"/>
                  </a:lnTo>
                  <a:lnTo>
                    <a:pt x="166" y="523"/>
                  </a:lnTo>
                  <a:lnTo>
                    <a:pt x="163" y="527"/>
                  </a:lnTo>
                  <a:lnTo>
                    <a:pt x="163" y="528"/>
                  </a:lnTo>
                  <a:lnTo>
                    <a:pt x="163" y="532"/>
                  </a:lnTo>
                  <a:lnTo>
                    <a:pt x="161" y="534"/>
                  </a:lnTo>
                  <a:lnTo>
                    <a:pt x="159" y="530"/>
                  </a:lnTo>
                  <a:lnTo>
                    <a:pt x="158" y="528"/>
                  </a:lnTo>
                  <a:lnTo>
                    <a:pt x="154" y="527"/>
                  </a:lnTo>
                  <a:lnTo>
                    <a:pt x="151" y="522"/>
                  </a:lnTo>
                  <a:lnTo>
                    <a:pt x="149" y="522"/>
                  </a:lnTo>
                  <a:lnTo>
                    <a:pt x="151" y="520"/>
                  </a:lnTo>
                  <a:lnTo>
                    <a:pt x="149" y="516"/>
                  </a:lnTo>
                  <a:lnTo>
                    <a:pt x="151" y="515"/>
                  </a:lnTo>
                  <a:lnTo>
                    <a:pt x="149" y="511"/>
                  </a:lnTo>
                  <a:lnTo>
                    <a:pt x="149" y="510"/>
                  </a:lnTo>
                  <a:lnTo>
                    <a:pt x="147" y="506"/>
                  </a:lnTo>
                  <a:lnTo>
                    <a:pt x="149" y="501"/>
                  </a:lnTo>
                  <a:lnTo>
                    <a:pt x="149" y="496"/>
                  </a:lnTo>
                  <a:lnTo>
                    <a:pt x="147" y="493"/>
                  </a:lnTo>
                  <a:lnTo>
                    <a:pt x="147" y="491"/>
                  </a:lnTo>
                  <a:lnTo>
                    <a:pt x="146" y="489"/>
                  </a:lnTo>
                  <a:lnTo>
                    <a:pt x="146" y="486"/>
                  </a:lnTo>
                  <a:lnTo>
                    <a:pt x="139" y="479"/>
                  </a:lnTo>
                  <a:lnTo>
                    <a:pt x="139" y="479"/>
                  </a:lnTo>
                  <a:lnTo>
                    <a:pt x="134" y="481"/>
                  </a:lnTo>
                  <a:lnTo>
                    <a:pt x="132" y="481"/>
                  </a:lnTo>
                  <a:lnTo>
                    <a:pt x="130" y="477"/>
                  </a:lnTo>
                  <a:lnTo>
                    <a:pt x="127" y="474"/>
                  </a:lnTo>
                  <a:lnTo>
                    <a:pt x="125" y="472"/>
                  </a:lnTo>
                  <a:lnTo>
                    <a:pt x="122" y="463"/>
                  </a:lnTo>
                  <a:lnTo>
                    <a:pt x="124" y="462"/>
                  </a:lnTo>
                  <a:lnTo>
                    <a:pt x="125" y="462"/>
                  </a:lnTo>
                  <a:lnTo>
                    <a:pt x="127" y="462"/>
                  </a:lnTo>
                  <a:lnTo>
                    <a:pt x="129" y="457"/>
                  </a:lnTo>
                  <a:lnTo>
                    <a:pt x="127" y="453"/>
                  </a:lnTo>
                  <a:lnTo>
                    <a:pt x="129" y="452"/>
                  </a:lnTo>
                  <a:lnTo>
                    <a:pt x="125" y="450"/>
                  </a:lnTo>
                  <a:lnTo>
                    <a:pt x="125" y="448"/>
                  </a:lnTo>
                  <a:lnTo>
                    <a:pt x="124" y="446"/>
                  </a:lnTo>
                  <a:lnTo>
                    <a:pt x="125" y="445"/>
                  </a:lnTo>
                  <a:lnTo>
                    <a:pt x="122" y="443"/>
                  </a:lnTo>
                  <a:lnTo>
                    <a:pt x="120" y="443"/>
                  </a:lnTo>
                  <a:lnTo>
                    <a:pt x="122" y="441"/>
                  </a:lnTo>
                  <a:lnTo>
                    <a:pt x="120" y="438"/>
                  </a:lnTo>
                  <a:lnTo>
                    <a:pt x="120" y="434"/>
                  </a:lnTo>
                  <a:lnTo>
                    <a:pt x="117" y="431"/>
                  </a:lnTo>
                  <a:lnTo>
                    <a:pt x="115" y="426"/>
                  </a:lnTo>
                  <a:lnTo>
                    <a:pt x="115" y="424"/>
                  </a:lnTo>
                  <a:lnTo>
                    <a:pt x="112" y="419"/>
                  </a:lnTo>
                  <a:lnTo>
                    <a:pt x="113" y="412"/>
                  </a:lnTo>
                  <a:lnTo>
                    <a:pt x="112" y="409"/>
                  </a:lnTo>
                  <a:lnTo>
                    <a:pt x="112" y="405"/>
                  </a:lnTo>
                  <a:lnTo>
                    <a:pt x="113" y="402"/>
                  </a:lnTo>
                  <a:lnTo>
                    <a:pt x="113" y="399"/>
                  </a:lnTo>
                  <a:lnTo>
                    <a:pt x="113" y="397"/>
                  </a:lnTo>
                  <a:lnTo>
                    <a:pt x="110" y="397"/>
                  </a:lnTo>
                  <a:lnTo>
                    <a:pt x="113" y="390"/>
                  </a:lnTo>
                  <a:lnTo>
                    <a:pt x="112" y="388"/>
                  </a:lnTo>
                  <a:lnTo>
                    <a:pt x="110" y="387"/>
                  </a:lnTo>
                  <a:lnTo>
                    <a:pt x="106" y="385"/>
                  </a:lnTo>
                  <a:lnTo>
                    <a:pt x="106" y="383"/>
                  </a:lnTo>
                  <a:lnTo>
                    <a:pt x="105" y="381"/>
                  </a:lnTo>
                  <a:lnTo>
                    <a:pt x="105" y="380"/>
                  </a:lnTo>
                  <a:lnTo>
                    <a:pt x="103" y="378"/>
                  </a:lnTo>
                  <a:lnTo>
                    <a:pt x="103" y="376"/>
                  </a:lnTo>
                  <a:lnTo>
                    <a:pt x="100" y="376"/>
                  </a:lnTo>
                  <a:lnTo>
                    <a:pt x="98" y="378"/>
                  </a:lnTo>
                  <a:lnTo>
                    <a:pt x="98" y="380"/>
                  </a:lnTo>
                  <a:lnTo>
                    <a:pt x="98" y="381"/>
                  </a:lnTo>
                  <a:lnTo>
                    <a:pt x="94" y="381"/>
                  </a:lnTo>
                  <a:lnTo>
                    <a:pt x="93" y="385"/>
                  </a:lnTo>
                  <a:lnTo>
                    <a:pt x="89" y="387"/>
                  </a:lnTo>
                  <a:lnTo>
                    <a:pt x="88" y="388"/>
                  </a:lnTo>
                  <a:lnTo>
                    <a:pt x="84" y="388"/>
                  </a:lnTo>
                  <a:lnTo>
                    <a:pt x="83" y="390"/>
                  </a:lnTo>
                  <a:lnTo>
                    <a:pt x="79" y="388"/>
                  </a:lnTo>
                  <a:lnTo>
                    <a:pt x="77" y="392"/>
                  </a:lnTo>
                  <a:lnTo>
                    <a:pt x="77" y="393"/>
                  </a:lnTo>
                  <a:lnTo>
                    <a:pt x="72" y="395"/>
                  </a:lnTo>
                  <a:lnTo>
                    <a:pt x="71" y="395"/>
                  </a:lnTo>
                  <a:lnTo>
                    <a:pt x="69" y="392"/>
                  </a:lnTo>
                  <a:lnTo>
                    <a:pt x="65" y="390"/>
                  </a:lnTo>
                  <a:lnTo>
                    <a:pt x="65" y="387"/>
                  </a:lnTo>
                  <a:lnTo>
                    <a:pt x="64" y="385"/>
                  </a:lnTo>
                  <a:lnTo>
                    <a:pt x="60" y="383"/>
                  </a:lnTo>
                  <a:lnTo>
                    <a:pt x="59" y="381"/>
                  </a:lnTo>
                  <a:lnTo>
                    <a:pt x="55" y="383"/>
                  </a:lnTo>
                  <a:lnTo>
                    <a:pt x="59" y="378"/>
                  </a:lnTo>
                  <a:lnTo>
                    <a:pt x="57" y="375"/>
                  </a:lnTo>
                  <a:lnTo>
                    <a:pt x="62" y="373"/>
                  </a:lnTo>
                  <a:lnTo>
                    <a:pt x="62" y="369"/>
                  </a:lnTo>
                  <a:lnTo>
                    <a:pt x="64" y="368"/>
                  </a:lnTo>
                  <a:lnTo>
                    <a:pt x="62" y="364"/>
                  </a:lnTo>
                  <a:lnTo>
                    <a:pt x="62" y="363"/>
                  </a:lnTo>
                  <a:lnTo>
                    <a:pt x="60" y="361"/>
                  </a:lnTo>
                  <a:lnTo>
                    <a:pt x="65" y="356"/>
                  </a:lnTo>
                  <a:lnTo>
                    <a:pt x="67" y="352"/>
                  </a:lnTo>
                  <a:lnTo>
                    <a:pt x="69" y="354"/>
                  </a:lnTo>
                  <a:lnTo>
                    <a:pt x="71" y="352"/>
                  </a:lnTo>
                  <a:lnTo>
                    <a:pt x="74" y="354"/>
                  </a:lnTo>
                  <a:lnTo>
                    <a:pt x="76" y="351"/>
                  </a:lnTo>
                  <a:lnTo>
                    <a:pt x="74" y="347"/>
                  </a:lnTo>
                  <a:lnTo>
                    <a:pt x="74" y="346"/>
                  </a:lnTo>
                  <a:lnTo>
                    <a:pt x="76" y="342"/>
                  </a:lnTo>
                  <a:lnTo>
                    <a:pt x="76" y="340"/>
                  </a:lnTo>
                  <a:lnTo>
                    <a:pt x="71" y="337"/>
                  </a:lnTo>
                  <a:lnTo>
                    <a:pt x="72" y="335"/>
                  </a:lnTo>
                  <a:lnTo>
                    <a:pt x="71" y="334"/>
                  </a:lnTo>
                  <a:lnTo>
                    <a:pt x="74" y="332"/>
                  </a:lnTo>
                  <a:lnTo>
                    <a:pt x="74" y="328"/>
                  </a:lnTo>
                  <a:lnTo>
                    <a:pt x="74" y="325"/>
                  </a:lnTo>
                  <a:lnTo>
                    <a:pt x="72" y="323"/>
                  </a:lnTo>
                  <a:lnTo>
                    <a:pt x="71" y="322"/>
                  </a:lnTo>
                  <a:lnTo>
                    <a:pt x="72" y="320"/>
                  </a:lnTo>
                  <a:lnTo>
                    <a:pt x="76" y="320"/>
                  </a:lnTo>
                  <a:lnTo>
                    <a:pt x="77" y="320"/>
                  </a:lnTo>
                  <a:lnTo>
                    <a:pt x="79" y="313"/>
                  </a:lnTo>
                  <a:lnTo>
                    <a:pt x="77" y="311"/>
                  </a:lnTo>
                  <a:lnTo>
                    <a:pt x="77" y="310"/>
                  </a:lnTo>
                  <a:lnTo>
                    <a:pt x="81" y="308"/>
                  </a:lnTo>
                  <a:lnTo>
                    <a:pt x="84" y="296"/>
                  </a:lnTo>
                  <a:lnTo>
                    <a:pt x="86" y="296"/>
                  </a:lnTo>
                  <a:lnTo>
                    <a:pt x="88" y="293"/>
                  </a:lnTo>
                  <a:lnTo>
                    <a:pt x="86" y="286"/>
                  </a:lnTo>
                  <a:lnTo>
                    <a:pt x="91" y="286"/>
                  </a:lnTo>
                  <a:lnTo>
                    <a:pt x="91" y="284"/>
                  </a:lnTo>
                  <a:lnTo>
                    <a:pt x="93" y="277"/>
                  </a:lnTo>
                  <a:lnTo>
                    <a:pt x="96" y="274"/>
                  </a:lnTo>
                  <a:lnTo>
                    <a:pt x="96" y="270"/>
                  </a:lnTo>
                  <a:lnTo>
                    <a:pt x="93" y="269"/>
                  </a:lnTo>
                  <a:lnTo>
                    <a:pt x="88" y="269"/>
                  </a:lnTo>
                  <a:lnTo>
                    <a:pt x="84" y="270"/>
                  </a:lnTo>
                  <a:lnTo>
                    <a:pt x="81" y="269"/>
                  </a:lnTo>
                  <a:lnTo>
                    <a:pt x="74" y="269"/>
                  </a:lnTo>
                  <a:lnTo>
                    <a:pt x="72" y="265"/>
                  </a:lnTo>
                  <a:lnTo>
                    <a:pt x="74" y="264"/>
                  </a:lnTo>
                  <a:lnTo>
                    <a:pt x="76" y="262"/>
                  </a:lnTo>
                  <a:lnTo>
                    <a:pt x="72" y="257"/>
                  </a:lnTo>
                  <a:lnTo>
                    <a:pt x="71" y="257"/>
                  </a:lnTo>
                  <a:lnTo>
                    <a:pt x="65" y="260"/>
                  </a:lnTo>
                  <a:lnTo>
                    <a:pt x="64" y="258"/>
                  </a:lnTo>
                  <a:lnTo>
                    <a:pt x="65" y="253"/>
                  </a:lnTo>
                  <a:lnTo>
                    <a:pt x="64" y="252"/>
                  </a:lnTo>
                  <a:lnTo>
                    <a:pt x="62" y="250"/>
                  </a:lnTo>
                  <a:lnTo>
                    <a:pt x="60" y="248"/>
                  </a:lnTo>
                  <a:lnTo>
                    <a:pt x="57" y="246"/>
                  </a:lnTo>
                  <a:lnTo>
                    <a:pt x="55" y="240"/>
                  </a:lnTo>
                  <a:lnTo>
                    <a:pt x="57" y="236"/>
                  </a:lnTo>
                  <a:lnTo>
                    <a:pt x="59" y="234"/>
                  </a:lnTo>
                  <a:lnTo>
                    <a:pt x="55" y="233"/>
                  </a:lnTo>
                  <a:lnTo>
                    <a:pt x="53" y="228"/>
                  </a:lnTo>
                  <a:lnTo>
                    <a:pt x="52" y="228"/>
                  </a:lnTo>
                  <a:lnTo>
                    <a:pt x="50" y="226"/>
                  </a:lnTo>
                  <a:lnTo>
                    <a:pt x="48" y="221"/>
                  </a:lnTo>
                  <a:lnTo>
                    <a:pt x="47" y="216"/>
                  </a:lnTo>
                  <a:lnTo>
                    <a:pt x="45" y="212"/>
                  </a:lnTo>
                  <a:lnTo>
                    <a:pt x="43" y="211"/>
                  </a:lnTo>
                  <a:lnTo>
                    <a:pt x="43" y="209"/>
                  </a:lnTo>
                  <a:lnTo>
                    <a:pt x="36" y="200"/>
                  </a:lnTo>
                  <a:lnTo>
                    <a:pt x="36" y="193"/>
                  </a:lnTo>
                  <a:lnTo>
                    <a:pt x="35" y="192"/>
                  </a:lnTo>
                  <a:lnTo>
                    <a:pt x="31" y="190"/>
                  </a:lnTo>
                  <a:lnTo>
                    <a:pt x="30" y="188"/>
                  </a:lnTo>
                  <a:lnTo>
                    <a:pt x="24" y="187"/>
                  </a:lnTo>
                  <a:lnTo>
                    <a:pt x="23" y="187"/>
                  </a:lnTo>
                  <a:lnTo>
                    <a:pt x="21" y="182"/>
                  </a:lnTo>
                  <a:lnTo>
                    <a:pt x="19" y="176"/>
                  </a:lnTo>
                  <a:lnTo>
                    <a:pt x="16" y="175"/>
                  </a:lnTo>
                  <a:lnTo>
                    <a:pt x="16" y="173"/>
                  </a:lnTo>
                  <a:lnTo>
                    <a:pt x="9" y="170"/>
                  </a:lnTo>
                  <a:lnTo>
                    <a:pt x="9" y="168"/>
                  </a:lnTo>
                  <a:lnTo>
                    <a:pt x="11" y="166"/>
                  </a:lnTo>
                  <a:lnTo>
                    <a:pt x="18" y="168"/>
                  </a:lnTo>
                  <a:lnTo>
                    <a:pt x="18" y="166"/>
                  </a:lnTo>
                  <a:lnTo>
                    <a:pt x="19" y="164"/>
                  </a:lnTo>
                  <a:lnTo>
                    <a:pt x="16" y="163"/>
                  </a:lnTo>
                  <a:lnTo>
                    <a:pt x="16" y="159"/>
                  </a:lnTo>
                  <a:lnTo>
                    <a:pt x="12" y="158"/>
                  </a:lnTo>
                  <a:lnTo>
                    <a:pt x="18" y="152"/>
                  </a:lnTo>
                  <a:lnTo>
                    <a:pt x="18" y="149"/>
                  </a:lnTo>
                  <a:lnTo>
                    <a:pt x="16" y="146"/>
                  </a:lnTo>
                  <a:lnTo>
                    <a:pt x="18" y="141"/>
                  </a:lnTo>
                  <a:lnTo>
                    <a:pt x="14" y="139"/>
                  </a:lnTo>
                  <a:lnTo>
                    <a:pt x="14" y="135"/>
                  </a:lnTo>
                  <a:lnTo>
                    <a:pt x="11" y="132"/>
                  </a:lnTo>
                  <a:lnTo>
                    <a:pt x="11" y="127"/>
                  </a:lnTo>
                  <a:lnTo>
                    <a:pt x="11" y="125"/>
                  </a:lnTo>
                  <a:lnTo>
                    <a:pt x="7" y="123"/>
                  </a:lnTo>
                  <a:lnTo>
                    <a:pt x="6" y="120"/>
                  </a:lnTo>
                  <a:lnTo>
                    <a:pt x="2" y="113"/>
                  </a:lnTo>
                  <a:lnTo>
                    <a:pt x="2" y="108"/>
                  </a:lnTo>
                  <a:lnTo>
                    <a:pt x="0" y="106"/>
                  </a:lnTo>
                  <a:lnTo>
                    <a:pt x="6" y="82"/>
                  </a:lnTo>
                  <a:lnTo>
                    <a:pt x="12" y="52"/>
                  </a:lnTo>
                  <a:lnTo>
                    <a:pt x="23" y="0"/>
                  </a:lnTo>
                  <a:lnTo>
                    <a:pt x="115" y="19"/>
                  </a:lnTo>
                  <a:lnTo>
                    <a:pt x="163" y="29"/>
                  </a:lnTo>
                  <a:lnTo>
                    <a:pt x="294" y="53"/>
                  </a:lnTo>
                  <a:lnTo>
                    <a:pt x="358" y="64"/>
                  </a:lnTo>
                  <a:lnTo>
                    <a:pt x="395" y="69"/>
                  </a:lnTo>
                  <a:lnTo>
                    <a:pt x="484" y="82"/>
                  </a:lnTo>
                  <a:lnTo>
                    <a:pt x="571" y="94"/>
                  </a:lnTo>
                  <a:lnTo>
                    <a:pt x="648" y="105"/>
                  </a:lnTo>
                  <a:lnTo>
                    <a:pt x="723" y="113"/>
                  </a:lnTo>
                  <a:lnTo>
                    <a:pt x="799" y="120"/>
                  </a:lnTo>
                  <a:lnTo>
                    <a:pt x="870" y="127"/>
                  </a:lnTo>
                  <a:lnTo>
                    <a:pt x="867" y="164"/>
                  </a:lnTo>
                  <a:lnTo>
                    <a:pt x="865" y="192"/>
                  </a:lnTo>
                  <a:lnTo>
                    <a:pt x="862" y="233"/>
                  </a:lnTo>
                  <a:lnTo>
                    <a:pt x="857" y="296"/>
                  </a:lnTo>
                  <a:lnTo>
                    <a:pt x="855" y="303"/>
                  </a:lnTo>
                  <a:lnTo>
                    <a:pt x="850" y="376"/>
                  </a:lnTo>
                  <a:lnTo>
                    <a:pt x="848" y="387"/>
                  </a:lnTo>
                  <a:lnTo>
                    <a:pt x="846" y="416"/>
                  </a:lnTo>
                  <a:lnTo>
                    <a:pt x="843" y="452"/>
                  </a:lnTo>
                  <a:lnTo>
                    <a:pt x="843" y="457"/>
                  </a:lnTo>
                  <a:lnTo>
                    <a:pt x="836" y="528"/>
                  </a:lnTo>
                  <a:lnTo>
                    <a:pt x="835" y="552"/>
                  </a:lnTo>
                  <a:lnTo>
                    <a:pt x="833" y="552"/>
                  </a:lnTo>
                  <a:lnTo>
                    <a:pt x="759" y="546"/>
                  </a:lnTo>
                  <a:lnTo>
                    <a:pt x="756" y="546"/>
                  </a:lnTo>
                  <a:lnTo>
                    <a:pt x="686" y="539"/>
                  </a:lnTo>
                  <a:lnTo>
                    <a:pt x="667" y="535"/>
                  </a:lnTo>
                  <a:lnTo>
                    <a:pt x="544" y="522"/>
                  </a:lnTo>
                  <a:lnTo>
                    <a:pt x="517" y="518"/>
                  </a:lnTo>
                  <a:lnTo>
                    <a:pt x="489" y="515"/>
                  </a:lnTo>
                  <a:lnTo>
                    <a:pt x="400" y="501"/>
                  </a:lnTo>
                  <a:lnTo>
                    <a:pt x="387" y="499"/>
                  </a:lnTo>
                  <a:lnTo>
                    <a:pt x="356" y="496"/>
                  </a:lnTo>
                  <a:lnTo>
                    <a:pt x="353" y="496"/>
                  </a:lnTo>
                  <a:lnTo>
                    <a:pt x="306" y="487"/>
                  </a:lnTo>
                  <a:lnTo>
                    <a:pt x="301" y="523"/>
                  </a:lnTo>
                  <a:lnTo>
                    <a:pt x="298" y="544"/>
                  </a:lnTo>
                  <a:lnTo>
                    <a:pt x="294" y="542"/>
                  </a:lnTo>
                  <a:lnTo>
                    <a:pt x="293" y="539"/>
                  </a:lnTo>
                  <a:lnTo>
                    <a:pt x="293" y="537"/>
                  </a:lnTo>
                  <a:lnTo>
                    <a:pt x="291" y="534"/>
                  </a:lnTo>
                  <a:lnTo>
                    <a:pt x="289" y="532"/>
                  </a:lnTo>
                  <a:lnTo>
                    <a:pt x="288" y="530"/>
                  </a:lnTo>
                  <a:lnTo>
                    <a:pt x="286" y="527"/>
                  </a:lnTo>
                  <a:lnTo>
                    <a:pt x="288" y="525"/>
                  </a:lnTo>
                  <a:lnTo>
                    <a:pt x="288" y="525"/>
                  </a:lnTo>
                  <a:lnTo>
                    <a:pt x="284" y="523"/>
                  </a:lnTo>
                  <a:lnTo>
                    <a:pt x="284" y="520"/>
                  </a:lnTo>
                  <a:lnTo>
                    <a:pt x="282" y="518"/>
                  </a:lnTo>
                  <a:lnTo>
                    <a:pt x="282" y="515"/>
                  </a:lnTo>
                  <a:lnTo>
                    <a:pt x="282" y="513"/>
                  </a:lnTo>
                  <a:lnTo>
                    <a:pt x="279" y="513"/>
                  </a:lnTo>
                  <a:lnTo>
                    <a:pt x="279" y="510"/>
                  </a:lnTo>
                  <a:lnTo>
                    <a:pt x="277" y="511"/>
                  </a:lnTo>
                  <a:lnTo>
                    <a:pt x="276" y="515"/>
                  </a:lnTo>
                  <a:lnTo>
                    <a:pt x="272" y="513"/>
                  </a:lnTo>
                  <a:lnTo>
                    <a:pt x="271" y="513"/>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9" name="Freeform 8"/>
            <p:cNvSpPr>
              <a:spLocks noEditPoints="1"/>
            </p:cNvSpPr>
            <p:nvPr/>
          </p:nvSpPr>
          <p:spPr bwMode="gray">
            <a:xfrm>
              <a:off x="8261710" y="1838335"/>
              <a:ext cx="505622" cy="787418"/>
            </a:xfrm>
            <a:custGeom>
              <a:avLst/>
              <a:gdLst/>
              <a:ahLst/>
              <a:cxnLst>
                <a:cxn ang="0">
                  <a:pos x="140" y="402"/>
                </a:cxn>
                <a:cxn ang="0">
                  <a:pos x="133" y="395"/>
                </a:cxn>
                <a:cxn ang="0">
                  <a:pos x="126" y="405"/>
                </a:cxn>
                <a:cxn ang="0">
                  <a:pos x="120" y="398"/>
                </a:cxn>
                <a:cxn ang="0">
                  <a:pos x="113" y="431"/>
                </a:cxn>
                <a:cxn ang="0">
                  <a:pos x="102" y="458"/>
                </a:cxn>
                <a:cxn ang="0">
                  <a:pos x="82" y="489"/>
                </a:cxn>
                <a:cxn ang="0">
                  <a:pos x="70" y="475"/>
                </a:cxn>
                <a:cxn ang="0">
                  <a:pos x="61" y="465"/>
                </a:cxn>
                <a:cxn ang="0">
                  <a:pos x="60" y="451"/>
                </a:cxn>
                <a:cxn ang="0">
                  <a:pos x="58" y="446"/>
                </a:cxn>
                <a:cxn ang="0">
                  <a:pos x="34" y="373"/>
                </a:cxn>
                <a:cxn ang="0">
                  <a:pos x="8" y="263"/>
                </a:cxn>
                <a:cxn ang="0">
                  <a:pos x="19" y="258"/>
                </a:cxn>
                <a:cxn ang="0">
                  <a:pos x="31" y="251"/>
                </a:cxn>
                <a:cxn ang="0">
                  <a:pos x="39" y="212"/>
                </a:cxn>
                <a:cxn ang="0">
                  <a:pos x="43" y="186"/>
                </a:cxn>
                <a:cxn ang="0">
                  <a:pos x="36" y="174"/>
                </a:cxn>
                <a:cxn ang="0">
                  <a:pos x="36" y="144"/>
                </a:cxn>
                <a:cxn ang="0">
                  <a:pos x="41" y="104"/>
                </a:cxn>
                <a:cxn ang="0">
                  <a:pos x="90" y="26"/>
                </a:cxn>
                <a:cxn ang="0">
                  <a:pos x="137" y="10"/>
                </a:cxn>
                <a:cxn ang="0">
                  <a:pos x="184" y="21"/>
                </a:cxn>
                <a:cxn ang="0">
                  <a:pos x="222" y="142"/>
                </a:cxn>
                <a:cxn ang="0">
                  <a:pos x="227" y="162"/>
                </a:cxn>
                <a:cxn ang="0">
                  <a:pos x="243" y="166"/>
                </a:cxn>
                <a:cxn ang="0">
                  <a:pos x="255" y="174"/>
                </a:cxn>
                <a:cxn ang="0">
                  <a:pos x="268" y="203"/>
                </a:cxn>
                <a:cxn ang="0">
                  <a:pos x="290" y="202"/>
                </a:cxn>
                <a:cxn ang="0">
                  <a:pos x="299" y="226"/>
                </a:cxn>
                <a:cxn ang="0">
                  <a:pos x="304" y="253"/>
                </a:cxn>
                <a:cxn ang="0">
                  <a:pos x="278" y="267"/>
                </a:cxn>
                <a:cxn ang="0">
                  <a:pos x="260" y="280"/>
                </a:cxn>
                <a:cxn ang="0">
                  <a:pos x="253" y="286"/>
                </a:cxn>
                <a:cxn ang="0">
                  <a:pos x="248" y="301"/>
                </a:cxn>
                <a:cxn ang="0">
                  <a:pos x="225" y="303"/>
                </a:cxn>
                <a:cxn ang="0">
                  <a:pos x="217" y="320"/>
                </a:cxn>
                <a:cxn ang="0">
                  <a:pos x="195" y="323"/>
                </a:cxn>
                <a:cxn ang="0">
                  <a:pos x="193" y="297"/>
                </a:cxn>
                <a:cxn ang="0">
                  <a:pos x="183" y="294"/>
                </a:cxn>
                <a:cxn ang="0">
                  <a:pos x="181" y="315"/>
                </a:cxn>
                <a:cxn ang="0">
                  <a:pos x="184" y="356"/>
                </a:cxn>
                <a:cxn ang="0">
                  <a:pos x="166" y="366"/>
                </a:cxn>
                <a:cxn ang="0">
                  <a:pos x="152" y="390"/>
                </a:cxn>
                <a:cxn ang="0">
                  <a:pos x="145" y="369"/>
                </a:cxn>
                <a:cxn ang="0">
                  <a:pos x="143" y="398"/>
                </a:cxn>
                <a:cxn ang="0">
                  <a:pos x="131" y="374"/>
                </a:cxn>
                <a:cxn ang="0">
                  <a:pos x="225" y="308"/>
                </a:cxn>
                <a:cxn ang="0">
                  <a:pos x="234" y="299"/>
                </a:cxn>
                <a:cxn ang="0">
                  <a:pos x="234" y="323"/>
                </a:cxn>
              </a:cxnLst>
              <a:rect l="0" t="0" r="r" b="b"/>
              <a:pathLst>
                <a:path w="314" h="489">
                  <a:moveTo>
                    <a:pt x="131" y="369"/>
                  </a:moveTo>
                  <a:lnTo>
                    <a:pt x="128" y="380"/>
                  </a:lnTo>
                  <a:lnTo>
                    <a:pt x="140" y="402"/>
                  </a:lnTo>
                  <a:lnTo>
                    <a:pt x="138" y="407"/>
                  </a:lnTo>
                  <a:lnTo>
                    <a:pt x="137" y="405"/>
                  </a:lnTo>
                  <a:lnTo>
                    <a:pt x="133" y="395"/>
                  </a:lnTo>
                  <a:lnTo>
                    <a:pt x="130" y="391"/>
                  </a:lnTo>
                  <a:lnTo>
                    <a:pt x="131" y="402"/>
                  </a:lnTo>
                  <a:lnTo>
                    <a:pt x="126" y="405"/>
                  </a:lnTo>
                  <a:lnTo>
                    <a:pt x="123" y="403"/>
                  </a:lnTo>
                  <a:lnTo>
                    <a:pt x="123" y="397"/>
                  </a:lnTo>
                  <a:lnTo>
                    <a:pt x="120" y="398"/>
                  </a:lnTo>
                  <a:lnTo>
                    <a:pt x="113" y="407"/>
                  </a:lnTo>
                  <a:lnTo>
                    <a:pt x="109" y="419"/>
                  </a:lnTo>
                  <a:lnTo>
                    <a:pt x="113" y="431"/>
                  </a:lnTo>
                  <a:lnTo>
                    <a:pt x="106" y="438"/>
                  </a:lnTo>
                  <a:lnTo>
                    <a:pt x="106" y="448"/>
                  </a:lnTo>
                  <a:lnTo>
                    <a:pt x="102" y="458"/>
                  </a:lnTo>
                  <a:lnTo>
                    <a:pt x="96" y="462"/>
                  </a:lnTo>
                  <a:lnTo>
                    <a:pt x="94" y="489"/>
                  </a:lnTo>
                  <a:lnTo>
                    <a:pt x="82" y="489"/>
                  </a:lnTo>
                  <a:lnTo>
                    <a:pt x="80" y="485"/>
                  </a:lnTo>
                  <a:lnTo>
                    <a:pt x="78" y="477"/>
                  </a:lnTo>
                  <a:lnTo>
                    <a:pt x="70" y="475"/>
                  </a:lnTo>
                  <a:lnTo>
                    <a:pt x="70" y="474"/>
                  </a:lnTo>
                  <a:lnTo>
                    <a:pt x="63" y="467"/>
                  </a:lnTo>
                  <a:lnTo>
                    <a:pt x="61" y="465"/>
                  </a:lnTo>
                  <a:lnTo>
                    <a:pt x="61" y="460"/>
                  </a:lnTo>
                  <a:lnTo>
                    <a:pt x="60" y="456"/>
                  </a:lnTo>
                  <a:lnTo>
                    <a:pt x="60" y="451"/>
                  </a:lnTo>
                  <a:lnTo>
                    <a:pt x="60" y="450"/>
                  </a:lnTo>
                  <a:lnTo>
                    <a:pt x="60" y="448"/>
                  </a:lnTo>
                  <a:lnTo>
                    <a:pt x="58" y="446"/>
                  </a:lnTo>
                  <a:lnTo>
                    <a:pt x="56" y="446"/>
                  </a:lnTo>
                  <a:lnTo>
                    <a:pt x="49" y="424"/>
                  </a:lnTo>
                  <a:lnTo>
                    <a:pt x="34" y="373"/>
                  </a:lnTo>
                  <a:lnTo>
                    <a:pt x="22" y="333"/>
                  </a:lnTo>
                  <a:lnTo>
                    <a:pt x="0" y="268"/>
                  </a:lnTo>
                  <a:lnTo>
                    <a:pt x="8" y="263"/>
                  </a:lnTo>
                  <a:lnTo>
                    <a:pt x="19" y="272"/>
                  </a:lnTo>
                  <a:lnTo>
                    <a:pt x="19" y="267"/>
                  </a:lnTo>
                  <a:lnTo>
                    <a:pt x="19" y="258"/>
                  </a:lnTo>
                  <a:lnTo>
                    <a:pt x="17" y="255"/>
                  </a:lnTo>
                  <a:lnTo>
                    <a:pt x="19" y="250"/>
                  </a:lnTo>
                  <a:lnTo>
                    <a:pt x="31" y="251"/>
                  </a:lnTo>
                  <a:lnTo>
                    <a:pt x="22" y="239"/>
                  </a:lnTo>
                  <a:lnTo>
                    <a:pt x="29" y="221"/>
                  </a:lnTo>
                  <a:lnTo>
                    <a:pt x="39" y="212"/>
                  </a:lnTo>
                  <a:lnTo>
                    <a:pt x="36" y="205"/>
                  </a:lnTo>
                  <a:lnTo>
                    <a:pt x="44" y="190"/>
                  </a:lnTo>
                  <a:lnTo>
                    <a:pt x="43" y="186"/>
                  </a:lnTo>
                  <a:lnTo>
                    <a:pt x="37" y="185"/>
                  </a:lnTo>
                  <a:lnTo>
                    <a:pt x="37" y="174"/>
                  </a:lnTo>
                  <a:lnTo>
                    <a:pt x="36" y="174"/>
                  </a:lnTo>
                  <a:lnTo>
                    <a:pt x="39" y="166"/>
                  </a:lnTo>
                  <a:lnTo>
                    <a:pt x="34" y="161"/>
                  </a:lnTo>
                  <a:lnTo>
                    <a:pt x="36" y="144"/>
                  </a:lnTo>
                  <a:lnTo>
                    <a:pt x="44" y="132"/>
                  </a:lnTo>
                  <a:lnTo>
                    <a:pt x="43" y="116"/>
                  </a:lnTo>
                  <a:lnTo>
                    <a:pt x="41" y="104"/>
                  </a:lnTo>
                  <a:lnTo>
                    <a:pt x="72" y="10"/>
                  </a:lnTo>
                  <a:lnTo>
                    <a:pt x="85" y="10"/>
                  </a:lnTo>
                  <a:lnTo>
                    <a:pt x="90" y="26"/>
                  </a:lnTo>
                  <a:lnTo>
                    <a:pt x="104" y="31"/>
                  </a:lnTo>
                  <a:lnTo>
                    <a:pt x="126" y="12"/>
                  </a:lnTo>
                  <a:lnTo>
                    <a:pt x="137" y="10"/>
                  </a:lnTo>
                  <a:lnTo>
                    <a:pt x="138" y="2"/>
                  </a:lnTo>
                  <a:lnTo>
                    <a:pt x="145" y="0"/>
                  </a:lnTo>
                  <a:lnTo>
                    <a:pt x="184" y="21"/>
                  </a:lnTo>
                  <a:lnTo>
                    <a:pt x="220" y="133"/>
                  </a:lnTo>
                  <a:lnTo>
                    <a:pt x="224" y="137"/>
                  </a:lnTo>
                  <a:lnTo>
                    <a:pt x="222" y="142"/>
                  </a:lnTo>
                  <a:lnTo>
                    <a:pt x="225" y="145"/>
                  </a:lnTo>
                  <a:lnTo>
                    <a:pt x="224" y="151"/>
                  </a:lnTo>
                  <a:lnTo>
                    <a:pt x="227" y="162"/>
                  </a:lnTo>
                  <a:lnTo>
                    <a:pt x="232" y="162"/>
                  </a:lnTo>
                  <a:lnTo>
                    <a:pt x="234" y="159"/>
                  </a:lnTo>
                  <a:lnTo>
                    <a:pt x="243" y="166"/>
                  </a:lnTo>
                  <a:lnTo>
                    <a:pt x="256" y="162"/>
                  </a:lnTo>
                  <a:lnTo>
                    <a:pt x="261" y="171"/>
                  </a:lnTo>
                  <a:lnTo>
                    <a:pt x="255" y="174"/>
                  </a:lnTo>
                  <a:lnTo>
                    <a:pt x="265" y="185"/>
                  </a:lnTo>
                  <a:lnTo>
                    <a:pt x="263" y="195"/>
                  </a:lnTo>
                  <a:lnTo>
                    <a:pt x="268" y="203"/>
                  </a:lnTo>
                  <a:lnTo>
                    <a:pt x="278" y="209"/>
                  </a:lnTo>
                  <a:lnTo>
                    <a:pt x="282" y="200"/>
                  </a:lnTo>
                  <a:lnTo>
                    <a:pt x="290" y="202"/>
                  </a:lnTo>
                  <a:lnTo>
                    <a:pt x="292" y="203"/>
                  </a:lnTo>
                  <a:lnTo>
                    <a:pt x="304" y="219"/>
                  </a:lnTo>
                  <a:lnTo>
                    <a:pt x="299" y="226"/>
                  </a:lnTo>
                  <a:lnTo>
                    <a:pt x="314" y="231"/>
                  </a:lnTo>
                  <a:lnTo>
                    <a:pt x="313" y="236"/>
                  </a:lnTo>
                  <a:lnTo>
                    <a:pt x="304" y="253"/>
                  </a:lnTo>
                  <a:lnTo>
                    <a:pt x="296" y="256"/>
                  </a:lnTo>
                  <a:lnTo>
                    <a:pt x="289" y="253"/>
                  </a:lnTo>
                  <a:lnTo>
                    <a:pt x="278" y="267"/>
                  </a:lnTo>
                  <a:lnTo>
                    <a:pt x="277" y="275"/>
                  </a:lnTo>
                  <a:lnTo>
                    <a:pt x="261" y="277"/>
                  </a:lnTo>
                  <a:lnTo>
                    <a:pt x="260" y="280"/>
                  </a:lnTo>
                  <a:lnTo>
                    <a:pt x="258" y="289"/>
                  </a:lnTo>
                  <a:lnTo>
                    <a:pt x="253" y="289"/>
                  </a:lnTo>
                  <a:lnTo>
                    <a:pt x="253" y="286"/>
                  </a:lnTo>
                  <a:lnTo>
                    <a:pt x="251" y="289"/>
                  </a:lnTo>
                  <a:lnTo>
                    <a:pt x="253" y="299"/>
                  </a:lnTo>
                  <a:lnTo>
                    <a:pt x="248" y="301"/>
                  </a:lnTo>
                  <a:lnTo>
                    <a:pt x="241" y="292"/>
                  </a:lnTo>
                  <a:lnTo>
                    <a:pt x="232" y="294"/>
                  </a:lnTo>
                  <a:lnTo>
                    <a:pt x="225" y="303"/>
                  </a:lnTo>
                  <a:lnTo>
                    <a:pt x="219" y="301"/>
                  </a:lnTo>
                  <a:lnTo>
                    <a:pt x="212" y="309"/>
                  </a:lnTo>
                  <a:lnTo>
                    <a:pt x="217" y="320"/>
                  </a:lnTo>
                  <a:lnTo>
                    <a:pt x="217" y="325"/>
                  </a:lnTo>
                  <a:lnTo>
                    <a:pt x="200" y="320"/>
                  </a:lnTo>
                  <a:lnTo>
                    <a:pt x="195" y="323"/>
                  </a:lnTo>
                  <a:lnTo>
                    <a:pt x="193" y="315"/>
                  </a:lnTo>
                  <a:lnTo>
                    <a:pt x="195" y="303"/>
                  </a:lnTo>
                  <a:lnTo>
                    <a:pt x="193" y="297"/>
                  </a:lnTo>
                  <a:lnTo>
                    <a:pt x="186" y="294"/>
                  </a:lnTo>
                  <a:lnTo>
                    <a:pt x="184" y="289"/>
                  </a:lnTo>
                  <a:lnTo>
                    <a:pt x="183" y="294"/>
                  </a:lnTo>
                  <a:lnTo>
                    <a:pt x="188" y="297"/>
                  </a:lnTo>
                  <a:lnTo>
                    <a:pt x="191" y="306"/>
                  </a:lnTo>
                  <a:lnTo>
                    <a:pt x="181" y="315"/>
                  </a:lnTo>
                  <a:lnTo>
                    <a:pt x="184" y="332"/>
                  </a:lnTo>
                  <a:lnTo>
                    <a:pt x="183" y="335"/>
                  </a:lnTo>
                  <a:lnTo>
                    <a:pt x="184" y="356"/>
                  </a:lnTo>
                  <a:lnTo>
                    <a:pt x="178" y="371"/>
                  </a:lnTo>
                  <a:lnTo>
                    <a:pt x="171" y="373"/>
                  </a:lnTo>
                  <a:lnTo>
                    <a:pt x="166" y="366"/>
                  </a:lnTo>
                  <a:lnTo>
                    <a:pt x="162" y="366"/>
                  </a:lnTo>
                  <a:lnTo>
                    <a:pt x="159" y="383"/>
                  </a:lnTo>
                  <a:lnTo>
                    <a:pt x="152" y="390"/>
                  </a:lnTo>
                  <a:lnTo>
                    <a:pt x="147" y="390"/>
                  </a:lnTo>
                  <a:lnTo>
                    <a:pt x="143" y="376"/>
                  </a:lnTo>
                  <a:lnTo>
                    <a:pt x="145" y="369"/>
                  </a:lnTo>
                  <a:lnTo>
                    <a:pt x="140" y="383"/>
                  </a:lnTo>
                  <a:lnTo>
                    <a:pt x="140" y="388"/>
                  </a:lnTo>
                  <a:lnTo>
                    <a:pt x="143" y="398"/>
                  </a:lnTo>
                  <a:lnTo>
                    <a:pt x="143" y="402"/>
                  </a:lnTo>
                  <a:lnTo>
                    <a:pt x="140" y="398"/>
                  </a:lnTo>
                  <a:lnTo>
                    <a:pt x="131" y="374"/>
                  </a:lnTo>
                  <a:lnTo>
                    <a:pt x="133" y="373"/>
                  </a:lnTo>
                  <a:lnTo>
                    <a:pt x="131" y="369"/>
                  </a:lnTo>
                  <a:close/>
                  <a:moveTo>
                    <a:pt x="225" y="308"/>
                  </a:moveTo>
                  <a:lnTo>
                    <a:pt x="227" y="306"/>
                  </a:lnTo>
                  <a:lnTo>
                    <a:pt x="225" y="303"/>
                  </a:lnTo>
                  <a:lnTo>
                    <a:pt x="234" y="299"/>
                  </a:lnTo>
                  <a:lnTo>
                    <a:pt x="243" y="308"/>
                  </a:lnTo>
                  <a:lnTo>
                    <a:pt x="234" y="315"/>
                  </a:lnTo>
                  <a:lnTo>
                    <a:pt x="234" y="323"/>
                  </a:lnTo>
                  <a:lnTo>
                    <a:pt x="227" y="320"/>
                  </a:lnTo>
                  <a:lnTo>
                    <a:pt x="225" y="30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0" name="Freeform 9"/>
            <p:cNvSpPr>
              <a:spLocks/>
            </p:cNvSpPr>
            <p:nvPr/>
          </p:nvSpPr>
          <p:spPr bwMode="gray">
            <a:xfrm>
              <a:off x="4295636" y="1992920"/>
              <a:ext cx="903357" cy="563592"/>
            </a:xfrm>
            <a:custGeom>
              <a:avLst/>
              <a:gdLst/>
              <a:ahLst/>
              <a:cxnLst>
                <a:cxn ang="0">
                  <a:pos x="323" y="343"/>
                </a:cxn>
                <a:cxn ang="0">
                  <a:pos x="152" y="335"/>
                </a:cxn>
                <a:cxn ang="0">
                  <a:pos x="0" y="325"/>
                </a:cxn>
                <a:cxn ang="0">
                  <a:pos x="7" y="249"/>
                </a:cxn>
                <a:cxn ang="0">
                  <a:pos x="19" y="106"/>
                </a:cxn>
                <a:cxn ang="0">
                  <a:pos x="27" y="0"/>
                </a:cxn>
                <a:cxn ang="0">
                  <a:pos x="209" y="12"/>
                </a:cxn>
                <a:cxn ang="0">
                  <a:pos x="388" y="20"/>
                </a:cxn>
                <a:cxn ang="0">
                  <a:pos x="514" y="31"/>
                </a:cxn>
                <a:cxn ang="0">
                  <a:pos x="518" y="43"/>
                </a:cxn>
                <a:cxn ang="0">
                  <a:pos x="520" y="46"/>
                </a:cxn>
                <a:cxn ang="0">
                  <a:pos x="521" y="51"/>
                </a:cxn>
                <a:cxn ang="0">
                  <a:pos x="521" y="56"/>
                </a:cxn>
                <a:cxn ang="0">
                  <a:pos x="521" y="63"/>
                </a:cxn>
                <a:cxn ang="0">
                  <a:pos x="520" y="66"/>
                </a:cxn>
                <a:cxn ang="0">
                  <a:pos x="518" y="70"/>
                </a:cxn>
                <a:cxn ang="0">
                  <a:pos x="518" y="72"/>
                </a:cxn>
                <a:cxn ang="0">
                  <a:pos x="520" y="75"/>
                </a:cxn>
                <a:cxn ang="0">
                  <a:pos x="521" y="85"/>
                </a:cxn>
                <a:cxn ang="0">
                  <a:pos x="521" y="87"/>
                </a:cxn>
                <a:cxn ang="0">
                  <a:pos x="520" y="90"/>
                </a:cxn>
                <a:cxn ang="0">
                  <a:pos x="520" y="96"/>
                </a:cxn>
                <a:cxn ang="0">
                  <a:pos x="521" y="97"/>
                </a:cxn>
                <a:cxn ang="0">
                  <a:pos x="521" y="99"/>
                </a:cxn>
                <a:cxn ang="0">
                  <a:pos x="521" y="102"/>
                </a:cxn>
                <a:cxn ang="0">
                  <a:pos x="520" y="106"/>
                </a:cxn>
                <a:cxn ang="0">
                  <a:pos x="520" y="109"/>
                </a:cxn>
                <a:cxn ang="0">
                  <a:pos x="521" y="113"/>
                </a:cxn>
                <a:cxn ang="0">
                  <a:pos x="521" y="118"/>
                </a:cxn>
                <a:cxn ang="0">
                  <a:pos x="525" y="125"/>
                </a:cxn>
                <a:cxn ang="0">
                  <a:pos x="528" y="143"/>
                </a:cxn>
                <a:cxn ang="0">
                  <a:pos x="530" y="150"/>
                </a:cxn>
                <a:cxn ang="0">
                  <a:pos x="535" y="160"/>
                </a:cxn>
                <a:cxn ang="0">
                  <a:pos x="540" y="172"/>
                </a:cxn>
                <a:cxn ang="0">
                  <a:pos x="538" y="181"/>
                </a:cxn>
                <a:cxn ang="0">
                  <a:pos x="538" y="190"/>
                </a:cxn>
                <a:cxn ang="0">
                  <a:pos x="540" y="195"/>
                </a:cxn>
                <a:cxn ang="0">
                  <a:pos x="540" y="203"/>
                </a:cxn>
                <a:cxn ang="0">
                  <a:pos x="540" y="210"/>
                </a:cxn>
                <a:cxn ang="0">
                  <a:pos x="542" y="227"/>
                </a:cxn>
                <a:cxn ang="0">
                  <a:pos x="540" y="236"/>
                </a:cxn>
                <a:cxn ang="0">
                  <a:pos x="544" y="239"/>
                </a:cxn>
                <a:cxn ang="0">
                  <a:pos x="544" y="244"/>
                </a:cxn>
                <a:cxn ang="0">
                  <a:pos x="545" y="251"/>
                </a:cxn>
                <a:cxn ang="0">
                  <a:pos x="544" y="261"/>
                </a:cxn>
                <a:cxn ang="0">
                  <a:pos x="544" y="277"/>
                </a:cxn>
                <a:cxn ang="0">
                  <a:pos x="547" y="280"/>
                </a:cxn>
                <a:cxn ang="0">
                  <a:pos x="549" y="297"/>
                </a:cxn>
                <a:cxn ang="0">
                  <a:pos x="556" y="306"/>
                </a:cxn>
                <a:cxn ang="0">
                  <a:pos x="559" y="321"/>
                </a:cxn>
                <a:cxn ang="0">
                  <a:pos x="561" y="333"/>
                </a:cxn>
                <a:cxn ang="0">
                  <a:pos x="559" y="350"/>
                </a:cxn>
                <a:cxn ang="0">
                  <a:pos x="451" y="348"/>
                </a:cxn>
              </a:cxnLst>
              <a:rect l="0" t="0" r="r" b="b"/>
              <a:pathLst>
                <a:path w="561" h="350">
                  <a:moveTo>
                    <a:pt x="398" y="347"/>
                  </a:moveTo>
                  <a:lnTo>
                    <a:pt x="376" y="347"/>
                  </a:lnTo>
                  <a:lnTo>
                    <a:pt x="323" y="343"/>
                  </a:lnTo>
                  <a:lnTo>
                    <a:pt x="311" y="343"/>
                  </a:lnTo>
                  <a:lnTo>
                    <a:pt x="263" y="342"/>
                  </a:lnTo>
                  <a:lnTo>
                    <a:pt x="152" y="335"/>
                  </a:lnTo>
                  <a:lnTo>
                    <a:pt x="82" y="331"/>
                  </a:lnTo>
                  <a:lnTo>
                    <a:pt x="79" y="330"/>
                  </a:lnTo>
                  <a:lnTo>
                    <a:pt x="0" y="325"/>
                  </a:lnTo>
                  <a:lnTo>
                    <a:pt x="3" y="289"/>
                  </a:lnTo>
                  <a:lnTo>
                    <a:pt x="5" y="260"/>
                  </a:lnTo>
                  <a:lnTo>
                    <a:pt x="7" y="249"/>
                  </a:lnTo>
                  <a:lnTo>
                    <a:pt x="12" y="176"/>
                  </a:lnTo>
                  <a:lnTo>
                    <a:pt x="14" y="169"/>
                  </a:lnTo>
                  <a:lnTo>
                    <a:pt x="19" y="106"/>
                  </a:lnTo>
                  <a:lnTo>
                    <a:pt x="22" y="65"/>
                  </a:lnTo>
                  <a:lnTo>
                    <a:pt x="24" y="37"/>
                  </a:lnTo>
                  <a:lnTo>
                    <a:pt x="27" y="0"/>
                  </a:lnTo>
                  <a:lnTo>
                    <a:pt x="106" y="7"/>
                  </a:lnTo>
                  <a:lnTo>
                    <a:pt x="173" y="10"/>
                  </a:lnTo>
                  <a:lnTo>
                    <a:pt x="209" y="12"/>
                  </a:lnTo>
                  <a:lnTo>
                    <a:pt x="303" y="17"/>
                  </a:lnTo>
                  <a:lnTo>
                    <a:pt x="349" y="19"/>
                  </a:lnTo>
                  <a:lnTo>
                    <a:pt x="388" y="20"/>
                  </a:lnTo>
                  <a:lnTo>
                    <a:pt x="463" y="22"/>
                  </a:lnTo>
                  <a:lnTo>
                    <a:pt x="514" y="24"/>
                  </a:lnTo>
                  <a:lnTo>
                    <a:pt x="514" y="31"/>
                  </a:lnTo>
                  <a:lnTo>
                    <a:pt x="518" y="37"/>
                  </a:lnTo>
                  <a:lnTo>
                    <a:pt x="518" y="41"/>
                  </a:lnTo>
                  <a:lnTo>
                    <a:pt x="518" y="43"/>
                  </a:lnTo>
                  <a:lnTo>
                    <a:pt x="518" y="44"/>
                  </a:lnTo>
                  <a:lnTo>
                    <a:pt x="518" y="44"/>
                  </a:lnTo>
                  <a:lnTo>
                    <a:pt x="520" y="46"/>
                  </a:lnTo>
                  <a:lnTo>
                    <a:pt x="520" y="49"/>
                  </a:lnTo>
                  <a:lnTo>
                    <a:pt x="520" y="49"/>
                  </a:lnTo>
                  <a:lnTo>
                    <a:pt x="521" y="51"/>
                  </a:lnTo>
                  <a:lnTo>
                    <a:pt x="521" y="53"/>
                  </a:lnTo>
                  <a:lnTo>
                    <a:pt x="523" y="55"/>
                  </a:lnTo>
                  <a:lnTo>
                    <a:pt x="521" y="56"/>
                  </a:lnTo>
                  <a:lnTo>
                    <a:pt x="523" y="58"/>
                  </a:lnTo>
                  <a:lnTo>
                    <a:pt x="523" y="63"/>
                  </a:lnTo>
                  <a:lnTo>
                    <a:pt x="521" y="63"/>
                  </a:lnTo>
                  <a:lnTo>
                    <a:pt x="521" y="63"/>
                  </a:lnTo>
                  <a:lnTo>
                    <a:pt x="520" y="65"/>
                  </a:lnTo>
                  <a:lnTo>
                    <a:pt x="520" y="66"/>
                  </a:lnTo>
                  <a:lnTo>
                    <a:pt x="518" y="68"/>
                  </a:lnTo>
                  <a:lnTo>
                    <a:pt x="520" y="68"/>
                  </a:lnTo>
                  <a:lnTo>
                    <a:pt x="518" y="70"/>
                  </a:lnTo>
                  <a:lnTo>
                    <a:pt x="520" y="72"/>
                  </a:lnTo>
                  <a:lnTo>
                    <a:pt x="518" y="72"/>
                  </a:lnTo>
                  <a:lnTo>
                    <a:pt x="518" y="72"/>
                  </a:lnTo>
                  <a:lnTo>
                    <a:pt x="520" y="73"/>
                  </a:lnTo>
                  <a:lnTo>
                    <a:pt x="520" y="75"/>
                  </a:lnTo>
                  <a:lnTo>
                    <a:pt x="520" y="75"/>
                  </a:lnTo>
                  <a:lnTo>
                    <a:pt x="520" y="84"/>
                  </a:lnTo>
                  <a:lnTo>
                    <a:pt x="521" y="84"/>
                  </a:lnTo>
                  <a:lnTo>
                    <a:pt x="521" y="85"/>
                  </a:lnTo>
                  <a:lnTo>
                    <a:pt x="520" y="85"/>
                  </a:lnTo>
                  <a:lnTo>
                    <a:pt x="520" y="85"/>
                  </a:lnTo>
                  <a:lnTo>
                    <a:pt x="521" y="87"/>
                  </a:lnTo>
                  <a:lnTo>
                    <a:pt x="518" y="89"/>
                  </a:lnTo>
                  <a:lnTo>
                    <a:pt x="520" y="89"/>
                  </a:lnTo>
                  <a:lnTo>
                    <a:pt x="520" y="90"/>
                  </a:lnTo>
                  <a:lnTo>
                    <a:pt x="520" y="90"/>
                  </a:lnTo>
                  <a:lnTo>
                    <a:pt x="520" y="90"/>
                  </a:lnTo>
                  <a:lnTo>
                    <a:pt x="520" y="96"/>
                  </a:lnTo>
                  <a:lnTo>
                    <a:pt x="521" y="96"/>
                  </a:lnTo>
                  <a:lnTo>
                    <a:pt x="520" y="97"/>
                  </a:lnTo>
                  <a:lnTo>
                    <a:pt x="521" y="97"/>
                  </a:lnTo>
                  <a:lnTo>
                    <a:pt x="521" y="99"/>
                  </a:lnTo>
                  <a:lnTo>
                    <a:pt x="520" y="99"/>
                  </a:lnTo>
                  <a:lnTo>
                    <a:pt x="521" y="99"/>
                  </a:lnTo>
                  <a:lnTo>
                    <a:pt x="521" y="101"/>
                  </a:lnTo>
                  <a:lnTo>
                    <a:pt x="520" y="101"/>
                  </a:lnTo>
                  <a:lnTo>
                    <a:pt x="521" y="102"/>
                  </a:lnTo>
                  <a:lnTo>
                    <a:pt x="520" y="104"/>
                  </a:lnTo>
                  <a:lnTo>
                    <a:pt x="521" y="106"/>
                  </a:lnTo>
                  <a:lnTo>
                    <a:pt x="520" y="106"/>
                  </a:lnTo>
                  <a:lnTo>
                    <a:pt x="521" y="107"/>
                  </a:lnTo>
                  <a:lnTo>
                    <a:pt x="520" y="107"/>
                  </a:lnTo>
                  <a:lnTo>
                    <a:pt x="520" y="109"/>
                  </a:lnTo>
                  <a:lnTo>
                    <a:pt x="520" y="111"/>
                  </a:lnTo>
                  <a:lnTo>
                    <a:pt x="520" y="113"/>
                  </a:lnTo>
                  <a:lnTo>
                    <a:pt x="521" y="113"/>
                  </a:lnTo>
                  <a:lnTo>
                    <a:pt x="520" y="114"/>
                  </a:lnTo>
                  <a:lnTo>
                    <a:pt x="521" y="114"/>
                  </a:lnTo>
                  <a:lnTo>
                    <a:pt x="521" y="118"/>
                  </a:lnTo>
                  <a:lnTo>
                    <a:pt x="523" y="119"/>
                  </a:lnTo>
                  <a:lnTo>
                    <a:pt x="523" y="123"/>
                  </a:lnTo>
                  <a:lnTo>
                    <a:pt x="525" y="125"/>
                  </a:lnTo>
                  <a:lnTo>
                    <a:pt x="526" y="135"/>
                  </a:lnTo>
                  <a:lnTo>
                    <a:pt x="528" y="138"/>
                  </a:lnTo>
                  <a:lnTo>
                    <a:pt x="528" y="143"/>
                  </a:lnTo>
                  <a:lnTo>
                    <a:pt x="530" y="143"/>
                  </a:lnTo>
                  <a:lnTo>
                    <a:pt x="532" y="149"/>
                  </a:lnTo>
                  <a:lnTo>
                    <a:pt x="530" y="150"/>
                  </a:lnTo>
                  <a:lnTo>
                    <a:pt x="532" y="152"/>
                  </a:lnTo>
                  <a:lnTo>
                    <a:pt x="533" y="155"/>
                  </a:lnTo>
                  <a:lnTo>
                    <a:pt x="535" y="160"/>
                  </a:lnTo>
                  <a:lnTo>
                    <a:pt x="537" y="164"/>
                  </a:lnTo>
                  <a:lnTo>
                    <a:pt x="538" y="171"/>
                  </a:lnTo>
                  <a:lnTo>
                    <a:pt x="540" y="172"/>
                  </a:lnTo>
                  <a:lnTo>
                    <a:pt x="538" y="176"/>
                  </a:lnTo>
                  <a:lnTo>
                    <a:pt x="540" y="178"/>
                  </a:lnTo>
                  <a:lnTo>
                    <a:pt x="538" y="181"/>
                  </a:lnTo>
                  <a:lnTo>
                    <a:pt x="540" y="183"/>
                  </a:lnTo>
                  <a:lnTo>
                    <a:pt x="538" y="188"/>
                  </a:lnTo>
                  <a:lnTo>
                    <a:pt x="538" y="190"/>
                  </a:lnTo>
                  <a:lnTo>
                    <a:pt x="538" y="193"/>
                  </a:lnTo>
                  <a:lnTo>
                    <a:pt x="540" y="193"/>
                  </a:lnTo>
                  <a:lnTo>
                    <a:pt x="540" y="195"/>
                  </a:lnTo>
                  <a:lnTo>
                    <a:pt x="540" y="198"/>
                  </a:lnTo>
                  <a:lnTo>
                    <a:pt x="540" y="200"/>
                  </a:lnTo>
                  <a:lnTo>
                    <a:pt x="540" y="203"/>
                  </a:lnTo>
                  <a:lnTo>
                    <a:pt x="540" y="205"/>
                  </a:lnTo>
                  <a:lnTo>
                    <a:pt x="540" y="208"/>
                  </a:lnTo>
                  <a:lnTo>
                    <a:pt x="540" y="210"/>
                  </a:lnTo>
                  <a:lnTo>
                    <a:pt x="542" y="219"/>
                  </a:lnTo>
                  <a:lnTo>
                    <a:pt x="540" y="220"/>
                  </a:lnTo>
                  <a:lnTo>
                    <a:pt x="542" y="227"/>
                  </a:lnTo>
                  <a:lnTo>
                    <a:pt x="542" y="227"/>
                  </a:lnTo>
                  <a:lnTo>
                    <a:pt x="542" y="232"/>
                  </a:lnTo>
                  <a:lnTo>
                    <a:pt x="540" y="236"/>
                  </a:lnTo>
                  <a:lnTo>
                    <a:pt x="542" y="236"/>
                  </a:lnTo>
                  <a:lnTo>
                    <a:pt x="542" y="239"/>
                  </a:lnTo>
                  <a:lnTo>
                    <a:pt x="544" y="239"/>
                  </a:lnTo>
                  <a:lnTo>
                    <a:pt x="544" y="241"/>
                  </a:lnTo>
                  <a:lnTo>
                    <a:pt x="544" y="242"/>
                  </a:lnTo>
                  <a:lnTo>
                    <a:pt x="544" y="244"/>
                  </a:lnTo>
                  <a:lnTo>
                    <a:pt x="545" y="242"/>
                  </a:lnTo>
                  <a:lnTo>
                    <a:pt x="545" y="244"/>
                  </a:lnTo>
                  <a:lnTo>
                    <a:pt x="545" y="251"/>
                  </a:lnTo>
                  <a:lnTo>
                    <a:pt x="545" y="253"/>
                  </a:lnTo>
                  <a:lnTo>
                    <a:pt x="544" y="256"/>
                  </a:lnTo>
                  <a:lnTo>
                    <a:pt x="544" y="261"/>
                  </a:lnTo>
                  <a:lnTo>
                    <a:pt x="544" y="268"/>
                  </a:lnTo>
                  <a:lnTo>
                    <a:pt x="544" y="270"/>
                  </a:lnTo>
                  <a:lnTo>
                    <a:pt x="544" y="277"/>
                  </a:lnTo>
                  <a:lnTo>
                    <a:pt x="544" y="277"/>
                  </a:lnTo>
                  <a:lnTo>
                    <a:pt x="545" y="278"/>
                  </a:lnTo>
                  <a:lnTo>
                    <a:pt x="547" y="280"/>
                  </a:lnTo>
                  <a:lnTo>
                    <a:pt x="547" y="290"/>
                  </a:lnTo>
                  <a:lnTo>
                    <a:pt x="549" y="294"/>
                  </a:lnTo>
                  <a:lnTo>
                    <a:pt x="549" y="297"/>
                  </a:lnTo>
                  <a:lnTo>
                    <a:pt x="550" y="299"/>
                  </a:lnTo>
                  <a:lnTo>
                    <a:pt x="554" y="304"/>
                  </a:lnTo>
                  <a:lnTo>
                    <a:pt x="556" y="306"/>
                  </a:lnTo>
                  <a:lnTo>
                    <a:pt x="557" y="307"/>
                  </a:lnTo>
                  <a:lnTo>
                    <a:pt x="557" y="318"/>
                  </a:lnTo>
                  <a:lnTo>
                    <a:pt x="559" y="321"/>
                  </a:lnTo>
                  <a:lnTo>
                    <a:pt x="557" y="323"/>
                  </a:lnTo>
                  <a:lnTo>
                    <a:pt x="559" y="325"/>
                  </a:lnTo>
                  <a:lnTo>
                    <a:pt x="561" y="333"/>
                  </a:lnTo>
                  <a:lnTo>
                    <a:pt x="559" y="342"/>
                  </a:lnTo>
                  <a:lnTo>
                    <a:pt x="561" y="348"/>
                  </a:lnTo>
                  <a:lnTo>
                    <a:pt x="559" y="350"/>
                  </a:lnTo>
                  <a:lnTo>
                    <a:pt x="509" y="350"/>
                  </a:lnTo>
                  <a:lnTo>
                    <a:pt x="453" y="350"/>
                  </a:lnTo>
                  <a:lnTo>
                    <a:pt x="451" y="348"/>
                  </a:lnTo>
                  <a:lnTo>
                    <a:pt x="398" y="347"/>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1" name="Freeform 10"/>
            <p:cNvSpPr>
              <a:spLocks/>
            </p:cNvSpPr>
            <p:nvPr/>
          </p:nvSpPr>
          <p:spPr bwMode="gray">
            <a:xfrm>
              <a:off x="4252159" y="2516255"/>
              <a:ext cx="956495" cy="637664"/>
            </a:xfrm>
            <a:custGeom>
              <a:avLst/>
              <a:gdLst/>
              <a:ahLst/>
              <a:cxnLst>
                <a:cxn ang="0">
                  <a:pos x="42" y="317"/>
                </a:cxn>
                <a:cxn ang="0">
                  <a:pos x="5" y="259"/>
                </a:cxn>
                <a:cxn ang="0">
                  <a:pos x="10" y="188"/>
                </a:cxn>
                <a:cxn ang="0">
                  <a:pos x="19" y="100"/>
                </a:cxn>
                <a:cxn ang="0">
                  <a:pos x="27" y="0"/>
                </a:cxn>
                <a:cxn ang="0">
                  <a:pos x="179" y="10"/>
                </a:cxn>
                <a:cxn ang="0">
                  <a:pos x="350" y="18"/>
                </a:cxn>
                <a:cxn ang="0">
                  <a:pos x="478" y="23"/>
                </a:cxn>
                <a:cxn ang="0">
                  <a:pos x="586" y="25"/>
                </a:cxn>
                <a:cxn ang="0">
                  <a:pos x="579" y="46"/>
                </a:cxn>
                <a:cxn ang="0">
                  <a:pos x="565" y="63"/>
                </a:cxn>
                <a:cxn ang="0">
                  <a:pos x="577" y="82"/>
                </a:cxn>
                <a:cxn ang="0">
                  <a:pos x="593" y="90"/>
                </a:cxn>
                <a:cxn ang="0">
                  <a:pos x="594" y="128"/>
                </a:cxn>
                <a:cxn ang="0">
                  <a:pos x="594" y="176"/>
                </a:cxn>
                <a:cxn ang="0">
                  <a:pos x="593" y="287"/>
                </a:cxn>
                <a:cxn ang="0">
                  <a:pos x="583" y="293"/>
                </a:cxn>
                <a:cxn ang="0">
                  <a:pos x="588" y="302"/>
                </a:cxn>
                <a:cxn ang="0">
                  <a:pos x="584" y="312"/>
                </a:cxn>
                <a:cxn ang="0">
                  <a:pos x="586" y="316"/>
                </a:cxn>
                <a:cxn ang="0">
                  <a:pos x="594" y="328"/>
                </a:cxn>
                <a:cxn ang="0">
                  <a:pos x="591" y="334"/>
                </a:cxn>
                <a:cxn ang="0">
                  <a:pos x="588" y="341"/>
                </a:cxn>
                <a:cxn ang="0">
                  <a:pos x="588" y="352"/>
                </a:cxn>
                <a:cxn ang="0">
                  <a:pos x="583" y="358"/>
                </a:cxn>
                <a:cxn ang="0">
                  <a:pos x="579" y="367"/>
                </a:cxn>
                <a:cxn ang="0">
                  <a:pos x="586" y="377"/>
                </a:cxn>
                <a:cxn ang="0">
                  <a:pos x="589" y="386"/>
                </a:cxn>
                <a:cxn ang="0">
                  <a:pos x="594" y="396"/>
                </a:cxn>
                <a:cxn ang="0">
                  <a:pos x="583" y="393"/>
                </a:cxn>
                <a:cxn ang="0">
                  <a:pos x="579" y="389"/>
                </a:cxn>
                <a:cxn ang="0">
                  <a:pos x="574" y="379"/>
                </a:cxn>
                <a:cxn ang="0">
                  <a:pos x="565" y="375"/>
                </a:cxn>
                <a:cxn ang="0">
                  <a:pos x="557" y="369"/>
                </a:cxn>
                <a:cxn ang="0">
                  <a:pos x="553" y="367"/>
                </a:cxn>
                <a:cxn ang="0">
                  <a:pos x="540" y="365"/>
                </a:cxn>
                <a:cxn ang="0">
                  <a:pos x="533" y="357"/>
                </a:cxn>
                <a:cxn ang="0">
                  <a:pos x="526" y="355"/>
                </a:cxn>
                <a:cxn ang="0">
                  <a:pos x="512" y="355"/>
                </a:cxn>
                <a:cxn ang="0">
                  <a:pos x="500" y="355"/>
                </a:cxn>
                <a:cxn ang="0">
                  <a:pos x="490" y="357"/>
                </a:cxn>
                <a:cxn ang="0">
                  <a:pos x="482" y="355"/>
                </a:cxn>
                <a:cxn ang="0">
                  <a:pos x="475" y="364"/>
                </a:cxn>
                <a:cxn ang="0">
                  <a:pos x="463" y="360"/>
                </a:cxn>
                <a:cxn ang="0">
                  <a:pos x="459" y="357"/>
                </a:cxn>
                <a:cxn ang="0">
                  <a:pos x="437" y="345"/>
                </a:cxn>
                <a:cxn ang="0">
                  <a:pos x="353" y="336"/>
                </a:cxn>
                <a:cxn ang="0">
                  <a:pos x="154" y="326"/>
                </a:cxn>
              </a:cxnLst>
              <a:rect l="0" t="0" r="r" b="b"/>
              <a:pathLst>
                <a:path w="594" h="396">
                  <a:moveTo>
                    <a:pt x="99" y="323"/>
                  </a:moveTo>
                  <a:lnTo>
                    <a:pt x="82" y="321"/>
                  </a:lnTo>
                  <a:lnTo>
                    <a:pt x="42" y="317"/>
                  </a:lnTo>
                  <a:lnTo>
                    <a:pt x="0" y="314"/>
                  </a:lnTo>
                  <a:lnTo>
                    <a:pt x="3" y="263"/>
                  </a:lnTo>
                  <a:lnTo>
                    <a:pt x="5" y="259"/>
                  </a:lnTo>
                  <a:lnTo>
                    <a:pt x="7" y="222"/>
                  </a:lnTo>
                  <a:lnTo>
                    <a:pt x="10" y="191"/>
                  </a:lnTo>
                  <a:lnTo>
                    <a:pt x="10" y="188"/>
                  </a:lnTo>
                  <a:lnTo>
                    <a:pt x="13" y="145"/>
                  </a:lnTo>
                  <a:lnTo>
                    <a:pt x="17" y="100"/>
                  </a:lnTo>
                  <a:lnTo>
                    <a:pt x="19" y="100"/>
                  </a:lnTo>
                  <a:lnTo>
                    <a:pt x="20" y="76"/>
                  </a:lnTo>
                  <a:lnTo>
                    <a:pt x="27" y="5"/>
                  </a:lnTo>
                  <a:lnTo>
                    <a:pt x="27" y="0"/>
                  </a:lnTo>
                  <a:lnTo>
                    <a:pt x="106" y="5"/>
                  </a:lnTo>
                  <a:lnTo>
                    <a:pt x="109" y="6"/>
                  </a:lnTo>
                  <a:lnTo>
                    <a:pt x="179" y="10"/>
                  </a:lnTo>
                  <a:lnTo>
                    <a:pt x="290" y="17"/>
                  </a:lnTo>
                  <a:lnTo>
                    <a:pt x="338" y="18"/>
                  </a:lnTo>
                  <a:lnTo>
                    <a:pt x="350" y="18"/>
                  </a:lnTo>
                  <a:lnTo>
                    <a:pt x="403" y="22"/>
                  </a:lnTo>
                  <a:lnTo>
                    <a:pt x="425" y="22"/>
                  </a:lnTo>
                  <a:lnTo>
                    <a:pt x="478" y="23"/>
                  </a:lnTo>
                  <a:lnTo>
                    <a:pt x="480" y="25"/>
                  </a:lnTo>
                  <a:lnTo>
                    <a:pt x="536" y="25"/>
                  </a:lnTo>
                  <a:lnTo>
                    <a:pt x="586" y="25"/>
                  </a:lnTo>
                  <a:lnTo>
                    <a:pt x="584" y="37"/>
                  </a:lnTo>
                  <a:lnTo>
                    <a:pt x="584" y="39"/>
                  </a:lnTo>
                  <a:lnTo>
                    <a:pt x="579" y="46"/>
                  </a:lnTo>
                  <a:lnTo>
                    <a:pt x="565" y="56"/>
                  </a:lnTo>
                  <a:lnTo>
                    <a:pt x="564" y="59"/>
                  </a:lnTo>
                  <a:lnTo>
                    <a:pt x="565" y="63"/>
                  </a:lnTo>
                  <a:lnTo>
                    <a:pt x="571" y="70"/>
                  </a:lnTo>
                  <a:lnTo>
                    <a:pt x="574" y="76"/>
                  </a:lnTo>
                  <a:lnTo>
                    <a:pt x="577" y="82"/>
                  </a:lnTo>
                  <a:lnTo>
                    <a:pt x="583" y="83"/>
                  </a:lnTo>
                  <a:lnTo>
                    <a:pt x="589" y="85"/>
                  </a:lnTo>
                  <a:lnTo>
                    <a:pt x="593" y="90"/>
                  </a:lnTo>
                  <a:lnTo>
                    <a:pt x="594" y="94"/>
                  </a:lnTo>
                  <a:lnTo>
                    <a:pt x="594" y="95"/>
                  </a:lnTo>
                  <a:lnTo>
                    <a:pt x="594" y="128"/>
                  </a:lnTo>
                  <a:lnTo>
                    <a:pt x="594" y="146"/>
                  </a:lnTo>
                  <a:lnTo>
                    <a:pt x="594" y="165"/>
                  </a:lnTo>
                  <a:lnTo>
                    <a:pt x="594" y="176"/>
                  </a:lnTo>
                  <a:lnTo>
                    <a:pt x="594" y="211"/>
                  </a:lnTo>
                  <a:lnTo>
                    <a:pt x="594" y="249"/>
                  </a:lnTo>
                  <a:lnTo>
                    <a:pt x="593" y="287"/>
                  </a:lnTo>
                  <a:lnTo>
                    <a:pt x="583" y="287"/>
                  </a:lnTo>
                  <a:lnTo>
                    <a:pt x="584" y="288"/>
                  </a:lnTo>
                  <a:lnTo>
                    <a:pt x="583" y="293"/>
                  </a:lnTo>
                  <a:lnTo>
                    <a:pt x="586" y="297"/>
                  </a:lnTo>
                  <a:lnTo>
                    <a:pt x="588" y="299"/>
                  </a:lnTo>
                  <a:lnTo>
                    <a:pt x="588" y="302"/>
                  </a:lnTo>
                  <a:lnTo>
                    <a:pt x="588" y="307"/>
                  </a:lnTo>
                  <a:lnTo>
                    <a:pt x="584" y="309"/>
                  </a:lnTo>
                  <a:lnTo>
                    <a:pt x="584" y="312"/>
                  </a:lnTo>
                  <a:lnTo>
                    <a:pt x="586" y="314"/>
                  </a:lnTo>
                  <a:lnTo>
                    <a:pt x="584" y="314"/>
                  </a:lnTo>
                  <a:lnTo>
                    <a:pt x="586" y="316"/>
                  </a:lnTo>
                  <a:lnTo>
                    <a:pt x="591" y="317"/>
                  </a:lnTo>
                  <a:lnTo>
                    <a:pt x="593" y="317"/>
                  </a:lnTo>
                  <a:lnTo>
                    <a:pt x="594" y="328"/>
                  </a:lnTo>
                  <a:lnTo>
                    <a:pt x="593" y="331"/>
                  </a:lnTo>
                  <a:lnTo>
                    <a:pt x="593" y="333"/>
                  </a:lnTo>
                  <a:lnTo>
                    <a:pt x="591" y="334"/>
                  </a:lnTo>
                  <a:lnTo>
                    <a:pt x="588" y="334"/>
                  </a:lnTo>
                  <a:lnTo>
                    <a:pt x="589" y="340"/>
                  </a:lnTo>
                  <a:lnTo>
                    <a:pt x="588" y="341"/>
                  </a:lnTo>
                  <a:lnTo>
                    <a:pt x="589" y="346"/>
                  </a:lnTo>
                  <a:lnTo>
                    <a:pt x="586" y="350"/>
                  </a:lnTo>
                  <a:lnTo>
                    <a:pt x="588" y="352"/>
                  </a:lnTo>
                  <a:lnTo>
                    <a:pt x="586" y="357"/>
                  </a:lnTo>
                  <a:lnTo>
                    <a:pt x="584" y="358"/>
                  </a:lnTo>
                  <a:lnTo>
                    <a:pt x="583" y="358"/>
                  </a:lnTo>
                  <a:lnTo>
                    <a:pt x="583" y="362"/>
                  </a:lnTo>
                  <a:lnTo>
                    <a:pt x="579" y="365"/>
                  </a:lnTo>
                  <a:lnTo>
                    <a:pt x="579" y="367"/>
                  </a:lnTo>
                  <a:lnTo>
                    <a:pt x="579" y="372"/>
                  </a:lnTo>
                  <a:lnTo>
                    <a:pt x="584" y="375"/>
                  </a:lnTo>
                  <a:lnTo>
                    <a:pt x="586" y="377"/>
                  </a:lnTo>
                  <a:lnTo>
                    <a:pt x="589" y="381"/>
                  </a:lnTo>
                  <a:lnTo>
                    <a:pt x="591" y="386"/>
                  </a:lnTo>
                  <a:lnTo>
                    <a:pt x="589" y="386"/>
                  </a:lnTo>
                  <a:lnTo>
                    <a:pt x="591" y="387"/>
                  </a:lnTo>
                  <a:lnTo>
                    <a:pt x="591" y="393"/>
                  </a:lnTo>
                  <a:lnTo>
                    <a:pt x="594" y="396"/>
                  </a:lnTo>
                  <a:lnTo>
                    <a:pt x="589" y="396"/>
                  </a:lnTo>
                  <a:lnTo>
                    <a:pt x="586" y="393"/>
                  </a:lnTo>
                  <a:lnTo>
                    <a:pt x="583" y="393"/>
                  </a:lnTo>
                  <a:lnTo>
                    <a:pt x="581" y="394"/>
                  </a:lnTo>
                  <a:lnTo>
                    <a:pt x="579" y="393"/>
                  </a:lnTo>
                  <a:lnTo>
                    <a:pt x="579" y="389"/>
                  </a:lnTo>
                  <a:lnTo>
                    <a:pt x="572" y="382"/>
                  </a:lnTo>
                  <a:lnTo>
                    <a:pt x="572" y="381"/>
                  </a:lnTo>
                  <a:lnTo>
                    <a:pt x="574" y="379"/>
                  </a:lnTo>
                  <a:lnTo>
                    <a:pt x="574" y="377"/>
                  </a:lnTo>
                  <a:lnTo>
                    <a:pt x="572" y="375"/>
                  </a:lnTo>
                  <a:lnTo>
                    <a:pt x="565" y="375"/>
                  </a:lnTo>
                  <a:lnTo>
                    <a:pt x="565" y="375"/>
                  </a:lnTo>
                  <a:lnTo>
                    <a:pt x="565" y="372"/>
                  </a:lnTo>
                  <a:lnTo>
                    <a:pt x="557" y="369"/>
                  </a:lnTo>
                  <a:lnTo>
                    <a:pt x="553" y="370"/>
                  </a:lnTo>
                  <a:lnTo>
                    <a:pt x="552" y="370"/>
                  </a:lnTo>
                  <a:lnTo>
                    <a:pt x="553" y="367"/>
                  </a:lnTo>
                  <a:lnTo>
                    <a:pt x="552" y="367"/>
                  </a:lnTo>
                  <a:lnTo>
                    <a:pt x="550" y="367"/>
                  </a:lnTo>
                  <a:lnTo>
                    <a:pt x="540" y="365"/>
                  </a:lnTo>
                  <a:lnTo>
                    <a:pt x="538" y="362"/>
                  </a:lnTo>
                  <a:lnTo>
                    <a:pt x="535" y="360"/>
                  </a:lnTo>
                  <a:lnTo>
                    <a:pt x="533" y="357"/>
                  </a:lnTo>
                  <a:lnTo>
                    <a:pt x="531" y="357"/>
                  </a:lnTo>
                  <a:lnTo>
                    <a:pt x="530" y="357"/>
                  </a:lnTo>
                  <a:lnTo>
                    <a:pt x="526" y="355"/>
                  </a:lnTo>
                  <a:lnTo>
                    <a:pt x="519" y="353"/>
                  </a:lnTo>
                  <a:lnTo>
                    <a:pt x="514" y="357"/>
                  </a:lnTo>
                  <a:lnTo>
                    <a:pt x="512" y="355"/>
                  </a:lnTo>
                  <a:lnTo>
                    <a:pt x="511" y="355"/>
                  </a:lnTo>
                  <a:lnTo>
                    <a:pt x="506" y="357"/>
                  </a:lnTo>
                  <a:lnTo>
                    <a:pt x="500" y="355"/>
                  </a:lnTo>
                  <a:lnTo>
                    <a:pt x="497" y="357"/>
                  </a:lnTo>
                  <a:lnTo>
                    <a:pt x="494" y="355"/>
                  </a:lnTo>
                  <a:lnTo>
                    <a:pt x="490" y="357"/>
                  </a:lnTo>
                  <a:lnTo>
                    <a:pt x="489" y="355"/>
                  </a:lnTo>
                  <a:lnTo>
                    <a:pt x="487" y="353"/>
                  </a:lnTo>
                  <a:lnTo>
                    <a:pt x="482" y="355"/>
                  </a:lnTo>
                  <a:lnTo>
                    <a:pt x="480" y="357"/>
                  </a:lnTo>
                  <a:lnTo>
                    <a:pt x="478" y="362"/>
                  </a:lnTo>
                  <a:lnTo>
                    <a:pt x="475" y="364"/>
                  </a:lnTo>
                  <a:lnTo>
                    <a:pt x="473" y="364"/>
                  </a:lnTo>
                  <a:lnTo>
                    <a:pt x="470" y="364"/>
                  </a:lnTo>
                  <a:lnTo>
                    <a:pt x="463" y="360"/>
                  </a:lnTo>
                  <a:lnTo>
                    <a:pt x="463" y="358"/>
                  </a:lnTo>
                  <a:lnTo>
                    <a:pt x="461" y="357"/>
                  </a:lnTo>
                  <a:lnTo>
                    <a:pt x="459" y="357"/>
                  </a:lnTo>
                  <a:lnTo>
                    <a:pt x="447" y="352"/>
                  </a:lnTo>
                  <a:lnTo>
                    <a:pt x="442" y="346"/>
                  </a:lnTo>
                  <a:lnTo>
                    <a:pt x="437" y="345"/>
                  </a:lnTo>
                  <a:lnTo>
                    <a:pt x="434" y="340"/>
                  </a:lnTo>
                  <a:lnTo>
                    <a:pt x="374" y="338"/>
                  </a:lnTo>
                  <a:lnTo>
                    <a:pt x="353" y="336"/>
                  </a:lnTo>
                  <a:lnTo>
                    <a:pt x="301" y="334"/>
                  </a:lnTo>
                  <a:lnTo>
                    <a:pt x="220" y="331"/>
                  </a:lnTo>
                  <a:lnTo>
                    <a:pt x="154" y="326"/>
                  </a:lnTo>
                  <a:lnTo>
                    <a:pt x="99" y="323"/>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2" name="Freeform 11"/>
            <p:cNvSpPr>
              <a:spLocks/>
            </p:cNvSpPr>
            <p:nvPr/>
          </p:nvSpPr>
          <p:spPr bwMode="gray">
            <a:xfrm>
              <a:off x="3324649" y="2572614"/>
              <a:ext cx="954885" cy="795469"/>
            </a:xfrm>
            <a:custGeom>
              <a:avLst/>
              <a:gdLst/>
              <a:ahLst/>
              <a:cxnLst>
                <a:cxn ang="0">
                  <a:pos x="564" y="419"/>
                </a:cxn>
                <a:cxn ang="0">
                  <a:pos x="562" y="433"/>
                </a:cxn>
                <a:cxn ang="0">
                  <a:pos x="562" y="452"/>
                </a:cxn>
                <a:cxn ang="0">
                  <a:pos x="559" y="494"/>
                </a:cxn>
                <a:cxn ang="0">
                  <a:pos x="487" y="487"/>
                </a:cxn>
                <a:cxn ang="0">
                  <a:pos x="459" y="486"/>
                </a:cxn>
                <a:cxn ang="0">
                  <a:pos x="386" y="477"/>
                </a:cxn>
                <a:cxn ang="0">
                  <a:pos x="376" y="475"/>
                </a:cxn>
                <a:cxn ang="0">
                  <a:pos x="333" y="472"/>
                </a:cxn>
                <a:cxn ang="0">
                  <a:pos x="297" y="467"/>
                </a:cxn>
                <a:cxn ang="0">
                  <a:pos x="249" y="460"/>
                </a:cxn>
                <a:cxn ang="0">
                  <a:pos x="159" y="450"/>
                </a:cxn>
                <a:cxn ang="0">
                  <a:pos x="82" y="438"/>
                </a:cxn>
                <a:cxn ang="0">
                  <a:pos x="77" y="438"/>
                </a:cxn>
                <a:cxn ang="0">
                  <a:pos x="0" y="426"/>
                </a:cxn>
                <a:cxn ang="0">
                  <a:pos x="3" y="399"/>
                </a:cxn>
                <a:cxn ang="0">
                  <a:pos x="8" y="364"/>
                </a:cxn>
                <a:cxn ang="0">
                  <a:pos x="17" y="320"/>
                </a:cxn>
                <a:cxn ang="0">
                  <a:pos x="25" y="265"/>
                </a:cxn>
                <a:cxn ang="0">
                  <a:pos x="34" y="211"/>
                </a:cxn>
                <a:cxn ang="0">
                  <a:pos x="37" y="182"/>
                </a:cxn>
                <a:cxn ang="0">
                  <a:pos x="42" y="158"/>
                </a:cxn>
                <a:cxn ang="0">
                  <a:pos x="49" y="108"/>
                </a:cxn>
                <a:cxn ang="0">
                  <a:pos x="58" y="57"/>
                </a:cxn>
                <a:cxn ang="0">
                  <a:pos x="61" y="36"/>
                </a:cxn>
                <a:cxn ang="0">
                  <a:pos x="66" y="0"/>
                </a:cxn>
                <a:cxn ang="0">
                  <a:pos x="113" y="9"/>
                </a:cxn>
                <a:cxn ang="0">
                  <a:pos x="116" y="9"/>
                </a:cxn>
                <a:cxn ang="0">
                  <a:pos x="147" y="12"/>
                </a:cxn>
                <a:cxn ang="0">
                  <a:pos x="160" y="14"/>
                </a:cxn>
                <a:cxn ang="0">
                  <a:pos x="249" y="28"/>
                </a:cxn>
                <a:cxn ang="0">
                  <a:pos x="277" y="31"/>
                </a:cxn>
                <a:cxn ang="0">
                  <a:pos x="304" y="35"/>
                </a:cxn>
                <a:cxn ang="0">
                  <a:pos x="427" y="48"/>
                </a:cxn>
                <a:cxn ang="0">
                  <a:pos x="446" y="52"/>
                </a:cxn>
                <a:cxn ang="0">
                  <a:pos x="516" y="59"/>
                </a:cxn>
                <a:cxn ang="0">
                  <a:pos x="519" y="59"/>
                </a:cxn>
                <a:cxn ang="0">
                  <a:pos x="593" y="65"/>
                </a:cxn>
                <a:cxn ang="0">
                  <a:pos x="589" y="110"/>
                </a:cxn>
                <a:cxn ang="0">
                  <a:pos x="586" y="153"/>
                </a:cxn>
                <a:cxn ang="0">
                  <a:pos x="586" y="156"/>
                </a:cxn>
                <a:cxn ang="0">
                  <a:pos x="583" y="187"/>
                </a:cxn>
                <a:cxn ang="0">
                  <a:pos x="581" y="224"/>
                </a:cxn>
                <a:cxn ang="0">
                  <a:pos x="579" y="228"/>
                </a:cxn>
                <a:cxn ang="0">
                  <a:pos x="576" y="279"/>
                </a:cxn>
                <a:cxn ang="0">
                  <a:pos x="572" y="320"/>
                </a:cxn>
                <a:cxn ang="0">
                  <a:pos x="567" y="387"/>
                </a:cxn>
                <a:cxn ang="0">
                  <a:pos x="564" y="419"/>
                </a:cxn>
              </a:cxnLst>
              <a:rect l="0" t="0" r="r" b="b"/>
              <a:pathLst>
                <a:path w="593" h="494">
                  <a:moveTo>
                    <a:pt x="564" y="419"/>
                  </a:moveTo>
                  <a:lnTo>
                    <a:pt x="562" y="433"/>
                  </a:lnTo>
                  <a:lnTo>
                    <a:pt x="562" y="452"/>
                  </a:lnTo>
                  <a:lnTo>
                    <a:pt x="559" y="494"/>
                  </a:lnTo>
                  <a:lnTo>
                    <a:pt x="487" y="487"/>
                  </a:lnTo>
                  <a:lnTo>
                    <a:pt x="459" y="486"/>
                  </a:lnTo>
                  <a:lnTo>
                    <a:pt x="386" y="477"/>
                  </a:lnTo>
                  <a:lnTo>
                    <a:pt x="376" y="475"/>
                  </a:lnTo>
                  <a:lnTo>
                    <a:pt x="333" y="472"/>
                  </a:lnTo>
                  <a:lnTo>
                    <a:pt x="297" y="467"/>
                  </a:lnTo>
                  <a:lnTo>
                    <a:pt x="249" y="460"/>
                  </a:lnTo>
                  <a:lnTo>
                    <a:pt x="159" y="450"/>
                  </a:lnTo>
                  <a:lnTo>
                    <a:pt x="82" y="438"/>
                  </a:lnTo>
                  <a:lnTo>
                    <a:pt x="77" y="438"/>
                  </a:lnTo>
                  <a:lnTo>
                    <a:pt x="0" y="426"/>
                  </a:lnTo>
                  <a:lnTo>
                    <a:pt x="3" y="399"/>
                  </a:lnTo>
                  <a:lnTo>
                    <a:pt x="8" y="364"/>
                  </a:lnTo>
                  <a:lnTo>
                    <a:pt x="17" y="320"/>
                  </a:lnTo>
                  <a:lnTo>
                    <a:pt x="25" y="265"/>
                  </a:lnTo>
                  <a:lnTo>
                    <a:pt x="34" y="211"/>
                  </a:lnTo>
                  <a:lnTo>
                    <a:pt x="37" y="182"/>
                  </a:lnTo>
                  <a:lnTo>
                    <a:pt x="42" y="158"/>
                  </a:lnTo>
                  <a:lnTo>
                    <a:pt x="49" y="108"/>
                  </a:lnTo>
                  <a:lnTo>
                    <a:pt x="58" y="57"/>
                  </a:lnTo>
                  <a:lnTo>
                    <a:pt x="61" y="36"/>
                  </a:lnTo>
                  <a:lnTo>
                    <a:pt x="66" y="0"/>
                  </a:lnTo>
                  <a:lnTo>
                    <a:pt x="113" y="9"/>
                  </a:lnTo>
                  <a:lnTo>
                    <a:pt x="116" y="9"/>
                  </a:lnTo>
                  <a:lnTo>
                    <a:pt x="147" y="12"/>
                  </a:lnTo>
                  <a:lnTo>
                    <a:pt x="160" y="14"/>
                  </a:lnTo>
                  <a:lnTo>
                    <a:pt x="249" y="28"/>
                  </a:lnTo>
                  <a:lnTo>
                    <a:pt x="277" y="31"/>
                  </a:lnTo>
                  <a:lnTo>
                    <a:pt x="304" y="35"/>
                  </a:lnTo>
                  <a:lnTo>
                    <a:pt x="427" y="48"/>
                  </a:lnTo>
                  <a:lnTo>
                    <a:pt x="446" y="52"/>
                  </a:lnTo>
                  <a:lnTo>
                    <a:pt x="516" y="59"/>
                  </a:lnTo>
                  <a:lnTo>
                    <a:pt x="519" y="59"/>
                  </a:lnTo>
                  <a:lnTo>
                    <a:pt x="593" y="65"/>
                  </a:lnTo>
                  <a:lnTo>
                    <a:pt x="589" y="110"/>
                  </a:lnTo>
                  <a:lnTo>
                    <a:pt x="586" y="153"/>
                  </a:lnTo>
                  <a:lnTo>
                    <a:pt x="586" y="156"/>
                  </a:lnTo>
                  <a:lnTo>
                    <a:pt x="583" y="187"/>
                  </a:lnTo>
                  <a:lnTo>
                    <a:pt x="581" y="224"/>
                  </a:lnTo>
                  <a:lnTo>
                    <a:pt x="579" y="228"/>
                  </a:lnTo>
                  <a:lnTo>
                    <a:pt x="576" y="279"/>
                  </a:lnTo>
                  <a:lnTo>
                    <a:pt x="572" y="320"/>
                  </a:lnTo>
                  <a:lnTo>
                    <a:pt x="567" y="387"/>
                  </a:lnTo>
                  <a:lnTo>
                    <a:pt x="564" y="419"/>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 name="Freeform 12"/>
            <p:cNvSpPr>
              <a:spLocks noEditPoints="1"/>
            </p:cNvSpPr>
            <p:nvPr/>
          </p:nvSpPr>
          <p:spPr bwMode="gray">
            <a:xfrm>
              <a:off x="5641815" y="2366501"/>
              <a:ext cx="721397" cy="764875"/>
            </a:xfrm>
            <a:custGeom>
              <a:avLst/>
              <a:gdLst/>
              <a:ahLst/>
              <a:cxnLst>
                <a:cxn ang="0">
                  <a:pos x="378" y="228"/>
                </a:cxn>
                <a:cxn ang="0">
                  <a:pos x="379" y="243"/>
                </a:cxn>
                <a:cxn ang="0">
                  <a:pos x="403" y="209"/>
                </a:cxn>
                <a:cxn ang="0">
                  <a:pos x="427" y="210"/>
                </a:cxn>
                <a:cxn ang="0">
                  <a:pos x="408" y="287"/>
                </a:cxn>
                <a:cxn ang="0">
                  <a:pos x="396" y="368"/>
                </a:cxn>
                <a:cxn ang="0">
                  <a:pos x="407" y="422"/>
                </a:cxn>
                <a:cxn ang="0">
                  <a:pos x="372" y="463"/>
                </a:cxn>
                <a:cxn ang="0">
                  <a:pos x="285" y="470"/>
                </a:cxn>
                <a:cxn ang="0">
                  <a:pos x="190" y="472"/>
                </a:cxn>
                <a:cxn ang="0">
                  <a:pos x="167" y="458"/>
                </a:cxn>
                <a:cxn ang="0">
                  <a:pos x="150" y="438"/>
                </a:cxn>
                <a:cxn ang="0">
                  <a:pos x="143" y="409"/>
                </a:cxn>
                <a:cxn ang="0">
                  <a:pos x="140" y="385"/>
                </a:cxn>
                <a:cxn ang="0">
                  <a:pos x="135" y="359"/>
                </a:cxn>
                <a:cxn ang="0">
                  <a:pos x="123" y="323"/>
                </a:cxn>
                <a:cxn ang="0">
                  <a:pos x="101" y="311"/>
                </a:cxn>
                <a:cxn ang="0">
                  <a:pos x="78" y="286"/>
                </a:cxn>
                <a:cxn ang="0">
                  <a:pos x="53" y="272"/>
                </a:cxn>
                <a:cxn ang="0">
                  <a:pos x="25" y="257"/>
                </a:cxn>
                <a:cxn ang="0">
                  <a:pos x="12" y="229"/>
                </a:cxn>
                <a:cxn ang="0">
                  <a:pos x="12" y="212"/>
                </a:cxn>
                <a:cxn ang="0">
                  <a:pos x="12" y="192"/>
                </a:cxn>
                <a:cxn ang="0">
                  <a:pos x="19" y="168"/>
                </a:cxn>
                <a:cxn ang="0">
                  <a:pos x="5" y="154"/>
                </a:cxn>
                <a:cxn ang="0">
                  <a:pos x="8" y="134"/>
                </a:cxn>
                <a:cxn ang="0">
                  <a:pos x="24" y="111"/>
                </a:cxn>
                <a:cxn ang="0">
                  <a:pos x="39" y="104"/>
                </a:cxn>
                <a:cxn ang="0">
                  <a:pos x="41" y="36"/>
                </a:cxn>
                <a:cxn ang="0">
                  <a:pos x="94" y="22"/>
                </a:cxn>
                <a:cxn ang="0">
                  <a:pos x="155" y="31"/>
                </a:cxn>
                <a:cxn ang="0">
                  <a:pos x="188" y="41"/>
                </a:cxn>
                <a:cxn ang="0">
                  <a:pos x="200" y="52"/>
                </a:cxn>
                <a:cxn ang="0">
                  <a:pos x="280" y="77"/>
                </a:cxn>
                <a:cxn ang="0">
                  <a:pos x="306" y="87"/>
                </a:cxn>
                <a:cxn ang="0">
                  <a:pos x="316" y="91"/>
                </a:cxn>
                <a:cxn ang="0">
                  <a:pos x="325" y="87"/>
                </a:cxn>
                <a:cxn ang="0">
                  <a:pos x="337" y="89"/>
                </a:cxn>
                <a:cxn ang="0">
                  <a:pos x="350" y="93"/>
                </a:cxn>
                <a:cxn ang="0">
                  <a:pos x="360" y="99"/>
                </a:cxn>
                <a:cxn ang="0">
                  <a:pos x="366" y="108"/>
                </a:cxn>
                <a:cxn ang="0">
                  <a:pos x="381" y="116"/>
                </a:cxn>
                <a:cxn ang="0">
                  <a:pos x="384" y="127"/>
                </a:cxn>
                <a:cxn ang="0">
                  <a:pos x="384" y="139"/>
                </a:cxn>
                <a:cxn ang="0">
                  <a:pos x="379" y="154"/>
                </a:cxn>
                <a:cxn ang="0">
                  <a:pos x="388" y="154"/>
                </a:cxn>
                <a:cxn ang="0">
                  <a:pos x="393" y="164"/>
                </a:cxn>
                <a:cxn ang="0">
                  <a:pos x="396" y="176"/>
                </a:cxn>
                <a:cxn ang="0">
                  <a:pos x="391" y="195"/>
                </a:cxn>
                <a:cxn ang="0">
                  <a:pos x="442" y="159"/>
                </a:cxn>
                <a:cxn ang="0">
                  <a:pos x="441" y="181"/>
                </a:cxn>
                <a:cxn ang="0">
                  <a:pos x="427" y="210"/>
                </a:cxn>
                <a:cxn ang="0">
                  <a:pos x="429" y="169"/>
                </a:cxn>
              </a:cxnLst>
              <a:rect l="0" t="0" r="r" b="b"/>
              <a:pathLst>
                <a:path w="448" h="475">
                  <a:moveTo>
                    <a:pt x="391" y="195"/>
                  </a:moveTo>
                  <a:lnTo>
                    <a:pt x="386" y="200"/>
                  </a:lnTo>
                  <a:lnTo>
                    <a:pt x="386" y="205"/>
                  </a:lnTo>
                  <a:lnTo>
                    <a:pt x="376" y="222"/>
                  </a:lnTo>
                  <a:lnTo>
                    <a:pt x="378" y="228"/>
                  </a:lnTo>
                  <a:lnTo>
                    <a:pt x="374" y="231"/>
                  </a:lnTo>
                  <a:lnTo>
                    <a:pt x="378" y="236"/>
                  </a:lnTo>
                  <a:lnTo>
                    <a:pt x="376" y="234"/>
                  </a:lnTo>
                  <a:lnTo>
                    <a:pt x="374" y="239"/>
                  </a:lnTo>
                  <a:lnTo>
                    <a:pt x="379" y="243"/>
                  </a:lnTo>
                  <a:lnTo>
                    <a:pt x="383" y="241"/>
                  </a:lnTo>
                  <a:lnTo>
                    <a:pt x="386" y="233"/>
                  </a:lnTo>
                  <a:lnTo>
                    <a:pt x="393" y="229"/>
                  </a:lnTo>
                  <a:lnTo>
                    <a:pt x="396" y="224"/>
                  </a:lnTo>
                  <a:lnTo>
                    <a:pt x="403" y="209"/>
                  </a:lnTo>
                  <a:lnTo>
                    <a:pt x="408" y="205"/>
                  </a:lnTo>
                  <a:lnTo>
                    <a:pt x="408" y="209"/>
                  </a:lnTo>
                  <a:lnTo>
                    <a:pt x="417" y="200"/>
                  </a:lnTo>
                  <a:lnTo>
                    <a:pt x="422" y="209"/>
                  </a:lnTo>
                  <a:lnTo>
                    <a:pt x="427" y="210"/>
                  </a:lnTo>
                  <a:lnTo>
                    <a:pt x="424" y="224"/>
                  </a:lnTo>
                  <a:lnTo>
                    <a:pt x="417" y="239"/>
                  </a:lnTo>
                  <a:lnTo>
                    <a:pt x="413" y="262"/>
                  </a:lnTo>
                  <a:lnTo>
                    <a:pt x="417" y="279"/>
                  </a:lnTo>
                  <a:lnTo>
                    <a:pt x="408" y="287"/>
                  </a:lnTo>
                  <a:lnTo>
                    <a:pt x="403" y="310"/>
                  </a:lnTo>
                  <a:lnTo>
                    <a:pt x="408" y="333"/>
                  </a:lnTo>
                  <a:lnTo>
                    <a:pt x="401" y="347"/>
                  </a:lnTo>
                  <a:lnTo>
                    <a:pt x="401" y="357"/>
                  </a:lnTo>
                  <a:lnTo>
                    <a:pt x="396" y="368"/>
                  </a:lnTo>
                  <a:lnTo>
                    <a:pt x="398" y="385"/>
                  </a:lnTo>
                  <a:lnTo>
                    <a:pt x="401" y="398"/>
                  </a:lnTo>
                  <a:lnTo>
                    <a:pt x="398" y="404"/>
                  </a:lnTo>
                  <a:lnTo>
                    <a:pt x="403" y="410"/>
                  </a:lnTo>
                  <a:lnTo>
                    <a:pt x="407" y="422"/>
                  </a:lnTo>
                  <a:lnTo>
                    <a:pt x="412" y="429"/>
                  </a:lnTo>
                  <a:lnTo>
                    <a:pt x="410" y="441"/>
                  </a:lnTo>
                  <a:lnTo>
                    <a:pt x="412" y="462"/>
                  </a:lnTo>
                  <a:lnTo>
                    <a:pt x="379" y="463"/>
                  </a:lnTo>
                  <a:lnTo>
                    <a:pt x="372" y="463"/>
                  </a:lnTo>
                  <a:lnTo>
                    <a:pt x="340" y="467"/>
                  </a:lnTo>
                  <a:lnTo>
                    <a:pt x="335" y="467"/>
                  </a:lnTo>
                  <a:lnTo>
                    <a:pt x="321" y="468"/>
                  </a:lnTo>
                  <a:lnTo>
                    <a:pt x="289" y="470"/>
                  </a:lnTo>
                  <a:lnTo>
                    <a:pt x="285" y="470"/>
                  </a:lnTo>
                  <a:lnTo>
                    <a:pt x="251" y="472"/>
                  </a:lnTo>
                  <a:lnTo>
                    <a:pt x="244" y="472"/>
                  </a:lnTo>
                  <a:lnTo>
                    <a:pt x="205" y="474"/>
                  </a:lnTo>
                  <a:lnTo>
                    <a:pt x="188" y="475"/>
                  </a:lnTo>
                  <a:lnTo>
                    <a:pt x="190" y="472"/>
                  </a:lnTo>
                  <a:lnTo>
                    <a:pt x="188" y="470"/>
                  </a:lnTo>
                  <a:lnTo>
                    <a:pt x="186" y="468"/>
                  </a:lnTo>
                  <a:lnTo>
                    <a:pt x="183" y="462"/>
                  </a:lnTo>
                  <a:lnTo>
                    <a:pt x="179" y="460"/>
                  </a:lnTo>
                  <a:lnTo>
                    <a:pt x="167" y="458"/>
                  </a:lnTo>
                  <a:lnTo>
                    <a:pt x="166" y="457"/>
                  </a:lnTo>
                  <a:lnTo>
                    <a:pt x="159" y="455"/>
                  </a:lnTo>
                  <a:lnTo>
                    <a:pt x="154" y="451"/>
                  </a:lnTo>
                  <a:lnTo>
                    <a:pt x="152" y="446"/>
                  </a:lnTo>
                  <a:lnTo>
                    <a:pt x="150" y="438"/>
                  </a:lnTo>
                  <a:lnTo>
                    <a:pt x="147" y="433"/>
                  </a:lnTo>
                  <a:lnTo>
                    <a:pt x="145" y="424"/>
                  </a:lnTo>
                  <a:lnTo>
                    <a:pt x="143" y="416"/>
                  </a:lnTo>
                  <a:lnTo>
                    <a:pt x="143" y="416"/>
                  </a:lnTo>
                  <a:lnTo>
                    <a:pt x="143" y="409"/>
                  </a:lnTo>
                  <a:lnTo>
                    <a:pt x="150" y="397"/>
                  </a:lnTo>
                  <a:lnTo>
                    <a:pt x="150" y="393"/>
                  </a:lnTo>
                  <a:lnTo>
                    <a:pt x="149" y="390"/>
                  </a:lnTo>
                  <a:lnTo>
                    <a:pt x="142" y="386"/>
                  </a:lnTo>
                  <a:lnTo>
                    <a:pt x="140" y="385"/>
                  </a:lnTo>
                  <a:lnTo>
                    <a:pt x="138" y="378"/>
                  </a:lnTo>
                  <a:lnTo>
                    <a:pt x="137" y="374"/>
                  </a:lnTo>
                  <a:lnTo>
                    <a:pt x="137" y="371"/>
                  </a:lnTo>
                  <a:lnTo>
                    <a:pt x="135" y="366"/>
                  </a:lnTo>
                  <a:lnTo>
                    <a:pt x="135" y="359"/>
                  </a:lnTo>
                  <a:lnTo>
                    <a:pt x="133" y="352"/>
                  </a:lnTo>
                  <a:lnTo>
                    <a:pt x="133" y="347"/>
                  </a:lnTo>
                  <a:lnTo>
                    <a:pt x="133" y="340"/>
                  </a:lnTo>
                  <a:lnTo>
                    <a:pt x="130" y="333"/>
                  </a:lnTo>
                  <a:lnTo>
                    <a:pt x="123" y="323"/>
                  </a:lnTo>
                  <a:lnTo>
                    <a:pt x="118" y="320"/>
                  </a:lnTo>
                  <a:lnTo>
                    <a:pt x="111" y="315"/>
                  </a:lnTo>
                  <a:lnTo>
                    <a:pt x="107" y="315"/>
                  </a:lnTo>
                  <a:lnTo>
                    <a:pt x="104" y="313"/>
                  </a:lnTo>
                  <a:lnTo>
                    <a:pt x="101" y="311"/>
                  </a:lnTo>
                  <a:lnTo>
                    <a:pt x="92" y="304"/>
                  </a:lnTo>
                  <a:lnTo>
                    <a:pt x="85" y="299"/>
                  </a:lnTo>
                  <a:lnTo>
                    <a:pt x="82" y="291"/>
                  </a:lnTo>
                  <a:lnTo>
                    <a:pt x="78" y="289"/>
                  </a:lnTo>
                  <a:lnTo>
                    <a:pt x="78" y="286"/>
                  </a:lnTo>
                  <a:lnTo>
                    <a:pt x="77" y="282"/>
                  </a:lnTo>
                  <a:lnTo>
                    <a:pt x="75" y="281"/>
                  </a:lnTo>
                  <a:lnTo>
                    <a:pt x="65" y="275"/>
                  </a:lnTo>
                  <a:lnTo>
                    <a:pt x="56" y="274"/>
                  </a:lnTo>
                  <a:lnTo>
                    <a:pt x="53" y="272"/>
                  </a:lnTo>
                  <a:lnTo>
                    <a:pt x="49" y="267"/>
                  </a:lnTo>
                  <a:lnTo>
                    <a:pt x="48" y="262"/>
                  </a:lnTo>
                  <a:lnTo>
                    <a:pt x="46" y="262"/>
                  </a:lnTo>
                  <a:lnTo>
                    <a:pt x="32" y="260"/>
                  </a:lnTo>
                  <a:lnTo>
                    <a:pt x="25" y="257"/>
                  </a:lnTo>
                  <a:lnTo>
                    <a:pt x="24" y="253"/>
                  </a:lnTo>
                  <a:lnTo>
                    <a:pt x="15" y="245"/>
                  </a:lnTo>
                  <a:lnTo>
                    <a:pt x="10" y="241"/>
                  </a:lnTo>
                  <a:lnTo>
                    <a:pt x="12" y="233"/>
                  </a:lnTo>
                  <a:lnTo>
                    <a:pt x="12" y="229"/>
                  </a:lnTo>
                  <a:lnTo>
                    <a:pt x="12" y="226"/>
                  </a:lnTo>
                  <a:lnTo>
                    <a:pt x="12" y="224"/>
                  </a:lnTo>
                  <a:lnTo>
                    <a:pt x="13" y="221"/>
                  </a:lnTo>
                  <a:lnTo>
                    <a:pt x="12" y="214"/>
                  </a:lnTo>
                  <a:lnTo>
                    <a:pt x="12" y="212"/>
                  </a:lnTo>
                  <a:lnTo>
                    <a:pt x="8" y="207"/>
                  </a:lnTo>
                  <a:lnTo>
                    <a:pt x="12" y="202"/>
                  </a:lnTo>
                  <a:lnTo>
                    <a:pt x="12" y="197"/>
                  </a:lnTo>
                  <a:lnTo>
                    <a:pt x="12" y="195"/>
                  </a:lnTo>
                  <a:lnTo>
                    <a:pt x="12" y="192"/>
                  </a:lnTo>
                  <a:lnTo>
                    <a:pt x="12" y="183"/>
                  </a:lnTo>
                  <a:lnTo>
                    <a:pt x="15" y="180"/>
                  </a:lnTo>
                  <a:lnTo>
                    <a:pt x="17" y="175"/>
                  </a:lnTo>
                  <a:lnTo>
                    <a:pt x="19" y="171"/>
                  </a:lnTo>
                  <a:lnTo>
                    <a:pt x="19" y="168"/>
                  </a:lnTo>
                  <a:lnTo>
                    <a:pt x="19" y="166"/>
                  </a:lnTo>
                  <a:lnTo>
                    <a:pt x="15" y="164"/>
                  </a:lnTo>
                  <a:lnTo>
                    <a:pt x="12" y="156"/>
                  </a:lnTo>
                  <a:lnTo>
                    <a:pt x="10" y="154"/>
                  </a:lnTo>
                  <a:lnTo>
                    <a:pt x="5" y="154"/>
                  </a:lnTo>
                  <a:lnTo>
                    <a:pt x="2" y="152"/>
                  </a:lnTo>
                  <a:lnTo>
                    <a:pt x="0" y="146"/>
                  </a:lnTo>
                  <a:lnTo>
                    <a:pt x="2" y="139"/>
                  </a:lnTo>
                  <a:lnTo>
                    <a:pt x="3" y="137"/>
                  </a:lnTo>
                  <a:lnTo>
                    <a:pt x="8" y="134"/>
                  </a:lnTo>
                  <a:lnTo>
                    <a:pt x="10" y="125"/>
                  </a:lnTo>
                  <a:lnTo>
                    <a:pt x="10" y="123"/>
                  </a:lnTo>
                  <a:lnTo>
                    <a:pt x="12" y="118"/>
                  </a:lnTo>
                  <a:lnTo>
                    <a:pt x="15" y="116"/>
                  </a:lnTo>
                  <a:lnTo>
                    <a:pt x="24" y="111"/>
                  </a:lnTo>
                  <a:lnTo>
                    <a:pt x="25" y="108"/>
                  </a:lnTo>
                  <a:lnTo>
                    <a:pt x="31" y="108"/>
                  </a:lnTo>
                  <a:lnTo>
                    <a:pt x="34" y="104"/>
                  </a:lnTo>
                  <a:lnTo>
                    <a:pt x="37" y="104"/>
                  </a:lnTo>
                  <a:lnTo>
                    <a:pt x="39" y="104"/>
                  </a:lnTo>
                  <a:lnTo>
                    <a:pt x="41" y="99"/>
                  </a:lnTo>
                  <a:lnTo>
                    <a:pt x="43" y="98"/>
                  </a:lnTo>
                  <a:lnTo>
                    <a:pt x="43" y="89"/>
                  </a:lnTo>
                  <a:lnTo>
                    <a:pt x="43" y="62"/>
                  </a:lnTo>
                  <a:lnTo>
                    <a:pt x="41" y="36"/>
                  </a:lnTo>
                  <a:lnTo>
                    <a:pt x="46" y="36"/>
                  </a:lnTo>
                  <a:lnTo>
                    <a:pt x="55" y="26"/>
                  </a:lnTo>
                  <a:lnTo>
                    <a:pt x="61" y="33"/>
                  </a:lnTo>
                  <a:lnTo>
                    <a:pt x="68" y="33"/>
                  </a:lnTo>
                  <a:lnTo>
                    <a:pt x="94" y="22"/>
                  </a:lnTo>
                  <a:lnTo>
                    <a:pt x="145" y="0"/>
                  </a:lnTo>
                  <a:lnTo>
                    <a:pt x="152" y="2"/>
                  </a:lnTo>
                  <a:lnTo>
                    <a:pt x="152" y="7"/>
                  </a:lnTo>
                  <a:lnTo>
                    <a:pt x="142" y="40"/>
                  </a:lnTo>
                  <a:lnTo>
                    <a:pt x="155" y="31"/>
                  </a:lnTo>
                  <a:lnTo>
                    <a:pt x="171" y="38"/>
                  </a:lnTo>
                  <a:lnTo>
                    <a:pt x="181" y="38"/>
                  </a:lnTo>
                  <a:lnTo>
                    <a:pt x="183" y="41"/>
                  </a:lnTo>
                  <a:lnTo>
                    <a:pt x="188" y="40"/>
                  </a:lnTo>
                  <a:lnTo>
                    <a:pt x="188" y="41"/>
                  </a:lnTo>
                  <a:lnTo>
                    <a:pt x="188" y="43"/>
                  </a:lnTo>
                  <a:lnTo>
                    <a:pt x="191" y="43"/>
                  </a:lnTo>
                  <a:lnTo>
                    <a:pt x="191" y="45"/>
                  </a:lnTo>
                  <a:lnTo>
                    <a:pt x="195" y="45"/>
                  </a:lnTo>
                  <a:lnTo>
                    <a:pt x="200" y="52"/>
                  </a:lnTo>
                  <a:lnTo>
                    <a:pt x="201" y="57"/>
                  </a:lnTo>
                  <a:lnTo>
                    <a:pt x="203" y="58"/>
                  </a:lnTo>
                  <a:lnTo>
                    <a:pt x="203" y="62"/>
                  </a:lnTo>
                  <a:lnTo>
                    <a:pt x="219" y="65"/>
                  </a:lnTo>
                  <a:lnTo>
                    <a:pt x="280" y="77"/>
                  </a:lnTo>
                  <a:lnTo>
                    <a:pt x="289" y="81"/>
                  </a:lnTo>
                  <a:lnTo>
                    <a:pt x="294" y="84"/>
                  </a:lnTo>
                  <a:lnTo>
                    <a:pt x="304" y="87"/>
                  </a:lnTo>
                  <a:lnTo>
                    <a:pt x="304" y="87"/>
                  </a:lnTo>
                  <a:lnTo>
                    <a:pt x="306" y="87"/>
                  </a:lnTo>
                  <a:lnTo>
                    <a:pt x="306" y="89"/>
                  </a:lnTo>
                  <a:lnTo>
                    <a:pt x="309" y="87"/>
                  </a:lnTo>
                  <a:lnTo>
                    <a:pt x="311" y="89"/>
                  </a:lnTo>
                  <a:lnTo>
                    <a:pt x="313" y="87"/>
                  </a:lnTo>
                  <a:lnTo>
                    <a:pt x="316" y="91"/>
                  </a:lnTo>
                  <a:lnTo>
                    <a:pt x="318" y="91"/>
                  </a:lnTo>
                  <a:lnTo>
                    <a:pt x="319" y="87"/>
                  </a:lnTo>
                  <a:lnTo>
                    <a:pt x="321" y="89"/>
                  </a:lnTo>
                  <a:lnTo>
                    <a:pt x="323" y="87"/>
                  </a:lnTo>
                  <a:lnTo>
                    <a:pt x="325" y="87"/>
                  </a:lnTo>
                  <a:lnTo>
                    <a:pt x="326" y="87"/>
                  </a:lnTo>
                  <a:lnTo>
                    <a:pt x="328" y="89"/>
                  </a:lnTo>
                  <a:lnTo>
                    <a:pt x="330" y="89"/>
                  </a:lnTo>
                  <a:lnTo>
                    <a:pt x="333" y="91"/>
                  </a:lnTo>
                  <a:lnTo>
                    <a:pt x="337" y="89"/>
                  </a:lnTo>
                  <a:lnTo>
                    <a:pt x="340" y="93"/>
                  </a:lnTo>
                  <a:lnTo>
                    <a:pt x="342" y="93"/>
                  </a:lnTo>
                  <a:lnTo>
                    <a:pt x="345" y="91"/>
                  </a:lnTo>
                  <a:lnTo>
                    <a:pt x="348" y="93"/>
                  </a:lnTo>
                  <a:lnTo>
                    <a:pt x="350" y="93"/>
                  </a:lnTo>
                  <a:lnTo>
                    <a:pt x="354" y="94"/>
                  </a:lnTo>
                  <a:lnTo>
                    <a:pt x="355" y="94"/>
                  </a:lnTo>
                  <a:lnTo>
                    <a:pt x="357" y="96"/>
                  </a:lnTo>
                  <a:lnTo>
                    <a:pt x="357" y="98"/>
                  </a:lnTo>
                  <a:lnTo>
                    <a:pt x="360" y="99"/>
                  </a:lnTo>
                  <a:lnTo>
                    <a:pt x="355" y="104"/>
                  </a:lnTo>
                  <a:lnTo>
                    <a:pt x="355" y="106"/>
                  </a:lnTo>
                  <a:lnTo>
                    <a:pt x="359" y="110"/>
                  </a:lnTo>
                  <a:lnTo>
                    <a:pt x="362" y="110"/>
                  </a:lnTo>
                  <a:lnTo>
                    <a:pt x="366" y="108"/>
                  </a:lnTo>
                  <a:lnTo>
                    <a:pt x="367" y="111"/>
                  </a:lnTo>
                  <a:lnTo>
                    <a:pt x="376" y="111"/>
                  </a:lnTo>
                  <a:lnTo>
                    <a:pt x="378" y="115"/>
                  </a:lnTo>
                  <a:lnTo>
                    <a:pt x="381" y="116"/>
                  </a:lnTo>
                  <a:lnTo>
                    <a:pt x="381" y="116"/>
                  </a:lnTo>
                  <a:lnTo>
                    <a:pt x="383" y="118"/>
                  </a:lnTo>
                  <a:lnTo>
                    <a:pt x="383" y="120"/>
                  </a:lnTo>
                  <a:lnTo>
                    <a:pt x="381" y="122"/>
                  </a:lnTo>
                  <a:lnTo>
                    <a:pt x="381" y="122"/>
                  </a:lnTo>
                  <a:lnTo>
                    <a:pt x="384" y="127"/>
                  </a:lnTo>
                  <a:lnTo>
                    <a:pt x="384" y="127"/>
                  </a:lnTo>
                  <a:lnTo>
                    <a:pt x="383" y="130"/>
                  </a:lnTo>
                  <a:lnTo>
                    <a:pt x="381" y="132"/>
                  </a:lnTo>
                  <a:lnTo>
                    <a:pt x="383" y="134"/>
                  </a:lnTo>
                  <a:lnTo>
                    <a:pt x="384" y="139"/>
                  </a:lnTo>
                  <a:lnTo>
                    <a:pt x="383" y="142"/>
                  </a:lnTo>
                  <a:lnTo>
                    <a:pt x="379" y="144"/>
                  </a:lnTo>
                  <a:lnTo>
                    <a:pt x="381" y="149"/>
                  </a:lnTo>
                  <a:lnTo>
                    <a:pt x="378" y="154"/>
                  </a:lnTo>
                  <a:lnTo>
                    <a:pt x="379" y="154"/>
                  </a:lnTo>
                  <a:lnTo>
                    <a:pt x="379" y="152"/>
                  </a:lnTo>
                  <a:lnTo>
                    <a:pt x="379" y="152"/>
                  </a:lnTo>
                  <a:lnTo>
                    <a:pt x="381" y="156"/>
                  </a:lnTo>
                  <a:lnTo>
                    <a:pt x="383" y="154"/>
                  </a:lnTo>
                  <a:lnTo>
                    <a:pt x="388" y="154"/>
                  </a:lnTo>
                  <a:lnTo>
                    <a:pt x="393" y="149"/>
                  </a:lnTo>
                  <a:lnTo>
                    <a:pt x="396" y="152"/>
                  </a:lnTo>
                  <a:lnTo>
                    <a:pt x="396" y="154"/>
                  </a:lnTo>
                  <a:lnTo>
                    <a:pt x="393" y="163"/>
                  </a:lnTo>
                  <a:lnTo>
                    <a:pt x="393" y="164"/>
                  </a:lnTo>
                  <a:lnTo>
                    <a:pt x="391" y="166"/>
                  </a:lnTo>
                  <a:lnTo>
                    <a:pt x="391" y="169"/>
                  </a:lnTo>
                  <a:lnTo>
                    <a:pt x="391" y="169"/>
                  </a:lnTo>
                  <a:lnTo>
                    <a:pt x="391" y="173"/>
                  </a:lnTo>
                  <a:lnTo>
                    <a:pt x="396" y="176"/>
                  </a:lnTo>
                  <a:lnTo>
                    <a:pt x="396" y="180"/>
                  </a:lnTo>
                  <a:lnTo>
                    <a:pt x="403" y="180"/>
                  </a:lnTo>
                  <a:lnTo>
                    <a:pt x="401" y="185"/>
                  </a:lnTo>
                  <a:lnTo>
                    <a:pt x="401" y="192"/>
                  </a:lnTo>
                  <a:lnTo>
                    <a:pt x="391" y="195"/>
                  </a:lnTo>
                  <a:close/>
                  <a:moveTo>
                    <a:pt x="442" y="156"/>
                  </a:moveTo>
                  <a:lnTo>
                    <a:pt x="446" y="154"/>
                  </a:lnTo>
                  <a:lnTo>
                    <a:pt x="448" y="161"/>
                  </a:lnTo>
                  <a:lnTo>
                    <a:pt x="446" y="163"/>
                  </a:lnTo>
                  <a:lnTo>
                    <a:pt x="442" y="159"/>
                  </a:lnTo>
                  <a:lnTo>
                    <a:pt x="444" y="171"/>
                  </a:lnTo>
                  <a:lnTo>
                    <a:pt x="441" y="171"/>
                  </a:lnTo>
                  <a:lnTo>
                    <a:pt x="444" y="176"/>
                  </a:lnTo>
                  <a:lnTo>
                    <a:pt x="441" y="176"/>
                  </a:lnTo>
                  <a:lnTo>
                    <a:pt x="441" y="181"/>
                  </a:lnTo>
                  <a:lnTo>
                    <a:pt x="439" y="180"/>
                  </a:lnTo>
                  <a:lnTo>
                    <a:pt x="436" y="190"/>
                  </a:lnTo>
                  <a:lnTo>
                    <a:pt x="436" y="195"/>
                  </a:lnTo>
                  <a:lnTo>
                    <a:pt x="434" y="202"/>
                  </a:lnTo>
                  <a:lnTo>
                    <a:pt x="427" y="210"/>
                  </a:lnTo>
                  <a:lnTo>
                    <a:pt x="422" y="207"/>
                  </a:lnTo>
                  <a:lnTo>
                    <a:pt x="419" y="198"/>
                  </a:lnTo>
                  <a:lnTo>
                    <a:pt x="422" y="187"/>
                  </a:lnTo>
                  <a:lnTo>
                    <a:pt x="427" y="183"/>
                  </a:lnTo>
                  <a:lnTo>
                    <a:pt x="429" y="169"/>
                  </a:lnTo>
                  <a:lnTo>
                    <a:pt x="434" y="171"/>
                  </a:lnTo>
                  <a:lnTo>
                    <a:pt x="441" y="156"/>
                  </a:lnTo>
                  <a:lnTo>
                    <a:pt x="442" y="15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 name="Freeform 13"/>
            <p:cNvSpPr>
              <a:spLocks/>
            </p:cNvSpPr>
            <p:nvPr/>
          </p:nvSpPr>
          <p:spPr bwMode="gray">
            <a:xfrm>
              <a:off x="2600031" y="1764263"/>
              <a:ext cx="818013" cy="1323635"/>
            </a:xfrm>
            <a:custGeom>
              <a:avLst/>
              <a:gdLst/>
              <a:ahLst/>
              <a:cxnLst>
                <a:cxn ang="0">
                  <a:pos x="45" y="537"/>
                </a:cxn>
                <a:cxn ang="0">
                  <a:pos x="55" y="521"/>
                </a:cxn>
                <a:cxn ang="0">
                  <a:pos x="57" y="501"/>
                </a:cxn>
                <a:cxn ang="0">
                  <a:pos x="48" y="492"/>
                </a:cxn>
                <a:cxn ang="0">
                  <a:pos x="43" y="484"/>
                </a:cxn>
                <a:cxn ang="0">
                  <a:pos x="52" y="463"/>
                </a:cxn>
                <a:cxn ang="0">
                  <a:pos x="72" y="441"/>
                </a:cxn>
                <a:cxn ang="0">
                  <a:pos x="86" y="422"/>
                </a:cxn>
                <a:cxn ang="0">
                  <a:pos x="91" y="414"/>
                </a:cxn>
                <a:cxn ang="0">
                  <a:pos x="116" y="376"/>
                </a:cxn>
                <a:cxn ang="0">
                  <a:pos x="123" y="347"/>
                </a:cxn>
                <a:cxn ang="0">
                  <a:pos x="105" y="316"/>
                </a:cxn>
                <a:cxn ang="0">
                  <a:pos x="105" y="292"/>
                </a:cxn>
                <a:cxn ang="0">
                  <a:pos x="105" y="267"/>
                </a:cxn>
                <a:cxn ang="0">
                  <a:pos x="142" y="99"/>
                </a:cxn>
                <a:cxn ang="0">
                  <a:pos x="210" y="121"/>
                </a:cxn>
                <a:cxn ang="0">
                  <a:pos x="221" y="142"/>
                </a:cxn>
                <a:cxn ang="0">
                  <a:pos x="228" y="164"/>
                </a:cxn>
                <a:cxn ang="0">
                  <a:pos x="228" y="181"/>
                </a:cxn>
                <a:cxn ang="0">
                  <a:pos x="226" y="190"/>
                </a:cxn>
                <a:cxn ang="0">
                  <a:pos x="241" y="205"/>
                </a:cxn>
                <a:cxn ang="0">
                  <a:pos x="255" y="227"/>
                </a:cxn>
                <a:cxn ang="0">
                  <a:pos x="265" y="248"/>
                </a:cxn>
                <a:cxn ang="0">
                  <a:pos x="272" y="265"/>
                </a:cxn>
                <a:cxn ang="0">
                  <a:pos x="282" y="272"/>
                </a:cxn>
                <a:cxn ang="0">
                  <a:pos x="294" y="285"/>
                </a:cxn>
                <a:cxn ang="0">
                  <a:pos x="301" y="299"/>
                </a:cxn>
                <a:cxn ang="0">
                  <a:pos x="291" y="323"/>
                </a:cxn>
                <a:cxn ang="0">
                  <a:pos x="282" y="335"/>
                </a:cxn>
                <a:cxn ang="0">
                  <a:pos x="281" y="349"/>
                </a:cxn>
                <a:cxn ang="0">
                  <a:pos x="284" y="362"/>
                </a:cxn>
                <a:cxn ang="0">
                  <a:pos x="275" y="371"/>
                </a:cxn>
                <a:cxn ang="0">
                  <a:pos x="272" y="388"/>
                </a:cxn>
                <a:cxn ang="0">
                  <a:pos x="274" y="400"/>
                </a:cxn>
                <a:cxn ang="0">
                  <a:pos x="287" y="408"/>
                </a:cxn>
                <a:cxn ang="0">
                  <a:pos x="299" y="402"/>
                </a:cxn>
                <a:cxn ang="0">
                  <a:pos x="310" y="391"/>
                </a:cxn>
                <a:cxn ang="0">
                  <a:pos x="316" y="400"/>
                </a:cxn>
                <a:cxn ang="0">
                  <a:pos x="323" y="414"/>
                </a:cxn>
                <a:cxn ang="0">
                  <a:pos x="325" y="439"/>
                </a:cxn>
                <a:cxn ang="0">
                  <a:pos x="330" y="458"/>
                </a:cxn>
                <a:cxn ang="0">
                  <a:pos x="339" y="467"/>
                </a:cxn>
                <a:cxn ang="0">
                  <a:pos x="332" y="478"/>
                </a:cxn>
                <a:cxn ang="0">
                  <a:pos x="349" y="494"/>
                </a:cxn>
                <a:cxn ang="0">
                  <a:pos x="359" y="511"/>
                </a:cxn>
                <a:cxn ang="0">
                  <a:pos x="359" y="531"/>
                </a:cxn>
                <a:cxn ang="0">
                  <a:pos x="369" y="545"/>
                </a:cxn>
                <a:cxn ang="0">
                  <a:pos x="378" y="537"/>
                </a:cxn>
                <a:cxn ang="0">
                  <a:pos x="402" y="540"/>
                </a:cxn>
                <a:cxn ang="0">
                  <a:pos x="419" y="533"/>
                </a:cxn>
                <a:cxn ang="0">
                  <a:pos x="433" y="540"/>
                </a:cxn>
                <a:cxn ang="0">
                  <a:pos x="451" y="545"/>
                </a:cxn>
                <a:cxn ang="0">
                  <a:pos x="470" y="543"/>
                </a:cxn>
                <a:cxn ang="0">
                  <a:pos x="475" y="540"/>
                </a:cxn>
                <a:cxn ang="0">
                  <a:pos x="479" y="530"/>
                </a:cxn>
                <a:cxn ang="0">
                  <a:pos x="489" y="528"/>
                </a:cxn>
                <a:cxn ang="0">
                  <a:pos x="498" y="540"/>
                </a:cxn>
                <a:cxn ang="0">
                  <a:pos x="503" y="552"/>
                </a:cxn>
                <a:cxn ang="0">
                  <a:pos x="487" y="684"/>
                </a:cxn>
                <a:cxn ang="0">
                  <a:pos x="380" y="807"/>
                </a:cxn>
                <a:cxn ang="0">
                  <a:pos x="4" y="733"/>
                </a:cxn>
              </a:cxnLst>
              <a:rect l="0" t="0" r="r" b="b"/>
              <a:pathLst>
                <a:path w="508" h="822">
                  <a:moveTo>
                    <a:pt x="40" y="555"/>
                  </a:moveTo>
                  <a:lnTo>
                    <a:pt x="43" y="547"/>
                  </a:lnTo>
                  <a:lnTo>
                    <a:pt x="43" y="542"/>
                  </a:lnTo>
                  <a:lnTo>
                    <a:pt x="43" y="540"/>
                  </a:lnTo>
                  <a:lnTo>
                    <a:pt x="45" y="538"/>
                  </a:lnTo>
                  <a:lnTo>
                    <a:pt x="45" y="537"/>
                  </a:lnTo>
                  <a:lnTo>
                    <a:pt x="48" y="537"/>
                  </a:lnTo>
                  <a:lnTo>
                    <a:pt x="48" y="535"/>
                  </a:lnTo>
                  <a:lnTo>
                    <a:pt x="50" y="533"/>
                  </a:lnTo>
                  <a:lnTo>
                    <a:pt x="52" y="530"/>
                  </a:lnTo>
                  <a:lnTo>
                    <a:pt x="52" y="526"/>
                  </a:lnTo>
                  <a:lnTo>
                    <a:pt x="55" y="521"/>
                  </a:lnTo>
                  <a:lnTo>
                    <a:pt x="53" y="514"/>
                  </a:lnTo>
                  <a:lnTo>
                    <a:pt x="55" y="513"/>
                  </a:lnTo>
                  <a:lnTo>
                    <a:pt x="57" y="513"/>
                  </a:lnTo>
                  <a:lnTo>
                    <a:pt x="60" y="508"/>
                  </a:lnTo>
                  <a:lnTo>
                    <a:pt x="60" y="504"/>
                  </a:lnTo>
                  <a:lnTo>
                    <a:pt x="57" y="501"/>
                  </a:lnTo>
                  <a:lnTo>
                    <a:pt x="57" y="499"/>
                  </a:lnTo>
                  <a:lnTo>
                    <a:pt x="57" y="496"/>
                  </a:lnTo>
                  <a:lnTo>
                    <a:pt x="53" y="496"/>
                  </a:lnTo>
                  <a:lnTo>
                    <a:pt x="52" y="497"/>
                  </a:lnTo>
                  <a:lnTo>
                    <a:pt x="50" y="496"/>
                  </a:lnTo>
                  <a:lnTo>
                    <a:pt x="48" y="492"/>
                  </a:lnTo>
                  <a:lnTo>
                    <a:pt x="48" y="492"/>
                  </a:lnTo>
                  <a:lnTo>
                    <a:pt x="45" y="494"/>
                  </a:lnTo>
                  <a:lnTo>
                    <a:pt x="43" y="492"/>
                  </a:lnTo>
                  <a:lnTo>
                    <a:pt x="41" y="489"/>
                  </a:lnTo>
                  <a:lnTo>
                    <a:pt x="41" y="487"/>
                  </a:lnTo>
                  <a:lnTo>
                    <a:pt x="43" y="484"/>
                  </a:lnTo>
                  <a:lnTo>
                    <a:pt x="41" y="477"/>
                  </a:lnTo>
                  <a:lnTo>
                    <a:pt x="43" y="473"/>
                  </a:lnTo>
                  <a:lnTo>
                    <a:pt x="45" y="468"/>
                  </a:lnTo>
                  <a:lnTo>
                    <a:pt x="46" y="468"/>
                  </a:lnTo>
                  <a:lnTo>
                    <a:pt x="48" y="465"/>
                  </a:lnTo>
                  <a:lnTo>
                    <a:pt x="52" y="463"/>
                  </a:lnTo>
                  <a:lnTo>
                    <a:pt x="52" y="461"/>
                  </a:lnTo>
                  <a:lnTo>
                    <a:pt x="53" y="460"/>
                  </a:lnTo>
                  <a:lnTo>
                    <a:pt x="60" y="448"/>
                  </a:lnTo>
                  <a:lnTo>
                    <a:pt x="62" y="448"/>
                  </a:lnTo>
                  <a:lnTo>
                    <a:pt x="65" y="443"/>
                  </a:lnTo>
                  <a:lnTo>
                    <a:pt x="72" y="441"/>
                  </a:lnTo>
                  <a:lnTo>
                    <a:pt x="75" y="436"/>
                  </a:lnTo>
                  <a:lnTo>
                    <a:pt x="77" y="434"/>
                  </a:lnTo>
                  <a:lnTo>
                    <a:pt x="81" y="432"/>
                  </a:lnTo>
                  <a:lnTo>
                    <a:pt x="84" y="429"/>
                  </a:lnTo>
                  <a:lnTo>
                    <a:pt x="84" y="424"/>
                  </a:lnTo>
                  <a:lnTo>
                    <a:pt x="86" y="422"/>
                  </a:lnTo>
                  <a:lnTo>
                    <a:pt x="84" y="422"/>
                  </a:lnTo>
                  <a:lnTo>
                    <a:pt x="84" y="422"/>
                  </a:lnTo>
                  <a:lnTo>
                    <a:pt x="84" y="420"/>
                  </a:lnTo>
                  <a:lnTo>
                    <a:pt x="84" y="417"/>
                  </a:lnTo>
                  <a:lnTo>
                    <a:pt x="89" y="415"/>
                  </a:lnTo>
                  <a:lnTo>
                    <a:pt x="91" y="414"/>
                  </a:lnTo>
                  <a:lnTo>
                    <a:pt x="93" y="410"/>
                  </a:lnTo>
                  <a:lnTo>
                    <a:pt x="94" y="410"/>
                  </a:lnTo>
                  <a:lnTo>
                    <a:pt x="96" y="407"/>
                  </a:lnTo>
                  <a:lnTo>
                    <a:pt x="103" y="395"/>
                  </a:lnTo>
                  <a:lnTo>
                    <a:pt x="106" y="388"/>
                  </a:lnTo>
                  <a:lnTo>
                    <a:pt x="116" y="376"/>
                  </a:lnTo>
                  <a:lnTo>
                    <a:pt x="118" y="373"/>
                  </a:lnTo>
                  <a:lnTo>
                    <a:pt x="125" y="366"/>
                  </a:lnTo>
                  <a:lnTo>
                    <a:pt x="127" y="362"/>
                  </a:lnTo>
                  <a:lnTo>
                    <a:pt x="125" y="355"/>
                  </a:lnTo>
                  <a:lnTo>
                    <a:pt x="125" y="350"/>
                  </a:lnTo>
                  <a:lnTo>
                    <a:pt x="123" y="347"/>
                  </a:lnTo>
                  <a:lnTo>
                    <a:pt x="116" y="342"/>
                  </a:lnTo>
                  <a:lnTo>
                    <a:pt x="115" y="337"/>
                  </a:lnTo>
                  <a:lnTo>
                    <a:pt x="110" y="335"/>
                  </a:lnTo>
                  <a:lnTo>
                    <a:pt x="108" y="332"/>
                  </a:lnTo>
                  <a:lnTo>
                    <a:pt x="105" y="325"/>
                  </a:lnTo>
                  <a:lnTo>
                    <a:pt x="105" y="316"/>
                  </a:lnTo>
                  <a:lnTo>
                    <a:pt x="103" y="314"/>
                  </a:lnTo>
                  <a:lnTo>
                    <a:pt x="101" y="306"/>
                  </a:lnTo>
                  <a:lnTo>
                    <a:pt x="99" y="304"/>
                  </a:lnTo>
                  <a:lnTo>
                    <a:pt x="101" y="302"/>
                  </a:lnTo>
                  <a:lnTo>
                    <a:pt x="106" y="297"/>
                  </a:lnTo>
                  <a:lnTo>
                    <a:pt x="105" y="292"/>
                  </a:lnTo>
                  <a:lnTo>
                    <a:pt x="105" y="287"/>
                  </a:lnTo>
                  <a:lnTo>
                    <a:pt x="105" y="280"/>
                  </a:lnTo>
                  <a:lnTo>
                    <a:pt x="103" y="277"/>
                  </a:lnTo>
                  <a:lnTo>
                    <a:pt x="101" y="275"/>
                  </a:lnTo>
                  <a:lnTo>
                    <a:pt x="103" y="272"/>
                  </a:lnTo>
                  <a:lnTo>
                    <a:pt x="105" y="267"/>
                  </a:lnTo>
                  <a:lnTo>
                    <a:pt x="106" y="256"/>
                  </a:lnTo>
                  <a:lnTo>
                    <a:pt x="120" y="195"/>
                  </a:lnTo>
                  <a:lnTo>
                    <a:pt x="123" y="181"/>
                  </a:lnTo>
                  <a:lnTo>
                    <a:pt x="125" y="171"/>
                  </a:lnTo>
                  <a:lnTo>
                    <a:pt x="140" y="108"/>
                  </a:lnTo>
                  <a:lnTo>
                    <a:pt x="142" y="99"/>
                  </a:lnTo>
                  <a:lnTo>
                    <a:pt x="161" y="17"/>
                  </a:lnTo>
                  <a:lnTo>
                    <a:pt x="164" y="0"/>
                  </a:lnTo>
                  <a:lnTo>
                    <a:pt x="233" y="15"/>
                  </a:lnTo>
                  <a:lnTo>
                    <a:pt x="222" y="67"/>
                  </a:lnTo>
                  <a:lnTo>
                    <a:pt x="216" y="97"/>
                  </a:lnTo>
                  <a:lnTo>
                    <a:pt x="210" y="121"/>
                  </a:lnTo>
                  <a:lnTo>
                    <a:pt x="212" y="123"/>
                  </a:lnTo>
                  <a:lnTo>
                    <a:pt x="212" y="128"/>
                  </a:lnTo>
                  <a:lnTo>
                    <a:pt x="216" y="135"/>
                  </a:lnTo>
                  <a:lnTo>
                    <a:pt x="217" y="138"/>
                  </a:lnTo>
                  <a:lnTo>
                    <a:pt x="221" y="140"/>
                  </a:lnTo>
                  <a:lnTo>
                    <a:pt x="221" y="142"/>
                  </a:lnTo>
                  <a:lnTo>
                    <a:pt x="221" y="147"/>
                  </a:lnTo>
                  <a:lnTo>
                    <a:pt x="224" y="150"/>
                  </a:lnTo>
                  <a:lnTo>
                    <a:pt x="224" y="154"/>
                  </a:lnTo>
                  <a:lnTo>
                    <a:pt x="228" y="156"/>
                  </a:lnTo>
                  <a:lnTo>
                    <a:pt x="226" y="161"/>
                  </a:lnTo>
                  <a:lnTo>
                    <a:pt x="228" y="164"/>
                  </a:lnTo>
                  <a:lnTo>
                    <a:pt x="228" y="167"/>
                  </a:lnTo>
                  <a:lnTo>
                    <a:pt x="222" y="173"/>
                  </a:lnTo>
                  <a:lnTo>
                    <a:pt x="226" y="174"/>
                  </a:lnTo>
                  <a:lnTo>
                    <a:pt x="226" y="178"/>
                  </a:lnTo>
                  <a:lnTo>
                    <a:pt x="229" y="179"/>
                  </a:lnTo>
                  <a:lnTo>
                    <a:pt x="228" y="181"/>
                  </a:lnTo>
                  <a:lnTo>
                    <a:pt x="228" y="183"/>
                  </a:lnTo>
                  <a:lnTo>
                    <a:pt x="221" y="181"/>
                  </a:lnTo>
                  <a:lnTo>
                    <a:pt x="219" y="183"/>
                  </a:lnTo>
                  <a:lnTo>
                    <a:pt x="219" y="185"/>
                  </a:lnTo>
                  <a:lnTo>
                    <a:pt x="226" y="188"/>
                  </a:lnTo>
                  <a:lnTo>
                    <a:pt x="226" y="190"/>
                  </a:lnTo>
                  <a:lnTo>
                    <a:pt x="229" y="191"/>
                  </a:lnTo>
                  <a:lnTo>
                    <a:pt x="231" y="197"/>
                  </a:lnTo>
                  <a:lnTo>
                    <a:pt x="233" y="202"/>
                  </a:lnTo>
                  <a:lnTo>
                    <a:pt x="234" y="202"/>
                  </a:lnTo>
                  <a:lnTo>
                    <a:pt x="240" y="203"/>
                  </a:lnTo>
                  <a:lnTo>
                    <a:pt x="241" y="205"/>
                  </a:lnTo>
                  <a:lnTo>
                    <a:pt x="245" y="207"/>
                  </a:lnTo>
                  <a:lnTo>
                    <a:pt x="246" y="208"/>
                  </a:lnTo>
                  <a:lnTo>
                    <a:pt x="246" y="215"/>
                  </a:lnTo>
                  <a:lnTo>
                    <a:pt x="253" y="224"/>
                  </a:lnTo>
                  <a:lnTo>
                    <a:pt x="253" y="226"/>
                  </a:lnTo>
                  <a:lnTo>
                    <a:pt x="255" y="227"/>
                  </a:lnTo>
                  <a:lnTo>
                    <a:pt x="257" y="231"/>
                  </a:lnTo>
                  <a:lnTo>
                    <a:pt x="258" y="236"/>
                  </a:lnTo>
                  <a:lnTo>
                    <a:pt x="260" y="241"/>
                  </a:lnTo>
                  <a:lnTo>
                    <a:pt x="262" y="243"/>
                  </a:lnTo>
                  <a:lnTo>
                    <a:pt x="263" y="243"/>
                  </a:lnTo>
                  <a:lnTo>
                    <a:pt x="265" y="248"/>
                  </a:lnTo>
                  <a:lnTo>
                    <a:pt x="269" y="249"/>
                  </a:lnTo>
                  <a:lnTo>
                    <a:pt x="267" y="251"/>
                  </a:lnTo>
                  <a:lnTo>
                    <a:pt x="265" y="255"/>
                  </a:lnTo>
                  <a:lnTo>
                    <a:pt x="267" y="261"/>
                  </a:lnTo>
                  <a:lnTo>
                    <a:pt x="270" y="263"/>
                  </a:lnTo>
                  <a:lnTo>
                    <a:pt x="272" y="265"/>
                  </a:lnTo>
                  <a:lnTo>
                    <a:pt x="274" y="267"/>
                  </a:lnTo>
                  <a:lnTo>
                    <a:pt x="275" y="268"/>
                  </a:lnTo>
                  <a:lnTo>
                    <a:pt x="274" y="273"/>
                  </a:lnTo>
                  <a:lnTo>
                    <a:pt x="275" y="275"/>
                  </a:lnTo>
                  <a:lnTo>
                    <a:pt x="281" y="272"/>
                  </a:lnTo>
                  <a:lnTo>
                    <a:pt x="282" y="272"/>
                  </a:lnTo>
                  <a:lnTo>
                    <a:pt x="286" y="277"/>
                  </a:lnTo>
                  <a:lnTo>
                    <a:pt x="284" y="279"/>
                  </a:lnTo>
                  <a:lnTo>
                    <a:pt x="282" y="280"/>
                  </a:lnTo>
                  <a:lnTo>
                    <a:pt x="284" y="284"/>
                  </a:lnTo>
                  <a:lnTo>
                    <a:pt x="291" y="284"/>
                  </a:lnTo>
                  <a:lnTo>
                    <a:pt x="294" y="285"/>
                  </a:lnTo>
                  <a:lnTo>
                    <a:pt x="298" y="284"/>
                  </a:lnTo>
                  <a:lnTo>
                    <a:pt x="303" y="284"/>
                  </a:lnTo>
                  <a:lnTo>
                    <a:pt x="306" y="285"/>
                  </a:lnTo>
                  <a:lnTo>
                    <a:pt x="306" y="289"/>
                  </a:lnTo>
                  <a:lnTo>
                    <a:pt x="303" y="292"/>
                  </a:lnTo>
                  <a:lnTo>
                    <a:pt x="301" y="299"/>
                  </a:lnTo>
                  <a:lnTo>
                    <a:pt x="301" y="301"/>
                  </a:lnTo>
                  <a:lnTo>
                    <a:pt x="296" y="301"/>
                  </a:lnTo>
                  <a:lnTo>
                    <a:pt x="298" y="308"/>
                  </a:lnTo>
                  <a:lnTo>
                    <a:pt x="296" y="311"/>
                  </a:lnTo>
                  <a:lnTo>
                    <a:pt x="294" y="311"/>
                  </a:lnTo>
                  <a:lnTo>
                    <a:pt x="291" y="323"/>
                  </a:lnTo>
                  <a:lnTo>
                    <a:pt x="287" y="325"/>
                  </a:lnTo>
                  <a:lnTo>
                    <a:pt x="287" y="326"/>
                  </a:lnTo>
                  <a:lnTo>
                    <a:pt x="289" y="328"/>
                  </a:lnTo>
                  <a:lnTo>
                    <a:pt x="287" y="335"/>
                  </a:lnTo>
                  <a:lnTo>
                    <a:pt x="286" y="335"/>
                  </a:lnTo>
                  <a:lnTo>
                    <a:pt x="282" y="335"/>
                  </a:lnTo>
                  <a:lnTo>
                    <a:pt x="281" y="337"/>
                  </a:lnTo>
                  <a:lnTo>
                    <a:pt x="282" y="338"/>
                  </a:lnTo>
                  <a:lnTo>
                    <a:pt x="284" y="340"/>
                  </a:lnTo>
                  <a:lnTo>
                    <a:pt x="284" y="343"/>
                  </a:lnTo>
                  <a:lnTo>
                    <a:pt x="284" y="347"/>
                  </a:lnTo>
                  <a:lnTo>
                    <a:pt x="281" y="349"/>
                  </a:lnTo>
                  <a:lnTo>
                    <a:pt x="282" y="350"/>
                  </a:lnTo>
                  <a:lnTo>
                    <a:pt x="281" y="352"/>
                  </a:lnTo>
                  <a:lnTo>
                    <a:pt x="286" y="355"/>
                  </a:lnTo>
                  <a:lnTo>
                    <a:pt x="286" y="357"/>
                  </a:lnTo>
                  <a:lnTo>
                    <a:pt x="284" y="361"/>
                  </a:lnTo>
                  <a:lnTo>
                    <a:pt x="284" y="362"/>
                  </a:lnTo>
                  <a:lnTo>
                    <a:pt x="286" y="366"/>
                  </a:lnTo>
                  <a:lnTo>
                    <a:pt x="284" y="369"/>
                  </a:lnTo>
                  <a:lnTo>
                    <a:pt x="281" y="367"/>
                  </a:lnTo>
                  <a:lnTo>
                    <a:pt x="279" y="369"/>
                  </a:lnTo>
                  <a:lnTo>
                    <a:pt x="277" y="367"/>
                  </a:lnTo>
                  <a:lnTo>
                    <a:pt x="275" y="371"/>
                  </a:lnTo>
                  <a:lnTo>
                    <a:pt x="270" y="376"/>
                  </a:lnTo>
                  <a:lnTo>
                    <a:pt x="272" y="378"/>
                  </a:lnTo>
                  <a:lnTo>
                    <a:pt x="272" y="379"/>
                  </a:lnTo>
                  <a:lnTo>
                    <a:pt x="274" y="383"/>
                  </a:lnTo>
                  <a:lnTo>
                    <a:pt x="272" y="384"/>
                  </a:lnTo>
                  <a:lnTo>
                    <a:pt x="272" y="388"/>
                  </a:lnTo>
                  <a:lnTo>
                    <a:pt x="267" y="390"/>
                  </a:lnTo>
                  <a:lnTo>
                    <a:pt x="269" y="393"/>
                  </a:lnTo>
                  <a:lnTo>
                    <a:pt x="265" y="398"/>
                  </a:lnTo>
                  <a:lnTo>
                    <a:pt x="269" y="396"/>
                  </a:lnTo>
                  <a:lnTo>
                    <a:pt x="270" y="398"/>
                  </a:lnTo>
                  <a:lnTo>
                    <a:pt x="274" y="400"/>
                  </a:lnTo>
                  <a:lnTo>
                    <a:pt x="275" y="402"/>
                  </a:lnTo>
                  <a:lnTo>
                    <a:pt x="275" y="405"/>
                  </a:lnTo>
                  <a:lnTo>
                    <a:pt x="279" y="407"/>
                  </a:lnTo>
                  <a:lnTo>
                    <a:pt x="281" y="410"/>
                  </a:lnTo>
                  <a:lnTo>
                    <a:pt x="282" y="410"/>
                  </a:lnTo>
                  <a:lnTo>
                    <a:pt x="287" y="408"/>
                  </a:lnTo>
                  <a:lnTo>
                    <a:pt x="287" y="407"/>
                  </a:lnTo>
                  <a:lnTo>
                    <a:pt x="289" y="403"/>
                  </a:lnTo>
                  <a:lnTo>
                    <a:pt x="293" y="405"/>
                  </a:lnTo>
                  <a:lnTo>
                    <a:pt x="294" y="403"/>
                  </a:lnTo>
                  <a:lnTo>
                    <a:pt x="298" y="403"/>
                  </a:lnTo>
                  <a:lnTo>
                    <a:pt x="299" y="402"/>
                  </a:lnTo>
                  <a:lnTo>
                    <a:pt x="303" y="400"/>
                  </a:lnTo>
                  <a:lnTo>
                    <a:pt x="304" y="396"/>
                  </a:lnTo>
                  <a:lnTo>
                    <a:pt x="308" y="396"/>
                  </a:lnTo>
                  <a:lnTo>
                    <a:pt x="308" y="395"/>
                  </a:lnTo>
                  <a:lnTo>
                    <a:pt x="308" y="393"/>
                  </a:lnTo>
                  <a:lnTo>
                    <a:pt x="310" y="391"/>
                  </a:lnTo>
                  <a:lnTo>
                    <a:pt x="313" y="391"/>
                  </a:lnTo>
                  <a:lnTo>
                    <a:pt x="313" y="393"/>
                  </a:lnTo>
                  <a:lnTo>
                    <a:pt x="315" y="395"/>
                  </a:lnTo>
                  <a:lnTo>
                    <a:pt x="315" y="396"/>
                  </a:lnTo>
                  <a:lnTo>
                    <a:pt x="316" y="398"/>
                  </a:lnTo>
                  <a:lnTo>
                    <a:pt x="316" y="400"/>
                  </a:lnTo>
                  <a:lnTo>
                    <a:pt x="320" y="402"/>
                  </a:lnTo>
                  <a:lnTo>
                    <a:pt x="322" y="403"/>
                  </a:lnTo>
                  <a:lnTo>
                    <a:pt x="323" y="405"/>
                  </a:lnTo>
                  <a:lnTo>
                    <a:pt x="320" y="412"/>
                  </a:lnTo>
                  <a:lnTo>
                    <a:pt x="323" y="412"/>
                  </a:lnTo>
                  <a:lnTo>
                    <a:pt x="323" y="414"/>
                  </a:lnTo>
                  <a:lnTo>
                    <a:pt x="323" y="417"/>
                  </a:lnTo>
                  <a:lnTo>
                    <a:pt x="322" y="420"/>
                  </a:lnTo>
                  <a:lnTo>
                    <a:pt x="322" y="424"/>
                  </a:lnTo>
                  <a:lnTo>
                    <a:pt x="323" y="427"/>
                  </a:lnTo>
                  <a:lnTo>
                    <a:pt x="322" y="434"/>
                  </a:lnTo>
                  <a:lnTo>
                    <a:pt x="325" y="439"/>
                  </a:lnTo>
                  <a:lnTo>
                    <a:pt x="325" y="441"/>
                  </a:lnTo>
                  <a:lnTo>
                    <a:pt x="327" y="446"/>
                  </a:lnTo>
                  <a:lnTo>
                    <a:pt x="330" y="449"/>
                  </a:lnTo>
                  <a:lnTo>
                    <a:pt x="330" y="453"/>
                  </a:lnTo>
                  <a:lnTo>
                    <a:pt x="332" y="456"/>
                  </a:lnTo>
                  <a:lnTo>
                    <a:pt x="330" y="458"/>
                  </a:lnTo>
                  <a:lnTo>
                    <a:pt x="332" y="458"/>
                  </a:lnTo>
                  <a:lnTo>
                    <a:pt x="335" y="460"/>
                  </a:lnTo>
                  <a:lnTo>
                    <a:pt x="334" y="461"/>
                  </a:lnTo>
                  <a:lnTo>
                    <a:pt x="335" y="463"/>
                  </a:lnTo>
                  <a:lnTo>
                    <a:pt x="335" y="465"/>
                  </a:lnTo>
                  <a:lnTo>
                    <a:pt x="339" y="467"/>
                  </a:lnTo>
                  <a:lnTo>
                    <a:pt x="337" y="468"/>
                  </a:lnTo>
                  <a:lnTo>
                    <a:pt x="339" y="472"/>
                  </a:lnTo>
                  <a:lnTo>
                    <a:pt x="337" y="477"/>
                  </a:lnTo>
                  <a:lnTo>
                    <a:pt x="335" y="477"/>
                  </a:lnTo>
                  <a:lnTo>
                    <a:pt x="334" y="477"/>
                  </a:lnTo>
                  <a:lnTo>
                    <a:pt x="332" y="478"/>
                  </a:lnTo>
                  <a:lnTo>
                    <a:pt x="335" y="487"/>
                  </a:lnTo>
                  <a:lnTo>
                    <a:pt x="337" y="489"/>
                  </a:lnTo>
                  <a:lnTo>
                    <a:pt x="340" y="492"/>
                  </a:lnTo>
                  <a:lnTo>
                    <a:pt x="342" y="496"/>
                  </a:lnTo>
                  <a:lnTo>
                    <a:pt x="344" y="496"/>
                  </a:lnTo>
                  <a:lnTo>
                    <a:pt x="349" y="494"/>
                  </a:lnTo>
                  <a:lnTo>
                    <a:pt x="349" y="494"/>
                  </a:lnTo>
                  <a:lnTo>
                    <a:pt x="356" y="501"/>
                  </a:lnTo>
                  <a:lnTo>
                    <a:pt x="356" y="504"/>
                  </a:lnTo>
                  <a:lnTo>
                    <a:pt x="357" y="506"/>
                  </a:lnTo>
                  <a:lnTo>
                    <a:pt x="357" y="508"/>
                  </a:lnTo>
                  <a:lnTo>
                    <a:pt x="359" y="511"/>
                  </a:lnTo>
                  <a:lnTo>
                    <a:pt x="359" y="516"/>
                  </a:lnTo>
                  <a:lnTo>
                    <a:pt x="357" y="521"/>
                  </a:lnTo>
                  <a:lnTo>
                    <a:pt x="359" y="525"/>
                  </a:lnTo>
                  <a:lnTo>
                    <a:pt x="359" y="526"/>
                  </a:lnTo>
                  <a:lnTo>
                    <a:pt x="361" y="530"/>
                  </a:lnTo>
                  <a:lnTo>
                    <a:pt x="359" y="531"/>
                  </a:lnTo>
                  <a:lnTo>
                    <a:pt x="361" y="535"/>
                  </a:lnTo>
                  <a:lnTo>
                    <a:pt x="359" y="537"/>
                  </a:lnTo>
                  <a:lnTo>
                    <a:pt x="361" y="537"/>
                  </a:lnTo>
                  <a:lnTo>
                    <a:pt x="364" y="542"/>
                  </a:lnTo>
                  <a:lnTo>
                    <a:pt x="368" y="543"/>
                  </a:lnTo>
                  <a:lnTo>
                    <a:pt x="369" y="545"/>
                  </a:lnTo>
                  <a:lnTo>
                    <a:pt x="371" y="549"/>
                  </a:lnTo>
                  <a:lnTo>
                    <a:pt x="373" y="547"/>
                  </a:lnTo>
                  <a:lnTo>
                    <a:pt x="373" y="543"/>
                  </a:lnTo>
                  <a:lnTo>
                    <a:pt x="373" y="542"/>
                  </a:lnTo>
                  <a:lnTo>
                    <a:pt x="376" y="538"/>
                  </a:lnTo>
                  <a:lnTo>
                    <a:pt x="378" y="537"/>
                  </a:lnTo>
                  <a:lnTo>
                    <a:pt x="381" y="535"/>
                  </a:lnTo>
                  <a:lnTo>
                    <a:pt x="383" y="535"/>
                  </a:lnTo>
                  <a:lnTo>
                    <a:pt x="387" y="537"/>
                  </a:lnTo>
                  <a:lnTo>
                    <a:pt x="395" y="538"/>
                  </a:lnTo>
                  <a:lnTo>
                    <a:pt x="398" y="542"/>
                  </a:lnTo>
                  <a:lnTo>
                    <a:pt x="402" y="540"/>
                  </a:lnTo>
                  <a:lnTo>
                    <a:pt x="404" y="543"/>
                  </a:lnTo>
                  <a:lnTo>
                    <a:pt x="409" y="543"/>
                  </a:lnTo>
                  <a:lnTo>
                    <a:pt x="410" y="540"/>
                  </a:lnTo>
                  <a:lnTo>
                    <a:pt x="412" y="537"/>
                  </a:lnTo>
                  <a:lnTo>
                    <a:pt x="416" y="535"/>
                  </a:lnTo>
                  <a:lnTo>
                    <a:pt x="419" y="533"/>
                  </a:lnTo>
                  <a:lnTo>
                    <a:pt x="421" y="535"/>
                  </a:lnTo>
                  <a:lnTo>
                    <a:pt x="421" y="537"/>
                  </a:lnTo>
                  <a:lnTo>
                    <a:pt x="422" y="538"/>
                  </a:lnTo>
                  <a:lnTo>
                    <a:pt x="428" y="538"/>
                  </a:lnTo>
                  <a:lnTo>
                    <a:pt x="429" y="540"/>
                  </a:lnTo>
                  <a:lnTo>
                    <a:pt x="433" y="540"/>
                  </a:lnTo>
                  <a:lnTo>
                    <a:pt x="434" y="540"/>
                  </a:lnTo>
                  <a:lnTo>
                    <a:pt x="436" y="540"/>
                  </a:lnTo>
                  <a:lnTo>
                    <a:pt x="439" y="540"/>
                  </a:lnTo>
                  <a:lnTo>
                    <a:pt x="443" y="538"/>
                  </a:lnTo>
                  <a:lnTo>
                    <a:pt x="448" y="540"/>
                  </a:lnTo>
                  <a:lnTo>
                    <a:pt x="451" y="545"/>
                  </a:lnTo>
                  <a:lnTo>
                    <a:pt x="453" y="543"/>
                  </a:lnTo>
                  <a:lnTo>
                    <a:pt x="455" y="545"/>
                  </a:lnTo>
                  <a:lnTo>
                    <a:pt x="458" y="543"/>
                  </a:lnTo>
                  <a:lnTo>
                    <a:pt x="462" y="542"/>
                  </a:lnTo>
                  <a:lnTo>
                    <a:pt x="467" y="543"/>
                  </a:lnTo>
                  <a:lnTo>
                    <a:pt x="470" y="543"/>
                  </a:lnTo>
                  <a:lnTo>
                    <a:pt x="475" y="547"/>
                  </a:lnTo>
                  <a:lnTo>
                    <a:pt x="477" y="547"/>
                  </a:lnTo>
                  <a:lnTo>
                    <a:pt x="479" y="547"/>
                  </a:lnTo>
                  <a:lnTo>
                    <a:pt x="479" y="545"/>
                  </a:lnTo>
                  <a:lnTo>
                    <a:pt x="475" y="545"/>
                  </a:lnTo>
                  <a:lnTo>
                    <a:pt x="475" y="540"/>
                  </a:lnTo>
                  <a:lnTo>
                    <a:pt x="477" y="538"/>
                  </a:lnTo>
                  <a:lnTo>
                    <a:pt x="477" y="535"/>
                  </a:lnTo>
                  <a:lnTo>
                    <a:pt x="479" y="535"/>
                  </a:lnTo>
                  <a:lnTo>
                    <a:pt x="481" y="535"/>
                  </a:lnTo>
                  <a:lnTo>
                    <a:pt x="481" y="531"/>
                  </a:lnTo>
                  <a:lnTo>
                    <a:pt x="479" y="530"/>
                  </a:lnTo>
                  <a:lnTo>
                    <a:pt x="481" y="528"/>
                  </a:lnTo>
                  <a:lnTo>
                    <a:pt x="482" y="528"/>
                  </a:lnTo>
                  <a:lnTo>
                    <a:pt x="486" y="530"/>
                  </a:lnTo>
                  <a:lnTo>
                    <a:pt x="487" y="526"/>
                  </a:lnTo>
                  <a:lnTo>
                    <a:pt x="489" y="525"/>
                  </a:lnTo>
                  <a:lnTo>
                    <a:pt x="489" y="528"/>
                  </a:lnTo>
                  <a:lnTo>
                    <a:pt x="492" y="528"/>
                  </a:lnTo>
                  <a:lnTo>
                    <a:pt x="492" y="530"/>
                  </a:lnTo>
                  <a:lnTo>
                    <a:pt x="492" y="533"/>
                  </a:lnTo>
                  <a:lnTo>
                    <a:pt x="494" y="535"/>
                  </a:lnTo>
                  <a:lnTo>
                    <a:pt x="494" y="538"/>
                  </a:lnTo>
                  <a:lnTo>
                    <a:pt x="498" y="540"/>
                  </a:lnTo>
                  <a:lnTo>
                    <a:pt x="498" y="540"/>
                  </a:lnTo>
                  <a:lnTo>
                    <a:pt x="496" y="542"/>
                  </a:lnTo>
                  <a:lnTo>
                    <a:pt x="498" y="545"/>
                  </a:lnTo>
                  <a:lnTo>
                    <a:pt x="499" y="547"/>
                  </a:lnTo>
                  <a:lnTo>
                    <a:pt x="501" y="549"/>
                  </a:lnTo>
                  <a:lnTo>
                    <a:pt x="503" y="552"/>
                  </a:lnTo>
                  <a:lnTo>
                    <a:pt x="503" y="554"/>
                  </a:lnTo>
                  <a:lnTo>
                    <a:pt x="504" y="557"/>
                  </a:lnTo>
                  <a:lnTo>
                    <a:pt x="508" y="559"/>
                  </a:lnTo>
                  <a:lnTo>
                    <a:pt x="499" y="610"/>
                  </a:lnTo>
                  <a:lnTo>
                    <a:pt x="492" y="660"/>
                  </a:lnTo>
                  <a:lnTo>
                    <a:pt x="487" y="684"/>
                  </a:lnTo>
                  <a:lnTo>
                    <a:pt x="484" y="713"/>
                  </a:lnTo>
                  <a:lnTo>
                    <a:pt x="475" y="767"/>
                  </a:lnTo>
                  <a:lnTo>
                    <a:pt x="467" y="822"/>
                  </a:lnTo>
                  <a:lnTo>
                    <a:pt x="431" y="815"/>
                  </a:lnTo>
                  <a:lnTo>
                    <a:pt x="383" y="807"/>
                  </a:lnTo>
                  <a:lnTo>
                    <a:pt x="380" y="807"/>
                  </a:lnTo>
                  <a:lnTo>
                    <a:pt x="315" y="795"/>
                  </a:lnTo>
                  <a:lnTo>
                    <a:pt x="233" y="781"/>
                  </a:lnTo>
                  <a:lnTo>
                    <a:pt x="214" y="778"/>
                  </a:lnTo>
                  <a:lnTo>
                    <a:pt x="156" y="766"/>
                  </a:lnTo>
                  <a:lnTo>
                    <a:pt x="84" y="750"/>
                  </a:lnTo>
                  <a:lnTo>
                    <a:pt x="4" y="733"/>
                  </a:lnTo>
                  <a:lnTo>
                    <a:pt x="0" y="733"/>
                  </a:lnTo>
                  <a:lnTo>
                    <a:pt x="40" y="55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5" name="Freeform 14"/>
            <p:cNvSpPr>
              <a:spLocks/>
            </p:cNvSpPr>
            <p:nvPr/>
          </p:nvSpPr>
          <p:spPr bwMode="gray">
            <a:xfrm>
              <a:off x="8008900" y="2334296"/>
              <a:ext cx="233488" cy="431550"/>
            </a:xfrm>
            <a:custGeom>
              <a:avLst/>
              <a:gdLst/>
              <a:ahLst/>
              <a:cxnLst>
                <a:cxn ang="0">
                  <a:pos x="59" y="263"/>
                </a:cxn>
                <a:cxn ang="0">
                  <a:pos x="49" y="210"/>
                </a:cxn>
                <a:cxn ang="0">
                  <a:pos x="41" y="183"/>
                </a:cxn>
                <a:cxn ang="0">
                  <a:pos x="37" y="177"/>
                </a:cxn>
                <a:cxn ang="0">
                  <a:pos x="30" y="184"/>
                </a:cxn>
                <a:cxn ang="0">
                  <a:pos x="30" y="164"/>
                </a:cxn>
                <a:cxn ang="0">
                  <a:pos x="25" y="152"/>
                </a:cxn>
                <a:cxn ang="0">
                  <a:pos x="20" y="138"/>
                </a:cxn>
                <a:cxn ang="0">
                  <a:pos x="18" y="130"/>
                </a:cxn>
                <a:cxn ang="0">
                  <a:pos x="18" y="118"/>
                </a:cxn>
                <a:cxn ang="0">
                  <a:pos x="18" y="95"/>
                </a:cxn>
                <a:cxn ang="0">
                  <a:pos x="12" y="82"/>
                </a:cxn>
                <a:cxn ang="0">
                  <a:pos x="6" y="73"/>
                </a:cxn>
                <a:cxn ang="0">
                  <a:pos x="5" y="65"/>
                </a:cxn>
                <a:cxn ang="0">
                  <a:pos x="1" y="51"/>
                </a:cxn>
                <a:cxn ang="0">
                  <a:pos x="0" y="34"/>
                </a:cxn>
                <a:cxn ang="0">
                  <a:pos x="106" y="7"/>
                </a:cxn>
                <a:cxn ang="0">
                  <a:pos x="136" y="7"/>
                </a:cxn>
                <a:cxn ang="0">
                  <a:pos x="135" y="25"/>
                </a:cxn>
                <a:cxn ang="0">
                  <a:pos x="138" y="37"/>
                </a:cxn>
                <a:cxn ang="0">
                  <a:pos x="145" y="44"/>
                </a:cxn>
                <a:cxn ang="0">
                  <a:pos x="143" y="51"/>
                </a:cxn>
                <a:cxn ang="0">
                  <a:pos x="140" y="58"/>
                </a:cxn>
                <a:cxn ang="0">
                  <a:pos x="138" y="63"/>
                </a:cxn>
                <a:cxn ang="0">
                  <a:pos x="130" y="73"/>
                </a:cxn>
                <a:cxn ang="0">
                  <a:pos x="121" y="78"/>
                </a:cxn>
                <a:cxn ang="0">
                  <a:pos x="114" y="87"/>
                </a:cxn>
                <a:cxn ang="0">
                  <a:pos x="118" y="99"/>
                </a:cxn>
                <a:cxn ang="0">
                  <a:pos x="121" y="104"/>
                </a:cxn>
                <a:cxn ang="0">
                  <a:pos x="119" y="114"/>
                </a:cxn>
                <a:cxn ang="0">
                  <a:pos x="119" y="119"/>
                </a:cxn>
                <a:cxn ang="0">
                  <a:pos x="116" y="130"/>
                </a:cxn>
                <a:cxn ang="0">
                  <a:pos x="116" y="143"/>
                </a:cxn>
                <a:cxn ang="0">
                  <a:pos x="111" y="162"/>
                </a:cxn>
                <a:cxn ang="0">
                  <a:pos x="111" y="174"/>
                </a:cxn>
                <a:cxn ang="0">
                  <a:pos x="112" y="189"/>
                </a:cxn>
                <a:cxn ang="0">
                  <a:pos x="114" y="201"/>
                </a:cxn>
                <a:cxn ang="0">
                  <a:pos x="118" y="218"/>
                </a:cxn>
                <a:cxn ang="0">
                  <a:pos x="118" y="230"/>
                </a:cxn>
                <a:cxn ang="0">
                  <a:pos x="116" y="237"/>
                </a:cxn>
                <a:cxn ang="0">
                  <a:pos x="119" y="249"/>
                </a:cxn>
                <a:cxn ang="0">
                  <a:pos x="124" y="253"/>
                </a:cxn>
                <a:cxn ang="0">
                  <a:pos x="82" y="265"/>
                </a:cxn>
              </a:cxnLst>
              <a:rect l="0" t="0" r="r" b="b"/>
              <a:pathLst>
                <a:path w="145" h="268">
                  <a:moveTo>
                    <a:pt x="63" y="268"/>
                  </a:moveTo>
                  <a:lnTo>
                    <a:pt x="63" y="268"/>
                  </a:lnTo>
                  <a:lnTo>
                    <a:pt x="59" y="263"/>
                  </a:lnTo>
                  <a:lnTo>
                    <a:pt x="59" y="259"/>
                  </a:lnTo>
                  <a:lnTo>
                    <a:pt x="58" y="249"/>
                  </a:lnTo>
                  <a:lnTo>
                    <a:pt x="49" y="210"/>
                  </a:lnTo>
                  <a:lnTo>
                    <a:pt x="46" y="188"/>
                  </a:lnTo>
                  <a:lnTo>
                    <a:pt x="42" y="183"/>
                  </a:lnTo>
                  <a:lnTo>
                    <a:pt x="41" y="183"/>
                  </a:lnTo>
                  <a:lnTo>
                    <a:pt x="41" y="181"/>
                  </a:lnTo>
                  <a:lnTo>
                    <a:pt x="39" y="177"/>
                  </a:lnTo>
                  <a:lnTo>
                    <a:pt x="37" y="177"/>
                  </a:lnTo>
                  <a:lnTo>
                    <a:pt x="34" y="179"/>
                  </a:lnTo>
                  <a:lnTo>
                    <a:pt x="32" y="184"/>
                  </a:lnTo>
                  <a:lnTo>
                    <a:pt x="30" y="184"/>
                  </a:lnTo>
                  <a:lnTo>
                    <a:pt x="29" y="179"/>
                  </a:lnTo>
                  <a:lnTo>
                    <a:pt x="30" y="169"/>
                  </a:lnTo>
                  <a:lnTo>
                    <a:pt x="30" y="164"/>
                  </a:lnTo>
                  <a:lnTo>
                    <a:pt x="30" y="162"/>
                  </a:lnTo>
                  <a:lnTo>
                    <a:pt x="27" y="160"/>
                  </a:lnTo>
                  <a:lnTo>
                    <a:pt x="25" y="152"/>
                  </a:lnTo>
                  <a:lnTo>
                    <a:pt x="24" y="148"/>
                  </a:lnTo>
                  <a:lnTo>
                    <a:pt x="20" y="142"/>
                  </a:lnTo>
                  <a:lnTo>
                    <a:pt x="20" y="138"/>
                  </a:lnTo>
                  <a:lnTo>
                    <a:pt x="17" y="136"/>
                  </a:lnTo>
                  <a:lnTo>
                    <a:pt x="17" y="135"/>
                  </a:lnTo>
                  <a:lnTo>
                    <a:pt x="18" y="130"/>
                  </a:lnTo>
                  <a:lnTo>
                    <a:pt x="17" y="126"/>
                  </a:lnTo>
                  <a:lnTo>
                    <a:pt x="18" y="121"/>
                  </a:lnTo>
                  <a:lnTo>
                    <a:pt x="18" y="118"/>
                  </a:lnTo>
                  <a:lnTo>
                    <a:pt x="22" y="111"/>
                  </a:lnTo>
                  <a:lnTo>
                    <a:pt x="17" y="101"/>
                  </a:lnTo>
                  <a:lnTo>
                    <a:pt x="18" y="95"/>
                  </a:lnTo>
                  <a:lnTo>
                    <a:pt x="18" y="92"/>
                  </a:lnTo>
                  <a:lnTo>
                    <a:pt x="12" y="82"/>
                  </a:lnTo>
                  <a:lnTo>
                    <a:pt x="12" y="82"/>
                  </a:lnTo>
                  <a:lnTo>
                    <a:pt x="8" y="78"/>
                  </a:lnTo>
                  <a:lnTo>
                    <a:pt x="6" y="75"/>
                  </a:lnTo>
                  <a:lnTo>
                    <a:pt x="6" y="73"/>
                  </a:lnTo>
                  <a:lnTo>
                    <a:pt x="6" y="70"/>
                  </a:lnTo>
                  <a:lnTo>
                    <a:pt x="6" y="68"/>
                  </a:lnTo>
                  <a:lnTo>
                    <a:pt x="5" y="65"/>
                  </a:lnTo>
                  <a:lnTo>
                    <a:pt x="6" y="54"/>
                  </a:lnTo>
                  <a:lnTo>
                    <a:pt x="3" y="54"/>
                  </a:lnTo>
                  <a:lnTo>
                    <a:pt x="1" y="51"/>
                  </a:lnTo>
                  <a:lnTo>
                    <a:pt x="1" y="41"/>
                  </a:lnTo>
                  <a:lnTo>
                    <a:pt x="0" y="37"/>
                  </a:lnTo>
                  <a:lnTo>
                    <a:pt x="0" y="34"/>
                  </a:lnTo>
                  <a:lnTo>
                    <a:pt x="12" y="30"/>
                  </a:lnTo>
                  <a:lnTo>
                    <a:pt x="58" y="20"/>
                  </a:lnTo>
                  <a:lnTo>
                    <a:pt x="106" y="7"/>
                  </a:lnTo>
                  <a:lnTo>
                    <a:pt x="135" y="0"/>
                  </a:lnTo>
                  <a:lnTo>
                    <a:pt x="133" y="3"/>
                  </a:lnTo>
                  <a:lnTo>
                    <a:pt x="136" y="7"/>
                  </a:lnTo>
                  <a:lnTo>
                    <a:pt x="138" y="10"/>
                  </a:lnTo>
                  <a:lnTo>
                    <a:pt x="135" y="20"/>
                  </a:lnTo>
                  <a:lnTo>
                    <a:pt x="135" y="25"/>
                  </a:lnTo>
                  <a:lnTo>
                    <a:pt x="133" y="29"/>
                  </a:lnTo>
                  <a:lnTo>
                    <a:pt x="136" y="36"/>
                  </a:lnTo>
                  <a:lnTo>
                    <a:pt x="138" y="37"/>
                  </a:lnTo>
                  <a:lnTo>
                    <a:pt x="140" y="39"/>
                  </a:lnTo>
                  <a:lnTo>
                    <a:pt x="143" y="42"/>
                  </a:lnTo>
                  <a:lnTo>
                    <a:pt x="145" y="44"/>
                  </a:lnTo>
                  <a:lnTo>
                    <a:pt x="141" y="49"/>
                  </a:lnTo>
                  <a:lnTo>
                    <a:pt x="141" y="49"/>
                  </a:lnTo>
                  <a:lnTo>
                    <a:pt x="143" y="51"/>
                  </a:lnTo>
                  <a:lnTo>
                    <a:pt x="143" y="54"/>
                  </a:lnTo>
                  <a:lnTo>
                    <a:pt x="141" y="56"/>
                  </a:lnTo>
                  <a:lnTo>
                    <a:pt x="140" y="58"/>
                  </a:lnTo>
                  <a:lnTo>
                    <a:pt x="140" y="58"/>
                  </a:lnTo>
                  <a:lnTo>
                    <a:pt x="140" y="61"/>
                  </a:lnTo>
                  <a:lnTo>
                    <a:pt x="138" y="63"/>
                  </a:lnTo>
                  <a:lnTo>
                    <a:pt x="133" y="68"/>
                  </a:lnTo>
                  <a:lnTo>
                    <a:pt x="130" y="70"/>
                  </a:lnTo>
                  <a:lnTo>
                    <a:pt x="130" y="73"/>
                  </a:lnTo>
                  <a:lnTo>
                    <a:pt x="130" y="75"/>
                  </a:lnTo>
                  <a:lnTo>
                    <a:pt x="123" y="77"/>
                  </a:lnTo>
                  <a:lnTo>
                    <a:pt x="121" y="78"/>
                  </a:lnTo>
                  <a:lnTo>
                    <a:pt x="118" y="80"/>
                  </a:lnTo>
                  <a:lnTo>
                    <a:pt x="114" y="83"/>
                  </a:lnTo>
                  <a:lnTo>
                    <a:pt x="114" y="87"/>
                  </a:lnTo>
                  <a:lnTo>
                    <a:pt x="116" y="90"/>
                  </a:lnTo>
                  <a:lnTo>
                    <a:pt x="116" y="95"/>
                  </a:lnTo>
                  <a:lnTo>
                    <a:pt x="118" y="99"/>
                  </a:lnTo>
                  <a:lnTo>
                    <a:pt x="119" y="102"/>
                  </a:lnTo>
                  <a:lnTo>
                    <a:pt x="119" y="104"/>
                  </a:lnTo>
                  <a:lnTo>
                    <a:pt x="121" y="104"/>
                  </a:lnTo>
                  <a:lnTo>
                    <a:pt x="121" y="106"/>
                  </a:lnTo>
                  <a:lnTo>
                    <a:pt x="119" y="113"/>
                  </a:lnTo>
                  <a:lnTo>
                    <a:pt x="119" y="114"/>
                  </a:lnTo>
                  <a:lnTo>
                    <a:pt x="118" y="118"/>
                  </a:lnTo>
                  <a:lnTo>
                    <a:pt x="118" y="118"/>
                  </a:lnTo>
                  <a:lnTo>
                    <a:pt x="119" y="119"/>
                  </a:lnTo>
                  <a:lnTo>
                    <a:pt x="119" y="123"/>
                  </a:lnTo>
                  <a:lnTo>
                    <a:pt x="119" y="126"/>
                  </a:lnTo>
                  <a:lnTo>
                    <a:pt x="116" y="130"/>
                  </a:lnTo>
                  <a:lnTo>
                    <a:pt x="118" y="138"/>
                  </a:lnTo>
                  <a:lnTo>
                    <a:pt x="116" y="142"/>
                  </a:lnTo>
                  <a:lnTo>
                    <a:pt x="116" y="143"/>
                  </a:lnTo>
                  <a:lnTo>
                    <a:pt x="114" y="147"/>
                  </a:lnTo>
                  <a:lnTo>
                    <a:pt x="111" y="152"/>
                  </a:lnTo>
                  <a:lnTo>
                    <a:pt x="111" y="162"/>
                  </a:lnTo>
                  <a:lnTo>
                    <a:pt x="109" y="166"/>
                  </a:lnTo>
                  <a:lnTo>
                    <a:pt x="109" y="172"/>
                  </a:lnTo>
                  <a:lnTo>
                    <a:pt x="111" y="174"/>
                  </a:lnTo>
                  <a:lnTo>
                    <a:pt x="112" y="183"/>
                  </a:lnTo>
                  <a:lnTo>
                    <a:pt x="111" y="186"/>
                  </a:lnTo>
                  <a:lnTo>
                    <a:pt x="112" y="189"/>
                  </a:lnTo>
                  <a:lnTo>
                    <a:pt x="112" y="193"/>
                  </a:lnTo>
                  <a:lnTo>
                    <a:pt x="114" y="193"/>
                  </a:lnTo>
                  <a:lnTo>
                    <a:pt x="114" y="201"/>
                  </a:lnTo>
                  <a:lnTo>
                    <a:pt x="114" y="210"/>
                  </a:lnTo>
                  <a:lnTo>
                    <a:pt x="116" y="215"/>
                  </a:lnTo>
                  <a:lnTo>
                    <a:pt x="118" y="218"/>
                  </a:lnTo>
                  <a:lnTo>
                    <a:pt x="116" y="222"/>
                  </a:lnTo>
                  <a:lnTo>
                    <a:pt x="118" y="227"/>
                  </a:lnTo>
                  <a:lnTo>
                    <a:pt x="118" y="230"/>
                  </a:lnTo>
                  <a:lnTo>
                    <a:pt x="116" y="232"/>
                  </a:lnTo>
                  <a:lnTo>
                    <a:pt x="114" y="234"/>
                  </a:lnTo>
                  <a:lnTo>
                    <a:pt x="116" y="237"/>
                  </a:lnTo>
                  <a:lnTo>
                    <a:pt x="114" y="242"/>
                  </a:lnTo>
                  <a:lnTo>
                    <a:pt x="118" y="249"/>
                  </a:lnTo>
                  <a:lnTo>
                    <a:pt x="119" y="249"/>
                  </a:lnTo>
                  <a:lnTo>
                    <a:pt x="121" y="253"/>
                  </a:lnTo>
                  <a:lnTo>
                    <a:pt x="123" y="253"/>
                  </a:lnTo>
                  <a:lnTo>
                    <a:pt x="124" y="253"/>
                  </a:lnTo>
                  <a:lnTo>
                    <a:pt x="126" y="256"/>
                  </a:lnTo>
                  <a:lnTo>
                    <a:pt x="90" y="263"/>
                  </a:lnTo>
                  <a:lnTo>
                    <a:pt x="82" y="265"/>
                  </a:lnTo>
                  <a:lnTo>
                    <a:pt x="63" y="26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 name="Freeform 15"/>
            <p:cNvSpPr>
              <a:spLocks/>
            </p:cNvSpPr>
            <p:nvPr/>
          </p:nvSpPr>
          <p:spPr bwMode="gray">
            <a:xfrm>
              <a:off x="5123311" y="1967156"/>
              <a:ext cx="898527" cy="1011243"/>
            </a:xfrm>
            <a:custGeom>
              <a:avLst/>
              <a:gdLst/>
              <a:ahLst/>
              <a:cxnLst>
                <a:cxn ang="0">
                  <a:pos x="318" y="624"/>
                </a:cxn>
                <a:cxn ang="0">
                  <a:pos x="224" y="626"/>
                </a:cxn>
                <a:cxn ang="0">
                  <a:pos x="129" y="628"/>
                </a:cxn>
                <a:cxn ang="0">
                  <a:pos x="53" y="552"/>
                </a:cxn>
                <a:cxn ang="0">
                  <a:pos x="53" y="436"/>
                </a:cxn>
                <a:cxn ang="0">
                  <a:pos x="36" y="423"/>
                </a:cxn>
                <a:cxn ang="0">
                  <a:pos x="24" y="397"/>
                </a:cxn>
                <a:cxn ang="0">
                  <a:pos x="47" y="364"/>
                </a:cxn>
                <a:cxn ang="0">
                  <a:pos x="45" y="337"/>
                </a:cxn>
                <a:cxn ang="0">
                  <a:pos x="36" y="315"/>
                </a:cxn>
                <a:cxn ang="0">
                  <a:pos x="31" y="294"/>
                </a:cxn>
                <a:cxn ang="0">
                  <a:pos x="30" y="277"/>
                </a:cxn>
                <a:cxn ang="0">
                  <a:pos x="31" y="258"/>
                </a:cxn>
                <a:cxn ang="0">
                  <a:pos x="28" y="255"/>
                </a:cxn>
                <a:cxn ang="0">
                  <a:pos x="28" y="243"/>
                </a:cxn>
                <a:cxn ang="0">
                  <a:pos x="26" y="221"/>
                </a:cxn>
                <a:cxn ang="0">
                  <a:pos x="26" y="209"/>
                </a:cxn>
                <a:cxn ang="0">
                  <a:pos x="24" y="197"/>
                </a:cxn>
                <a:cxn ang="0">
                  <a:pos x="23" y="180"/>
                </a:cxn>
                <a:cxn ang="0">
                  <a:pos x="18" y="165"/>
                </a:cxn>
                <a:cxn ang="0">
                  <a:pos x="11" y="141"/>
                </a:cxn>
                <a:cxn ang="0">
                  <a:pos x="6" y="130"/>
                </a:cxn>
                <a:cxn ang="0">
                  <a:pos x="6" y="123"/>
                </a:cxn>
                <a:cxn ang="0">
                  <a:pos x="7" y="118"/>
                </a:cxn>
                <a:cxn ang="0">
                  <a:pos x="7" y="115"/>
                </a:cxn>
                <a:cxn ang="0">
                  <a:pos x="6" y="106"/>
                </a:cxn>
                <a:cxn ang="0">
                  <a:pos x="7" y="103"/>
                </a:cxn>
                <a:cxn ang="0">
                  <a:pos x="6" y="100"/>
                </a:cxn>
                <a:cxn ang="0">
                  <a:pos x="4" y="88"/>
                </a:cxn>
                <a:cxn ang="0">
                  <a:pos x="6" y="82"/>
                </a:cxn>
                <a:cxn ang="0">
                  <a:pos x="9" y="74"/>
                </a:cxn>
                <a:cxn ang="0">
                  <a:pos x="6" y="65"/>
                </a:cxn>
                <a:cxn ang="0">
                  <a:pos x="4" y="59"/>
                </a:cxn>
                <a:cxn ang="0">
                  <a:pos x="59" y="40"/>
                </a:cxn>
                <a:cxn ang="0">
                  <a:pos x="182" y="52"/>
                </a:cxn>
                <a:cxn ang="0">
                  <a:pos x="214" y="76"/>
                </a:cxn>
                <a:cxn ang="0">
                  <a:pos x="271" y="86"/>
                </a:cxn>
                <a:cxn ang="0">
                  <a:pos x="324" y="84"/>
                </a:cxn>
                <a:cxn ang="0">
                  <a:pos x="341" y="94"/>
                </a:cxn>
                <a:cxn ang="0">
                  <a:pos x="354" y="110"/>
                </a:cxn>
                <a:cxn ang="0">
                  <a:pos x="392" y="117"/>
                </a:cxn>
                <a:cxn ang="0">
                  <a:pos x="433" y="129"/>
                </a:cxn>
                <a:cxn ang="0">
                  <a:pos x="482" y="125"/>
                </a:cxn>
                <a:cxn ang="0">
                  <a:pos x="541" y="129"/>
                </a:cxn>
                <a:cxn ang="0">
                  <a:pos x="488" y="166"/>
                </a:cxn>
                <a:cxn ang="0">
                  <a:pos x="368" y="282"/>
                </a:cxn>
                <a:cxn ang="0">
                  <a:pos x="365" y="346"/>
                </a:cxn>
                <a:cxn ang="0">
                  <a:pos x="353" y="356"/>
                </a:cxn>
                <a:cxn ang="0">
                  <a:pos x="332" y="371"/>
                </a:cxn>
                <a:cxn ang="0">
                  <a:pos x="322" y="394"/>
                </a:cxn>
                <a:cxn ang="0">
                  <a:pos x="337" y="412"/>
                </a:cxn>
                <a:cxn ang="0">
                  <a:pos x="337" y="428"/>
                </a:cxn>
                <a:cxn ang="0">
                  <a:pos x="334" y="450"/>
                </a:cxn>
                <a:cxn ang="0">
                  <a:pos x="334" y="472"/>
                </a:cxn>
                <a:cxn ang="0">
                  <a:pos x="337" y="493"/>
                </a:cxn>
                <a:cxn ang="0">
                  <a:pos x="370" y="510"/>
                </a:cxn>
                <a:cxn ang="0">
                  <a:pos x="397" y="529"/>
                </a:cxn>
                <a:cxn ang="0">
                  <a:pos x="407" y="547"/>
                </a:cxn>
                <a:cxn ang="0">
                  <a:pos x="433" y="563"/>
                </a:cxn>
                <a:cxn ang="0">
                  <a:pos x="455" y="595"/>
                </a:cxn>
                <a:cxn ang="0">
                  <a:pos x="428" y="619"/>
                </a:cxn>
              </a:cxnLst>
              <a:rect l="0" t="0" r="r" b="b"/>
              <a:pathLst>
                <a:path w="558" h="628">
                  <a:moveTo>
                    <a:pt x="419" y="621"/>
                  </a:moveTo>
                  <a:lnTo>
                    <a:pt x="392" y="621"/>
                  </a:lnTo>
                  <a:lnTo>
                    <a:pt x="363" y="622"/>
                  </a:lnTo>
                  <a:lnTo>
                    <a:pt x="354" y="622"/>
                  </a:lnTo>
                  <a:lnTo>
                    <a:pt x="318" y="624"/>
                  </a:lnTo>
                  <a:lnTo>
                    <a:pt x="317" y="624"/>
                  </a:lnTo>
                  <a:lnTo>
                    <a:pt x="283" y="626"/>
                  </a:lnTo>
                  <a:lnTo>
                    <a:pt x="271" y="626"/>
                  </a:lnTo>
                  <a:lnTo>
                    <a:pt x="245" y="626"/>
                  </a:lnTo>
                  <a:lnTo>
                    <a:pt x="224" y="626"/>
                  </a:lnTo>
                  <a:lnTo>
                    <a:pt x="207" y="628"/>
                  </a:lnTo>
                  <a:lnTo>
                    <a:pt x="177" y="628"/>
                  </a:lnTo>
                  <a:lnTo>
                    <a:pt x="171" y="628"/>
                  </a:lnTo>
                  <a:lnTo>
                    <a:pt x="136" y="628"/>
                  </a:lnTo>
                  <a:lnTo>
                    <a:pt x="129" y="628"/>
                  </a:lnTo>
                  <a:lnTo>
                    <a:pt x="98" y="628"/>
                  </a:lnTo>
                  <a:lnTo>
                    <a:pt x="83" y="628"/>
                  </a:lnTo>
                  <a:lnTo>
                    <a:pt x="52" y="628"/>
                  </a:lnTo>
                  <a:lnTo>
                    <a:pt x="53" y="590"/>
                  </a:lnTo>
                  <a:lnTo>
                    <a:pt x="53" y="552"/>
                  </a:lnTo>
                  <a:lnTo>
                    <a:pt x="53" y="517"/>
                  </a:lnTo>
                  <a:lnTo>
                    <a:pt x="53" y="506"/>
                  </a:lnTo>
                  <a:lnTo>
                    <a:pt x="53" y="487"/>
                  </a:lnTo>
                  <a:lnTo>
                    <a:pt x="53" y="469"/>
                  </a:lnTo>
                  <a:lnTo>
                    <a:pt x="53" y="436"/>
                  </a:lnTo>
                  <a:lnTo>
                    <a:pt x="53" y="435"/>
                  </a:lnTo>
                  <a:lnTo>
                    <a:pt x="52" y="431"/>
                  </a:lnTo>
                  <a:lnTo>
                    <a:pt x="48" y="426"/>
                  </a:lnTo>
                  <a:lnTo>
                    <a:pt x="42" y="424"/>
                  </a:lnTo>
                  <a:lnTo>
                    <a:pt x="36" y="423"/>
                  </a:lnTo>
                  <a:lnTo>
                    <a:pt x="33" y="417"/>
                  </a:lnTo>
                  <a:lnTo>
                    <a:pt x="30" y="411"/>
                  </a:lnTo>
                  <a:lnTo>
                    <a:pt x="24" y="404"/>
                  </a:lnTo>
                  <a:lnTo>
                    <a:pt x="23" y="400"/>
                  </a:lnTo>
                  <a:lnTo>
                    <a:pt x="24" y="397"/>
                  </a:lnTo>
                  <a:lnTo>
                    <a:pt x="38" y="387"/>
                  </a:lnTo>
                  <a:lnTo>
                    <a:pt x="43" y="380"/>
                  </a:lnTo>
                  <a:lnTo>
                    <a:pt x="43" y="378"/>
                  </a:lnTo>
                  <a:lnTo>
                    <a:pt x="45" y="366"/>
                  </a:lnTo>
                  <a:lnTo>
                    <a:pt x="47" y="364"/>
                  </a:lnTo>
                  <a:lnTo>
                    <a:pt x="45" y="358"/>
                  </a:lnTo>
                  <a:lnTo>
                    <a:pt x="47" y="349"/>
                  </a:lnTo>
                  <a:lnTo>
                    <a:pt x="45" y="341"/>
                  </a:lnTo>
                  <a:lnTo>
                    <a:pt x="43" y="339"/>
                  </a:lnTo>
                  <a:lnTo>
                    <a:pt x="45" y="337"/>
                  </a:lnTo>
                  <a:lnTo>
                    <a:pt x="43" y="334"/>
                  </a:lnTo>
                  <a:lnTo>
                    <a:pt x="43" y="323"/>
                  </a:lnTo>
                  <a:lnTo>
                    <a:pt x="42" y="322"/>
                  </a:lnTo>
                  <a:lnTo>
                    <a:pt x="40" y="320"/>
                  </a:lnTo>
                  <a:lnTo>
                    <a:pt x="36" y="315"/>
                  </a:lnTo>
                  <a:lnTo>
                    <a:pt x="35" y="313"/>
                  </a:lnTo>
                  <a:lnTo>
                    <a:pt x="35" y="310"/>
                  </a:lnTo>
                  <a:lnTo>
                    <a:pt x="33" y="306"/>
                  </a:lnTo>
                  <a:lnTo>
                    <a:pt x="33" y="296"/>
                  </a:lnTo>
                  <a:lnTo>
                    <a:pt x="31" y="294"/>
                  </a:lnTo>
                  <a:lnTo>
                    <a:pt x="30" y="293"/>
                  </a:lnTo>
                  <a:lnTo>
                    <a:pt x="30" y="293"/>
                  </a:lnTo>
                  <a:lnTo>
                    <a:pt x="30" y="286"/>
                  </a:lnTo>
                  <a:lnTo>
                    <a:pt x="30" y="284"/>
                  </a:lnTo>
                  <a:lnTo>
                    <a:pt x="30" y="277"/>
                  </a:lnTo>
                  <a:lnTo>
                    <a:pt x="30" y="272"/>
                  </a:lnTo>
                  <a:lnTo>
                    <a:pt x="31" y="269"/>
                  </a:lnTo>
                  <a:lnTo>
                    <a:pt x="31" y="267"/>
                  </a:lnTo>
                  <a:lnTo>
                    <a:pt x="31" y="260"/>
                  </a:lnTo>
                  <a:lnTo>
                    <a:pt x="31" y="258"/>
                  </a:lnTo>
                  <a:lnTo>
                    <a:pt x="30" y="260"/>
                  </a:lnTo>
                  <a:lnTo>
                    <a:pt x="30" y="258"/>
                  </a:lnTo>
                  <a:lnTo>
                    <a:pt x="30" y="257"/>
                  </a:lnTo>
                  <a:lnTo>
                    <a:pt x="30" y="255"/>
                  </a:lnTo>
                  <a:lnTo>
                    <a:pt x="28" y="255"/>
                  </a:lnTo>
                  <a:lnTo>
                    <a:pt x="28" y="252"/>
                  </a:lnTo>
                  <a:lnTo>
                    <a:pt x="26" y="252"/>
                  </a:lnTo>
                  <a:lnTo>
                    <a:pt x="28" y="248"/>
                  </a:lnTo>
                  <a:lnTo>
                    <a:pt x="28" y="243"/>
                  </a:lnTo>
                  <a:lnTo>
                    <a:pt x="28" y="243"/>
                  </a:lnTo>
                  <a:lnTo>
                    <a:pt x="26" y="236"/>
                  </a:lnTo>
                  <a:lnTo>
                    <a:pt x="28" y="235"/>
                  </a:lnTo>
                  <a:lnTo>
                    <a:pt x="26" y="226"/>
                  </a:lnTo>
                  <a:lnTo>
                    <a:pt x="26" y="224"/>
                  </a:lnTo>
                  <a:lnTo>
                    <a:pt x="26" y="221"/>
                  </a:lnTo>
                  <a:lnTo>
                    <a:pt x="26" y="219"/>
                  </a:lnTo>
                  <a:lnTo>
                    <a:pt x="26" y="216"/>
                  </a:lnTo>
                  <a:lnTo>
                    <a:pt x="26" y="214"/>
                  </a:lnTo>
                  <a:lnTo>
                    <a:pt x="26" y="211"/>
                  </a:lnTo>
                  <a:lnTo>
                    <a:pt x="26" y="209"/>
                  </a:lnTo>
                  <a:lnTo>
                    <a:pt x="24" y="209"/>
                  </a:lnTo>
                  <a:lnTo>
                    <a:pt x="24" y="206"/>
                  </a:lnTo>
                  <a:lnTo>
                    <a:pt x="24" y="204"/>
                  </a:lnTo>
                  <a:lnTo>
                    <a:pt x="26" y="199"/>
                  </a:lnTo>
                  <a:lnTo>
                    <a:pt x="24" y="197"/>
                  </a:lnTo>
                  <a:lnTo>
                    <a:pt x="26" y="194"/>
                  </a:lnTo>
                  <a:lnTo>
                    <a:pt x="24" y="192"/>
                  </a:lnTo>
                  <a:lnTo>
                    <a:pt x="26" y="188"/>
                  </a:lnTo>
                  <a:lnTo>
                    <a:pt x="24" y="187"/>
                  </a:lnTo>
                  <a:lnTo>
                    <a:pt x="23" y="180"/>
                  </a:lnTo>
                  <a:lnTo>
                    <a:pt x="21" y="176"/>
                  </a:lnTo>
                  <a:lnTo>
                    <a:pt x="19" y="171"/>
                  </a:lnTo>
                  <a:lnTo>
                    <a:pt x="18" y="168"/>
                  </a:lnTo>
                  <a:lnTo>
                    <a:pt x="16" y="166"/>
                  </a:lnTo>
                  <a:lnTo>
                    <a:pt x="18" y="165"/>
                  </a:lnTo>
                  <a:lnTo>
                    <a:pt x="16" y="159"/>
                  </a:lnTo>
                  <a:lnTo>
                    <a:pt x="14" y="159"/>
                  </a:lnTo>
                  <a:lnTo>
                    <a:pt x="14" y="154"/>
                  </a:lnTo>
                  <a:lnTo>
                    <a:pt x="12" y="151"/>
                  </a:lnTo>
                  <a:lnTo>
                    <a:pt x="11" y="141"/>
                  </a:lnTo>
                  <a:lnTo>
                    <a:pt x="9" y="139"/>
                  </a:lnTo>
                  <a:lnTo>
                    <a:pt x="9" y="135"/>
                  </a:lnTo>
                  <a:lnTo>
                    <a:pt x="7" y="134"/>
                  </a:lnTo>
                  <a:lnTo>
                    <a:pt x="7" y="130"/>
                  </a:lnTo>
                  <a:lnTo>
                    <a:pt x="6" y="130"/>
                  </a:lnTo>
                  <a:lnTo>
                    <a:pt x="7" y="129"/>
                  </a:lnTo>
                  <a:lnTo>
                    <a:pt x="6" y="129"/>
                  </a:lnTo>
                  <a:lnTo>
                    <a:pt x="6" y="127"/>
                  </a:lnTo>
                  <a:lnTo>
                    <a:pt x="6" y="125"/>
                  </a:lnTo>
                  <a:lnTo>
                    <a:pt x="6" y="123"/>
                  </a:lnTo>
                  <a:lnTo>
                    <a:pt x="7" y="123"/>
                  </a:lnTo>
                  <a:lnTo>
                    <a:pt x="6" y="122"/>
                  </a:lnTo>
                  <a:lnTo>
                    <a:pt x="7" y="122"/>
                  </a:lnTo>
                  <a:lnTo>
                    <a:pt x="6" y="120"/>
                  </a:lnTo>
                  <a:lnTo>
                    <a:pt x="7" y="118"/>
                  </a:lnTo>
                  <a:lnTo>
                    <a:pt x="6" y="117"/>
                  </a:lnTo>
                  <a:lnTo>
                    <a:pt x="7" y="117"/>
                  </a:lnTo>
                  <a:lnTo>
                    <a:pt x="7" y="115"/>
                  </a:lnTo>
                  <a:lnTo>
                    <a:pt x="6" y="115"/>
                  </a:lnTo>
                  <a:lnTo>
                    <a:pt x="7" y="115"/>
                  </a:lnTo>
                  <a:lnTo>
                    <a:pt x="7" y="113"/>
                  </a:lnTo>
                  <a:lnTo>
                    <a:pt x="6" y="113"/>
                  </a:lnTo>
                  <a:lnTo>
                    <a:pt x="7" y="112"/>
                  </a:lnTo>
                  <a:lnTo>
                    <a:pt x="6" y="112"/>
                  </a:lnTo>
                  <a:lnTo>
                    <a:pt x="6" y="106"/>
                  </a:lnTo>
                  <a:lnTo>
                    <a:pt x="6" y="106"/>
                  </a:lnTo>
                  <a:lnTo>
                    <a:pt x="6" y="106"/>
                  </a:lnTo>
                  <a:lnTo>
                    <a:pt x="6" y="105"/>
                  </a:lnTo>
                  <a:lnTo>
                    <a:pt x="4" y="105"/>
                  </a:lnTo>
                  <a:lnTo>
                    <a:pt x="7" y="103"/>
                  </a:lnTo>
                  <a:lnTo>
                    <a:pt x="6" y="101"/>
                  </a:lnTo>
                  <a:lnTo>
                    <a:pt x="6" y="101"/>
                  </a:lnTo>
                  <a:lnTo>
                    <a:pt x="7" y="101"/>
                  </a:lnTo>
                  <a:lnTo>
                    <a:pt x="7" y="100"/>
                  </a:lnTo>
                  <a:lnTo>
                    <a:pt x="6" y="100"/>
                  </a:lnTo>
                  <a:lnTo>
                    <a:pt x="6" y="91"/>
                  </a:lnTo>
                  <a:lnTo>
                    <a:pt x="6" y="91"/>
                  </a:lnTo>
                  <a:lnTo>
                    <a:pt x="6" y="89"/>
                  </a:lnTo>
                  <a:lnTo>
                    <a:pt x="4" y="88"/>
                  </a:lnTo>
                  <a:lnTo>
                    <a:pt x="4" y="88"/>
                  </a:lnTo>
                  <a:lnTo>
                    <a:pt x="6" y="88"/>
                  </a:lnTo>
                  <a:lnTo>
                    <a:pt x="4" y="86"/>
                  </a:lnTo>
                  <a:lnTo>
                    <a:pt x="6" y="84"/>
                  </a:lnTo>
                  <a:lnTo>
                    <a:pt x="4" y="84"/>
                  </a:lnTo>
                  <a:lnTo>
                    <a:pt x="6" y="82"/>
                  </a:lnTo>
                  <a:lnTo>
                    <a:pt x="6" y="81"/>
                  </a:lnTo>
                  <a:lnTo>
                    <a:pt x="7" y="79"/>
                  </a:lnTo>
                  <a:lnTo>
                    <a:pt x="7" y="79"/>
                  </a:lnTo>
                  <a:lnTo>
                    <a:pt x="9" y="79"/>
                  </a:lnTo>
                  <a:lnTo>
                    <a:pt x="9" y="74"/>
                  </a:lnTo>
                  <a:lnTo>
                    <a:pt x="7" y="72"/>
                  </a:lnTo>
                  <a:lnTo>
                    <a:pt x="9" y="71"/>
                  </a:lnTo>
                  <a:lnTo>
                    <a:pt x="7" y="69"/>
                  </a:lnTo>
                  <a:lnTo>
                    <a:pt x="7" y="67"/>
                  </a:lnTo>
                  <a:lnTo>
                    <a:pt x="6" y="65"/>
                  </a:lnTo>
                  <a:lnTo>
                    <a:pt x="6" y="65"/>
                  </a:lnTo>
                  <a:lnTo>
                    <a:pt x="6" y="62"/>
                  </a:lnTo>
                  <a:lnTo>
                    <a:pt x="4" y="60"/>
                  </a:lnTo>
                  <a:lnTo>
                    <a:pt x="4" y="60"/>
                  </a:lnTo>
                  <a:lnTo>
                    <a:pt x="4" y="59"/>
                  </a:lnTo>
                  <a:lnTo>
                    <a:pt x="4" y="57"/>
                  </a:lnTo>
                  <a:lnTo>
                    <a:pt x="4" y="53"/>
                  </a:lnTo>
                  <a:lnTo>
                    <a:pt x="0" y="47"/>
                  </a:lnTo>
                  <a:lnTo>
                    <a:pt x="0" y="40"/>
                  </a:lnTo>
                  <a:lnTo>
                    <a:pt x="59" y="40"/>
                  </a:lnTo>
                  <a:lnTo>
                    <a:pt x="139" y="40"/>
                  </a:lnTo>
                  <a:lnTo>
                    <a:pt x="147" y="40"/>
                  </a:lnTo>
                  <a:lnTo>
                    <a:pt x="147" y="0"/>
                  </a:lnTo>
                  <a:lnTo>
                    <a:pt x="171" y="4"/>
                  </a:lnTo>
                  <a:lnTo>
                    <a:pt x="182" y="52"/>
                  </a:lnTo>
                  <a:lnTo>
                    <a:pt x="182" y="64"/>
                  </a:lnTo>
                  <a:lnTo>
                    <a:pt x="190" y="69"/>
                  </a:lnTo>
                  <a:lnTo>
                    <a:pt x="200" y="71"/>
                  </a:lnTo>
                  <a:lnTo>
                    <a:pt x="211" y="71"/>
                  </a:lnTo>
                  <a:lnTo>
                    <a:pt x="214" y="76"/>
                  </a:lnTo>
                  <a:lnTo>
                    <a:pt x="243" y="77"/>
                  </a:lnTo>
                  <a:lnTo>
                    <a:pt x="245" y="89"/>
                  </a:lnTo>
                  <a:lnTo>
                    <a:pt x="248" y="89"/>
                  </a:lnTo>
                  <a:lnTo>
                    <a:pt x="267" y="88"/>
                  </a:lnTo>
                  <a:lnTo>
                    <a:pt x="271" y="86"/>
                  </a:lnTo>
                  <a:lnTo>
                    <a:pt x="271" y="81"/>
                  </a:lnTo>
                  <a:lnTo>
                    <a:pt x="281" y="76"/>
                  </a:lnTo>
                  <a:lnTo>
                    <a:pt x="296" y="76"/>
                  </a:lnTo>
                  <a:lnTo>
                    <a:pt x="306" y="76"/>
                  </a:lnTo>
                  <a:lnTo>
                    <a:pt x="324" y="84"/>
                  </a:lnTo>
                  <a:lnTo>
                    <a:pt x="329" y="84"/>
                  </a:lnTo>
                  <a:lnTo>
                    <a:pt x="330" y="88"/>
                  </a:lnTo>
                  <a:lnTo>
                    <a:pt x="325" y="89"/>
                  </a:lnTo>
                  <a:lnTo>
                    <a:pt x="325" y="93"/>
                  </a:lnTo>
                  <a:lnTo>
                    <a:pt x="341" y="94"/>
                  </a:lnTo>
                  <a:lnTo>
                    <a:pt x="344" y="98"/>
                  </a:lnTo>
                  <a:lnTo>
                    <a:pt x="342" y="103"/>
                  </a:lnTo>
                  <a:lnTo>
                    <a:pt x="351" y="118"/>
                  </a:lnTo>
                  <a:lnTo>
                    <a:pt x="358" y="115"/>
                  </a:lnTo>
                  <a:lnTo>
                    <a:pt x="354" y="110"/>
                  </a:lnTo>
                  <a:lnTo>
                    <a:pt x="356" y="103"/>
                  </a:lnTo>
                  <a:lnTo>
                    <a:pt x="368" y="101"/>
                  </a:lnTo>
                  <a:lnTo>
                    <a:pt x="373" y="103"/>
                  </a:lnTo>
                  <a:lnTo>
                    <a:pt x="378" y="113"/>
                  </a:lnTo>
                  <a:lnTo>
                    <a:pt x="392" y="117"/>
                  </a:lnTo>
                  <a:lnTo>
                    <a:pt x="399" y="118"/>
                  </a:lnTo>
                  <a:lnTo>
                    <a:pt x="399" y="127"/>
                  </a:lnTo>
                  <a:lnTo>
                    <a:pt x="409" y="127"/>
                  </a:lnTo>
                  <a:lnTo>
                    <a:pt x="409" y="134"/>
                  </a:lnTo>
                  <a:lnTo>
                    <a:pt x="433" y="129"/>
                  </a:lnTo>
                  <a:lnTo>
                    <a:pt x="448" y="117"/>
                  </a:lnTo>
                  <a:lnTo>
                    <a:pt x="459" y="110"/>
                  </a:lnTo>
                  <a:lnTo>
                    <a:pt x="469" y="127"/>
                  </a:lnTo>
                  <a:lnTo>
                    <a:pt x="481" y="122"/>
                  </a:lnTo>
                  <a:lnTo>
                    <a:pt x="482" y="125"/>
                  </a:lnTo>
                  <a:lnTo>
                    <a:pt x="512" y="122"/>
                  </a:lnTo>
                  <a:lnTo>
                    <a:pt x="520" y="123"/>
                  </a:lnTo>
                  <a:lnTo>
                    <a:pt x="523" y="130"/>
                  </a:lnTo>
                  <a:lnTo>
                    <a:pt x="530" y="132"/>
                  </a:lnTo>
                  <a:lnTo>
                    <a:pt x="541" y="129"/>
                  </a:lnTo>
                  <a:lnTo>
                    <a:pt x="558" y="130"/>
                  </a:lnTo>
                  <a:lnTo>
                    <a:pt x="551" y="132"/>
                  </a:lnTo>
                  <a:lnTo>
                    <a:pt x="549" y="135"/>
                  </a:lnTo>
                  <a:lnTo>
                    <a:pt x="523" y="151"/>
                  </a:lnTo>
                  <a:lnTo>
                    <a:pt x="488" y="166"/>
                  </a:lnTo>
                  <a:lnTo>
                    <a:pt x="452" y="194"/>
                  </a:lnTo>
                  <a:lnTo>
                    <a:pt x="421" y="231"/>
                  </a:lnTo>
                  <a:lnTo>
                    <a:pt x="397" y="253"/>
                  </a:lnTo>
                  <a:lnTo>
                    <a:pt x="377" y="269"/>
                  </a:lnTo>
                  <a:lnTo>
                    <a:pt x="368" y="282"/>
                  </a:lnTo>
                  <a:lnTo>
                    <a:pt x="361" y="282"/>
                  </a:lnTo>
                  <a:lnTo>
                    <a:pt x="363" y="284"/>
                  </a:lnTo>
                  <a:lnTo>
                    <a:pt x="365" y="310"/>
                  </a:lnTo>
                  <a:lnTo>
                    <a:pt x="365" y="337"/>
                  </a:lnTo>
                  <a:lnTo>
                    <a:pt x="365" y="346"/>
                  </a:lnTo>
                  <a:lnTo>
                    <a:pt x="363" y="347"/>
                  </a:lnTo>
                  <a:lnTo>
                    <a:pt x="361" y="352"/>
                  </a:lnTo>
                  <a:lnTo>
                    <a:pt x="359" y="352"/>
                  </a:lnTo>
                  <a:lnTo>
                    <a:pt x="356" y="352"/>
                  </a:lnTo>
                  <a:lnTo>
                    <a:pt x="353" y="356"/>
                  </a:lnTo>
                  <a:lnTo>
                    <a:pt x="347" y="356"/>
                  </a:lnTo>
                  <a:lnTo>
                    <a:pt x="346" y="359"/>
                  </a:lnTo>
                  <a:lnTo>
                    <a:pt x="337" y="364"/>
                  </a:lnTo>
                  <a:lnTo>
                    <a:pt x="334" y="366"/>
                  </a:lnTo>
                  <a:lnTo>
                    <a:pt x="332" y="371"/>
                  </a:lnTo>
                  <a:lnTo>
                    <a:pt x="332" y="373"/>
                  </a:lnTo>
                  <a:lnTo>
                    <a:pt x="330" y="382"/>
                  </a:lnTo>
                  <a:lnTo>
                    <a:pt x="325" y="385"/>
                  </a:lnTo>
                  <a:lnTo>
                    <a:pt x="324" y="387"/>
                  </a:lnTo>
                  <a:lnTo>
                    <a:pt x="322" y="394"/>
                  </a:lnTo>
                  <a:lnTo>
                    <a:pt x="324" y="400"/>
                  </a:lnTo>
                  <a:lnTo>
                    <a:pt x="327" y="402"/>
                  </a:lnTo>
                  <a:lnTo>
                    <a:pt x="332" y="402"/>
                  </a:lnTo>
                  <a:lnTo>
                    <a:pt x="334" y="404"/>
                  </a:lnTo>
                  <a:lnTo>
                    <a:pt x="337" y="412"/>
                  </a:lnTo>
                  <a:lnTo>
                    <a:pt x="341" y="414"/>
                  </a:lnTo>
                  <a:lnTo>
                    <a:pt x="341" y="416"/>
                  </a:lnTo>
                  <a:lnTo>
                    <a:pt x="341" y="419"/>
                  </a:lnTo>
                  <a:lnTo>
                    <a:pt x="339" y="423"/>
                  </a:lnTo>
                  <a:lnTo>
                    <a:pt x="337" y="428"/>
                  </a:lnTo>
                  <a:lnTo>
                    <a:pt x="334" y="431"/>
                  </a:lnTo>
                  <a:lnTo>
                    <a:pt x="334" y="440"/>
                  </a:lnTo>
                  <a:lnTo>
                    <a:pt x="334" y="443"/>
                  </a:lnTo>
                  <a:lnTo>
                    <a:pt x="334" y="445"/>
                  </a:lnTo>
                  <a:lnTo>
                    <a:pt x="334" y="450"/>
                  </a:lnTo>
                  <a:lnTo>
                    <a:pt x="330" y="455"/>
                  </a:lnTo>
                  <a:lnTo>
                    <a:pt x="334" y="460"/>
                  </a:lnTo>
                  <a:lnTo>
                    <a:pt x="334" y="462"/>
                  </a:lnTo>
                  <a:lnTo>
                    <a:pt x="335" y="469"/>
                  </a:lnTo>
                  <a:lnTo>
                    <a:pt x="334" y="472"/>
                  </a:lnTo>
                  <a:lnTo>
                    <a:pt x="334" y="474"/>
                  </a:lnTo>
                  <a:lnTo>
                    <a:pt x="334" y="477"/>
                  </a:lnTo>
                  <a:lnTo>
                    <a:pt x="334" y="481"/>
                  </a:lnTo>
                  <a:lnTo>
                    <a:pt x="332" y="489"/>
                  </a:lnTo>
                  <a:lnTo>
                    <a:pt x="337" y="493"/>
                  </a:lnTo>
                  <a:lnTo>
                    <a:pt x="346" y="501"/>
                  </a:lnTo>
                  <a:lnTo>
                    <a:pt x="347" y="505"/>
                  </a:lnTo>
                  <a:lnTo>
                    <a:pt x="354" y="508"/>
                  </a:lnTo>
                  <a:lnTo>
                    <a:pt x="368" y="510"/>
                  </a:lnTo>
                  <a:lnTo>
                    <a:pt x="370" y="510"/>
                  </a:lnTo>
                  <a:lnTo>
                    <a:pt x="371" y="515"/>
                  </a:lnTo>
                  <a:lnTo>
                    <a:pt x="375" y="520"/>
                  </a:lnTo>
                  <a:lnTo>
                    <a:pt x="378" y="522"/>
                  </a:lnTo>
                  <a:lnTo>
                    <a:pt x="387" y="523"/>
                  </a:lnTo>
                  <a:lnTo>
                    <a:pt x="397" y="529"/>
                  </a:lnTo>
                  <a:lnTo>
                    <a:pt x="399" y="530"/>
                  </a:lnTo>
                  <a:lnTo>
                    <a:pt x="400" y="534"/>
                  </a:lnTo>
                  <a:lnTo>
                    <a:pt x="400" y="537"/>
                  </a:lnTo>
                  <a:lnTo>
                    <a:pt x="404" y="539"/>
                  </a:lnTo>
                  <a:lnTo>
                    <a:pt x="407" y="547"/>
                  </a:lnTo>
                  <a:lnTo>
                    <a:pt x="414" y="552"/>
                  </a:lnTo>
                  <a:lnTo>
                    <a:pt x="423" y="559"/>
                  </a:lnTo>
                  <a:lnTo>
                    <a:pt x="426" y="561"/>
                  </a:lnTo>
                  <a:lnTo>
                    <a:pt x="429" y="563"/>
                  </a:lnTo>
                  <a:lnTo>
                    <a:pt x="433" y="563"/>
                  </a:lnTo>
                  <a:lnTo>
                    <a:pt x="440" y="568"/>
                  </a:lnTo>
                  <a:lnTo>
                    <a:pt x="445" y="571"/>
                  </a:lnTo>
                  <a:lnTo>
                    <a:pt x="452" y="581"/>
                  </a:lnTo>
                  <a:lnTo>
                    <a:pt x="455" y="588"/>
                  </a:lnTo>
                  <a:lnTo>
                    <a:pt x="455" y="595"/>
                  </a:lnTo>
                  <a:lnTo>
                    <a:pt x="455" y="600"/>
                  </a:lnTo>
                  <a:lnTo>
                    <a:pt x="457" y="607"/>
                  </a:lnTo>
                  <a:lnTo>
                    <a:pt x="457" y="614"/>
                  </a:lnTo>
                  <a:lnTo>
                    <a:pt x="459" y="619"/>
                  </a:lnTo>
                  <a:lnTo>
                    <a:pt x="428" y="619"/>
                  </a:lnTo>
                  <a:lnTo>
                    <a:pt x="419" y="62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 name="Freeform 16"/>
            <p:cNvSpPr>
              <a:spLocks/>
            </p:cNvSpPr>
            <p:nvPr/>
          </p:nvSpPr>
          <p:spPr bwMode="gray">
            <a:xfrm>
              <a:off x="1699895" y="2020295"/>
              <a:ext cx="1104639" cy="924290"/>
            </a:xfrm>
            <a:custGeom>
              <a:avLst/>
              <a:gdLst/>
              <a:ahLst/>
              <a:cxnLst>
                <a:cxn ang="0">
                  <a:pos x="62" y="443"/>
                </a:cxn>
                <a:cxn ang="0">
                  <a:pos x="0" y="396"/>
                </a:cxn>
                <a:cxn ang="0">
                  <a:pos x="9" y="333"/>
                </a:cxn>
                <a:cxn ang="0">
                  <a:pos x="50" y="275"/>
                </a:cxn>
                <a:cxn ang="0">
                  <a:pos x="105" y="155"/>
                </a:cxn>
                <a:cxn ang="0">
                  <a:pos x="135" y="73"/>
                </a:cxn>
                <a:cxn ang="0">
                  <a:pos x="139" y="65"/>
                </a:cxn>
                <a:cxn ang="0">
                  <a:pos x="147" y="26"/>
                </a:cxn>
                <a:cxn ang="0">
                  <a:pos x="170" y="10"/>
                </a:cxn>
                <a:cxn ang="0">
                  <a:pos x="178" y="10"/>
                </a:cxn>
                <a:cxn ang="0">
                  <a:pos x="207" y="22"/>
                </a:cxn>
                <a:cxn ang="0">
                  <a:pos x="223" y="24"/>
                </a:cxn>
                <a:cxn ang="0">
                  <a:pos x="233" y="51"/>
                </a:cxn>
                <a:cxn ang="0">
                  <a:pos x="231" y="67"/>
                </a:cxn>
                <a:cxn ang="0">
                  <a:pos x="233" y="85"/>
                </a:cxn>
                <a:cxn ang="0">
                  <a:pos x="255" y="99"/>
                </a:cxn>
                <a:cxn ang="0">
                  <a:pos x="282" y="101"/>
                </a:cxn>
                <a:cxn ang="0">
                  <a:pos x="298" y="97"/>
                </a:cxn>
                <a:cxn ang="0">
                  <a:pos x="325" y="104"/>
                </a:cxn>
                <a:cxn ang="0">
                  <a:pos x="337" y="109"/>
                </a:cxn>
                <a:cxn ang="0">
                  <a:pos x="342" y="120"/>
                </a:cxn>
                <a:cxn ang="0">
                  <a:pos x="358" y="120"/>
                </a:cxn>
                <a:cxn ang="0">
                  <a:pos x="380" y="118"/>
                </a:cxn>
                <a:cxn ang="0">
                  <a:pos x="393" y="123"/>
                </a:cxn>
                <a:cxn ang="0">
                  <a:pos x="421" y="123"/>
                </a:cxn>
                <a:cxn ang="0">
                  <a:pos x="445" y="121"/>
                </a:cxn>
                <a:cxn ang="0">
                  <a:pos x="470" y="121"/>
                </a:cxn>
                <a:cxn ang="0">
                  <a:pos x="496" y="125"/>
                </a:cxn>
                <a:cxn ang="0">
                  <a:pos x="583" y="137"/>
                </a:cxn>
                <a:cxn ang="0">
                  <a:pos x="662" y="155"/>
                </a:cxn>
                <a:cxn ang="0">
                  <a:pos x="669" y="176"/>
                </a:cxn>
                <a:cxn ang="0">
                  <a:pos x="684" y="191"/>
                </a:cxn>
                <a:cxn ang="0">
                  <a:pos x="677" y="214"/>
                </a:cxn>
                <a:cxn ang="0">
                  <a:pos x="655" y="248"/>
                </a:cxn>
                <a:cxn ang="0">
                  <a:pos x="648" y="256"/>
                </a:cxn>
                <a:cxn ang="0">
                  <a:pos x="643" y="263"/>
                </a:cxn>
                <a:cxn ang="0">
                  <a:pos x="640" y="273"/>
                </a:cxn>
                <a:cxn ang="0">
                  <a:pos x="624" y="284"/>
                </a:cxn>
                <a:cxn ang="0">
                  <a:pos x="611" y="302"/>
                </a:cxn>
                <a:cxn ang="0">
                  <a:pos x="604" y="309"/>
                </a:cxn>
                <a:cxn ang="0">
                  <a:pos x="600" y="328"/>
                </a:cxn>
                <a:cxn ang="0">
                  <a:pos x="607" y="333"/>
                </a:cxn>
                <a:cxn ang="0">
                  <a:pos x="612" y="337"/>
                </a:cxn>
                <a:cxn ang="0">
                  <a:pos x="619" y="345"/>
                </a:cxn>
                <a:cxn ang="0">
                  <a:pos x="612" y="355"/>
                </a:cxn>
                <a:cxn ang="0">
                  <a:pos x="609" y="374"/>
                </a:cxn>
                <a:cxn ang="0">
                  <a:pos x="604" y="379"/>
                </a:cxn>
                <a:cxn ang="0">
                  <a:pos x="599" y="396"/>
                </a:cxn>
                <a:cxn ang="0">
                  <a:pos x="380" y="531"/>
                </a:cxn>
              </a:cxnLst>
              <a:rect l="0" t="0" r="r" b="b"/>
              <a:pathLst>
                <a:path w="686" h="574">
                  <a:moveTo>
                    <a:pt x="219" y="489"/>
                  </a:moveTo>
                  <a:lnTo>
                    <a:pt x="156" y="470"/>
                  </a:lnTo>
                  <a:lnTo>
                    <a:pt x="84" y="449"/>
                  </a:lnTo>
                  <a:lnTo>
                    <a:pt x="62" y="443"/>
                  </a:lnTo>
                  <a:lnTo>
                    <a:pt x="38" y="436"/>
                  </a:lnTo>
                  <a:lnTo>
                    <a:pt x="9" y="427"/>
                  </a:lnTo>
                  <a:lnTo>
                    <a:pt x="0" y="413"/>
                  </a:lnTo>
                  <a:lnTo>
                    <a:pt x="0" y="396"/>
                  </a:lnTo>
                  <a:lnTo>
                    <a:pt x="6" y="378"/>
                  </a:lnTo>
                  <a:lnTo>
                    <a:pt x="12" y="366"/>
                  </a:lnTo>
                  <a:lnTo>
                    <a:pt x="14" y="359"/>
                  </a:lnTo>
                  <a:lnTo>
                    <a:pt x="9" y="333"/>
                  </a:lnTo>
                  <a:lnTo>
                    <a:pt x="19" y="321"/>
                  </a:lnTo>
                  <a:lnTo>
                    <a:pt x="36" y="292"/>
                  </a:lnTo>
                  <a:lnTo>
                    <a:pt x="35" y="289"/>
                  </a:lnTo>
                  <a:lnTo>
                    <a:pt x="50" y="275"/>
                  </a:lnTo>
                  <a:lnTo>
                    <a:pt x="58" y="261"/>
                  </a:lnTo>
                  <a:lnTo>
                    <a:pt x="70" y="237"/>
                  </a:lnTo>
                  <a:lnTo>
                    <a:pt x="88" y="195"/>
                  </a:lnTo>
                  <a:lnTo>
                    <a:pt x="105" y="155"/>
                  </a:lnTo>
                  <a:lnTo>
                    <a:pt x="108" y="140"/>
                  </a:lnTo>
                  <a:lnTo>
                    <a:pt x="118" y="120"/>
                  </a:lnTo>
                  <a:lnTo>
                    <a:pt x="130" y="94"/>
                  </a:lnTo>
                  <a:lnTo>
                    <a:pt x="135" y="73"/>
                  </a:lnTo>
                  <a:lnTo>
                    <a:pt x="139" y="72"/>
                  </a:lnTo>
                  <a:lnTo>
                    <a:pt x="141" y="77"/>
                  </a:lnTo>
                  <a:lnTo>
                    <a:pt x="144" y="75"/>
                  </a:lnTo>
                  <a:lnTo>
                    <a:pt x="139" y="65"/>
                  </a:lnTo>
                  <a:lnTo>
                    <a:pt x="146" y="51"/>
                  </a:lnTo>
                  <a:lnTo>
                    <a:pt x="144" y="44"/>
                  </a:lnTo>
                  <a:lnTo>
                    <a:pt x="149" y="34"/>
                  </a:lnTo>
                  <a:lnTo>
                    <a:pt x="147" y="26"/>
                  </a:lnTo>
                  <a:lnTo>
                    <a:pt x="156" y="20"/>
                  </a:lnTo>
                  <a:lnTo>
                    <a:pt x="158" y="0"/>
                  </a:lnTo>
                  <a:lnTo>
                    <a:pt x="168" y="14"/>
                  </a:lnTo>
                  <a:lnTo>
                    <a:pt x="170" y="10"/>
                  </a:lnTo>
                  <a:lnTo>
                    <a:pt x="168" y="5"/>
                  </a:lnTo>
                  <a:lnTo>
                    <a:pt x="173" y="3"/>
                  </a:lnTo>
                  <a:lnTo>
                    <a:pt x="175" y="8"/>
                  </a:lnTo>
                  <a:lnTo>
                    <a:pt x="178" y="10"/>
                  </a:lnTo>
                  <a:lnTo>
                    <a:pt x="192" y="7"/>
                  </a:lnTo>
                  <a:lnTo>
                    <a:pt x="200" y="19"/>
                  </a:lnTo>
                  <a:lnTo>
                    <a:pt x="204" y="20"/>
                  </a:lnTo>
                  <a:lnTo>
                    <a:pt x="207" y="22"/>
                  </a:lnTo>
                  <a:lnTo>
                    <a:pt x="211" y="20"/>
                  </a:lnTo>
                  <a:lnTo>
                    <a:pt x="214" y="19"/>
                  </a:lnTo>
                  <a:lnTo>
                    <a:pt x="217" y="20"/>
                  </a:lnTo>
                  <a:lnTo>
                    <a:pt x="223" y="24"/>
                  </a:lnTo>
                  <a:lnTo>
                    <a:pt x="226" y="31"/>
                  </a:lnTo>
                  <a:lnTo>
                    <a:pt x="231" y="36"/>
                  </a:lnTo>
                  <a:lnTo>
                    <a:pt x="231" y="41"/>
                  </a:lnTo>
                  <a:lnTo>
                    <a:pt x="233" y="51"/>
                  </a:lnTo>
                  <a:lnTo>
                    <a:pt x="233" y="55"/>
                  </a:lnTo>
                  <a:lnTo>
                    <a:pt x="233" y="60"/>
                  </a:lnTo>
                  <a:lnTo>
                    <a:pt x="233" y="61"/>
                  </a:lnTo>
                  <a:lnTo>
                    <a:pt x="231" y="67"/>
                  </a:lnTo>
                  <a:lnTo>
                    <a:pt x="231" y="72"/>
                  </a:lnTo>
                  <a:lnTo>
                    <a:pt x="229" y="75"/>
                  </a:lnTo>
                  <a:lnTo>
                    <a:pt x="228" y="82"/>
                  </a:lnTo>
                  <a:lnTo>
                    <a:pt x="233" y="85"/>
                  </a:lnTo>
                  <a:lnTo>
                    <a:pt x="235" y="89"/>
                  </a:lnTo>
                  <a:lnTo>
                    <a:pt x="241" y="92"/>
                  </a:lnTo>
                  <a:lnTo>
                    <a:pt x="248" y="97"/>
                  </a:lnTo>
                  <a:lnTo>
                    <a:pt x="255" y="99"/>
                  </a:lnTo>
                  <a:lnTo>
                    <a:pt x="258" y="102"/>
                  </a:lnTo>
                  <a:lnTo>
                    <a:pt x="262" y="104"/>
                  </a:lnTo>
                  <a:lnTo>
                    <a:pt x="276" y="102"/>
                  </a:lnTo>
                  <a:lnTo>
                    <a:pt x="282" y="101"/>
                  </a:lnTo>
                  <a:lnTo>
                    <a:pt x="284" y="101"/>
                  </a:lnTo>
                  <a:lnTo>
                    <a:pt x="288" y="101"/>
                  </a:lnTo>
                  <a:lnTo>
                    <a:pt x="293" y="97"/>
                  </a:lnTo>
                  <a:lnTo>
                    <a:pt x="298" y="97"/>
                  </a:lnTo>
                  <a:lnTo>
                    <a:pt x="301" y="99"/>
                  </a:lnTo>
                  <a:lnTo>
                    <a:pt x="306" y="101"/>
                  </a:lnTo>
                  <a:lnTo>
                    <a:pt x="320" y="101"/>
                  </a:lnTo>
                  <a:lnTo>
                    <a:pt x="325" y="104"/>
                  </a:lnTo>
                  <a:lnTo>
                    <a:pt x="327" y="106"/>
                  </a:lnTo>
                  <a:lnTo>
                    <a:pt x="330" y="106"/>
                  </a:lnTo>
                  <a:lnTo>
                    <a:pt x="334" y="108"/>
                  </a:lnTo>
                  <a:lnTo>
                    <a:pt x="337" y="109"/>
                  </a:lnTo>
                  <a:lnTo>
                    <a:pt x="340" y="113"/>
                  </a:lnTo>
                  <a:lnTo>
                    <a:pt x="340" y="113"/>
                  </a:lnTo>
                  <a:lnTo>
                    <a:pt x="340" y="118"/>
                  </a:lnTo>
                  <a:lnTo>
                    <a:pt x="342" y="120"/>
                  </a:lnTo>
                  <a:lnTo>
                    <a:pt x="346" y="120"/>
                  </a:lnTo>
                  <a:lnTo>
                    <a:pt x="351" y="118"/>
                  </a:lnTo>
                  <a:lnTo>
                    <a:pt x="354" y="118"/>
                  </a:lnTo>
                  <a:lnTo>
                    <a:pt x="358" y="120"/>
                  </a:lnTo>
                  <a:lnTo>
                    <a:pt x="359" y="120"/>
                  </a:lnTo>
                  <a:lnTo>
                    <a:pt x="363" y="121"/>
                  </a:lnTo>
                  <a:lnTo>
                    <a:pt x="366" y="120"/>
                  </a:lnTo>
                  <a:lnTo>
                    <a:pt x="380" y="118"/>
                  </a:lnTo>
                  <a:lnTo>
                    <a:pt x="383" y="116"/>
                  </a:lnTo>
                  <a:lnTo>
                    <a:pt x="385" y="116"/>
                  </a:lnTo>
                  <a:lnTo>
                    <a:pt x="390" y="118"/>
                  </a:lnTo>
                  <a:lnTo>
                    <a:pt x="393" y="123"/>
                  </a:lnTo>
                  <a:lnTo>
                    <a:pt x="397" y="125"/>
                  </a:lnTo>
                  <a:lnTo>
                    <a:pt x="409" y="125"/>
                  </a:lnTo>
                  <a:lnTo>
                    <a:pt x="416" y="126"/>
                  </a:lnTo>
                  <a:lnTo>
                    <a:pt x="421" y="123"/>
                  </a:lnTo>
                  <a:lnTo>
                    <a:pt x="428" y="123"/>
                  </a:lnTo>
                  <a:lnTo>
                    <a:pt x="433" y="121"/>
                  </a:lnTo>
                  <a:lnTo>
                    <a:pt x="443" y="121"/>
                  </a:lnTo>
                  <a:lnTo>
                    <a:pt x="445" y="121"/>
                  </a:lnTo>
                  <a:lnTo>
                    <a:pt x="457" y="123"/>
                  </a:lnTo>
                  <a:lnTo>
                    <a:pt x="462" y="118"/>
                  </a:lnTo>
                  <a:lnTo>
                    <a:pt x="465" y="118"/>
                  </a:lnTo>
                  <a:lnTo>
                    <a:pt x="470" y="121"/>
                  </a:lnTo>
                  <a:lnTo>
                    <a:pt x="476" y="120"/>
                  </a:lnTo>
                  <a:lnTo>
                    <a:pt x="481" y="121"/>
                  </a:lnTo>
                  <a:lnTo>
                    <a:pt x="486" y="121"/>
                  </a:lnTo>
                  <a:lnTo>
                    <a:pt x="496" y="125"/>
                  </a:lnTo>
                  <a:lnTo>
                    <a:pt x="498" y="125"/>
                  </a:lnTo>
                  <a:lnTo>
                    <a:pt x="506" y="123"/>
                  </a:lnTo>
                  <a:lnTo>
                    <a:pt x="511" y="120"/>
                  </a:lnTo>
                  <a:lnTo>
                    <a:pt x="583" y="137"/>
                  </a:lnTo>
                  <a:lnTo>
                    <a:pt x="585" y="137"/>
                  </a:lnTo>
                  <a:lnTo>
                    <a:pt x="612" y="143"/>
                  </a:lnTo>
                  <a:lnTo>
                    <a:pt x="621" y="145"/>
                  </a:lnTo>
                  <a:lnTo>
                    <a:pt x="662" y="155"/>
                  </a:lnTo>
                  <a:lnTo>
                    <a:pt x="664" y="157"/>
                  </a:lnTo>
                  <a:lnTo>
                    <a:pt x="664" y="166"/>
                  </a:lnTo>
                  <a:lnTo>
                    <a:pt x="667" y="173"/>
                  </a:lnTo>
                  <a:lnTo>
                    <a:pt x="669" y="176"/>
                  </a:lnTo>
                  <a:lnTo>
                    <a:pt x="674" y="178"/>
                  </a:lnTo>
                  <a:lnTo>
                    <a:pt x="675" y="183"/>
                  </a:lnTo>
                  <a:lnTo>
                    <a:pt x="682" y="188"/>
                  </a:lnTo>
                  <a:lnTo>
                    <a:pt x="684" y="191"/>
                  </a:lnTo>
                  <a:lnTo>
                    <a:pt x="684" y="196"/>
                  </a:lnTo>
                  <a:lnTo>
                    <a:pt x="686" y="203"/>
                  </a:lnTo>
                  <a:lnTo>
                    <a:pt x="684" y="207"/>
                  </a:lnTo>
                  <a:lnTo>
                    <a:pt x="677" y="214"/>
                  </a:lnTo>
                  <a:lnTo>
                    <a:pt x="675" y="217"/>
                  </a:lnTo>
                  <a:lnTo>
                    <a:pt x="665" y="229"/>
                  </a:lnTo>
                  <a:lnTo>
                    <a:pt x="662" y="236"/>
                  </a:lnTo>
                  <a:lnTo>
                    <a:pt x="655" y="248"/>
                  </a:lnTo>
                  <a:lnTo>
                    <a:pt x="653" y="251"/>
                  </a:lnTo>
                  <a:lnTo>
                    <a:pt x="652" y="251"/>
                  </a:lnTo>
                  <a:lnTo>
                    <a:pt x="650" y="255"/>
                  </a:lnTo>
                  <a:lnTo>
                    <a:pt x="648" y="256"/>
                  </a:lnTo>
                  <a:lnTo>
                    <a:pt x="643" y="258"/>
                  </a:lnTo>
                  <a:lnTo>
                    <a:pt x="643" y="261"/>
                  </a:lnTo>
                  <a:lnTo>
                    <a:pt x="643" y="263"/>
                  </a:lnTo>
                  <a:lnTo>
                    <a:pt x="643" y="263"/>
                  </a:lnTo>
                  <a:lnTo>
                    <a:pt x="645" y="263"/>
                  </a:lnTo>
                  <a:lnTo>
                    <a:pt x="643" y="265"/>
                  </a:lnTo>
                  <a:lnTo>
                    <a:pt x="643" y="270"/>
                  </a:lnTo>
                  <a:lnTo>
                    <a:pt x="640" y="273"/>
                  </a:lnTo>
                  <a:lnTo>
                    <a:pt x="636" y="275"/>
                  </a:lnTo>
                  <a:lnTo>
                    <a:pt x="634" y="277"/>
                  </a:lnTo>
                  <a:lnTo>
                    <a:pt x="631" y="282"/>
                  </a:lnTo>
                  <a:lnTo>
                    <a:pt x="624" y="284"/>
                  </a:lnTo>
                  <a:lnTo>
                    <a:pt x="621" y="289"/>
                  </a:lnTo>
                  <a:lnTo>
                    <a:pt x="619" y="289"/>
                  </a:lnTo>
                  <a:lnTo>
                    <a:pt x="612" y="301"/>
                  </a:lnTo>
                  <a:lnTo>
                    <a:pt x="611" y="302"/>
                  </a:lnTo>
                  <a:lnTo>
                    <a:pt x="611" y="304"/>
                  </a:lnTo>
                  <a:lnTo>
                    <a:pt x="607" y="306"/>
                  </a:lnTo>
                  <a:lnTo>
                    <a:pt x="605" y="309"/>
                  </a:lnTo>
                  <a:lnTo>
                    <a:pt x="604" y="309"/>
                  </a:lnTo>
                  <a:lnTo>
                    <a:pt x="602" y="314"/>
                  </a:lnTo>
                  <a:lnTo>
                    <a:pt x="600" y="318"/>
                  </a:lnTo>
                  <a:lnTo>
                    <a:pt x="602" y="325"/>
                  </a:lnTo>
                  <a:lnTo>
                    <a:pt x="600" y="328"/>
                  </a:lnTo>
                  <a:lnTo>
                    <a:pt x="600" y="330"/>
                  </a:lnTo>
                  <a:lnTo>
                    <a:pt x="602" y="333"/>
                  </a:lnTo>
                  <a:lnTo>
                    <a:pt x="604" y="335"/>
                  </a:lnTo>
                  <a:lnTo>
                    <a:pt x="607" y="333"/>
                  </a:lnTo>
                  <a:lnTo>
                    <a:pt x="607" y="333"/>
                  </a:lnTo>
                  <a:lnTo>
                    <a:pt x="609" y="337"/>
                  </a:lnTo>
                  <a:lnTo>
                    <a:pt x="611" y="338"/>
                  </a:lnTo>
                  <a:lnTo>
                    <a:pt x="612" y="337"/>
                  </a:lnTo>
                  <a:lnTo>
                    <a:pt x="616" y="337"/>
                  </a:lnTo>
                  <a:lnTo>
                    <a:pt x="616" y="340"/>
                  </a:lnTo>
                  <a:lnTo>
                    <a:pt x="616" y="342"/>
                  </a:lnTo>
                  <a:lnTo>
                    <a:pt x="619" y="345"/>
                  </a:lnTo>
                  <a:lnTo>
                    <a:pt x="619" y="349"/>
                  </a:lnTo>
                  <a:lnTo>
                    <a:pt x="616" y="354"/>
                  </a:lnTo>
                  <a:lnTo>
                    <a:pt x="614" y="354"/>
                  </a:lnTo>
                  <a:lnTo>
                    <a:pt x="612" y="355"/>
                  </a:lnTo>
                  <a:lnTo>
                    <a:pt x="614" y="362"/>
                  </a:lnTo>
                  <a:lnTo>
                    <a:pt x="611" y="367"/>
                  </a:lnTo>
                  <a:lnTo>
                    <a:pt x="611" y="371"/>
                  </a:lnTo>
                  <a:lnTo>
                    <a:pt x="609" y="374"/>
                  </a:lnTo>
                  <a:lnTo>
                    <a:pt x="607" y="376"/>
                  </a:lnTo>
                  <a:lnTo>
                    <a:pt x="607" y="378"/>
                  </a:lnTo>
                  <a:lnTo>
                    <a:pt x="604" y="378"/>
                  </a:lnTo>
                  <a:lnTo>
                    <a:pt x="604" y="379"/>
                  </a:lnTo>
                  <a:lnTo>
                    <a:pt x="602" y="381"/>
                  </a:lnTo>
                  <a:lnTo>
                    <a:pt x="602" y="383"/>
                  </a:lnTo>
                  <a:lnTo>
                    <a:pt x="602" y="388"/>
                  </a:lnTo>
                  <a:lnTo>
                    <a:pt x="599" y="396"/>
                  </a:lnTo>
                  <a:lnTo>
                    <a:pt x="559" y="574"/>
                  </a:lnTo>
                  <a:lnTo>
                    <a:pt x="470" y="552"/>
                  </a:lnTo>
                  <a:lnTo>
                    <a:pt x="383" y="531"/>
                  </a:lnTo>
                  <a:lnTo>
                    <a:pt x="380" y="531"/>
                  </a:lnTo>
                  <a:lnTo>
                    <a:pt x="330" y="518"/>
                  </a:lnTo>
                  <a:lnTo>
                    <a:pt x="264" y="501"/>
                  </a:lnTo>
                  <a:lnTo>
                    <a:pt x="219" y="489"/>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8" name="Freeform 17"/>
            <p:cNvSpPr>
              <a:spLocks/>
            </p:cNvSpPr>
            <p:nvPr/>
          </p:nvSpPr>
          <p:spPr bwMode="gray">
            <a:xfrm>
              <a:off x="8184418" y="2269886"/>
              <a:ext cx="220606" cy="476638"/>
            </a:xfrm>
            <a:custGeom>
              <a:avLst/>
              <a:gdLst/>
              <a:ahLst/>
              <a:cxnLst>
                <a:cxn ang="0">
                  <a:pos x="17" y="296"/>
                </a:cxn>
                <a:cxn ang="0">
                  <a:pos x="14" y="293"/>
                </a:cxn>
                <a:cxn ang="0">
                  <a:pos x="10" y="289"/>
                </a:cxn>
                <a:cxn ang="0">
                  <a:pos x="5" y="282"/>
                </a:cxn>
                <a:cxn ang="0">
                  <a:pos x="5" y="274"/>
                </a:cxn>
                <a:cxn ang="0">
                  <a:pos x="9" y="270"/>
                </a:cxn>
                <a:cxn ang="0">
                  <a:pos x="7" y="262"/>
                </a:cxn>
                <a:cxn ang="0">
                  <a:pos x="7" y="255"/>
                </a:cxn>
                <a:cxn ang="0">
                  <a:pos x="5" y="241"/>
                </a:cxn>
                <a:cxn ang="0">
                  <a:pos x="3" y="233"/>
                </a:cxn>
                <a:cxn ang="0">
                  <a:pos x="2" y="226"/>
                </a:cxn>
                <a:cxn ang="0">
                  <a:pos x="2" y="214"/>
                </a:cxn>
                <a:cxn ang="0">
                  <a:pos x="0" y="206"/>
                </a:cxn>
                <a:cxn ang="0">
                  <a:pos x="2" y="192"/>
                </a:cxn>
                <a:cxn ang="0">
                  <a:pos x="7" y="183"/>
                </a:cxn>
                <a:cxn ang="0">
                  <a:pos x="9" y="178"/>
                </a:cxn>
                <a:cxn ang="0">
                  <a:pos x="10" y="166"/>
                </a:cxn>
                <a:cxn ang="0">
                  <a:pos x="10" y="159"/>
                </a:cxn>
                <a:cxn ang="0">
                  <a:pos x="9" y="158"/>
                </a:cxn>
                <a:cxn ang="0">
                  <a:pos x="10" y="153"/>
                </a:cxn>
                <a:cxn ang="0">
                  <a:pos x="12" y="144"/>
                </a:cxn>
                <a:cxn ang="0">
                  <a:pos x="10" y="142"/>
                </a:cxn>
                <a:cxn ang="0">
                  <a:pos x="7" y="135"/>
                </a:cxn>
                <a:cxn ang="0">
                  <a:pos x="5" y="127"/>
                </a:cxn>
                <a:cxn ang="0">
                  <a:pos x="9" y="120"/>
                </a:cxn>
                <a:cxn ang="0">
                  <a:pos x="14" y="117"/>
                </a:cxn>
                <a:cxn ang="0">
                  <a:pos x="21" y="113"/>
                </a:cxn>
                <a:cxn ang="0">
                  <a:pos x="24" y="108"/>
                </a:cxn>
                <a:cxn ang="0">
                  <a:pos x="31" y="101"/>
                </a:cxn>
                <a:cxn ang="0">
                  <a:pos x="31" y="98"/>
                </a:cxn>
                <a:cxn ang="0">
                  <a:pos x="34" y="94"/>
                </a:cxn>
                <a:cxn ang="0">
                  <a:pos x="32" y="89"/>
                </a:cxn>
                <a:cxn ang="0">
                  <a:pos x="36" y="84"/>
                </a:cxn>
                <a:cxn ang="0">
                  <a:pos x="31" y="79"/>
                </a:cxn>
                <a:cxn ang="0">
                  <a:pos x="27" y="76"/>
                </a:cxn>
                <a:cxn ang="0">
                  <a:pos x="26" y="65"/>
                </a:cxn>
                <a:cxn ang="0">
                  <a:pos x="29" y="50"/>
                </a:cxn>
                <a:cxn ang="0">
                  <a:pos x="24" y="43"/>
                </a:cxn>
                <a:cxn ang="0">
                  <a:pos x="24" y="35"/>
                </a:cxn>
                <a:cxn ang="0">
                  <a:pos x="27" y="18"/>
                </a:cxn>
                <a:cxn ang="0">
                  <a:pos x="29" y="14"/>
                </a:cxn>
                <a:cxn ang="0">
                  <a:pos x="46" y="9"/>
                </a:cxn>
                <a:cxn ang="0">
                  <a:pos x="70" y="65"/>
                </a:cxn>
                <a:cxn ang="0">
                  <a:pos x="97" y="156"/>
                </a:cxn>
                <a:cxn ang="0">
                  <a:pos x="106" y="178"/>
                </a:cxn>
                <a:cxn ang="0">
                  <a:pos x="108" y="182"/>
                </a:cxn>
                <a:cxn ang="0">
                  <a:pos x="108" y="188"/>
                </a:cxn>
                <a:cxn ang="0">
                  <a:pos x="109" y="197"/>
                </a:cxn>
                <a:cxn ang="0">
                  <a:pos x="118" y="206"/>
                </a:cxn>
                <a:cxn ang="0">
                  <a:pos x="126" y="209"/>
                </a:cxn>
                <a:cxn ang="0">
                  <a:pos x="130" y="221"/>
                </a:cxn>
                <a:cxn ang="0">
                  <a:pos x="126" y="224"/>
                </a:cxn>
                <a:cxn ang="0">
                  <a:pos x="126" y="229"/>
                </a:cxn>
                <a:cxn ang="0">
                  <a:pos x="137" y="226"/>
                </a:cxn>
                <a:cxn ang="0">
                  <a:pos x="135" y="250"/>
                </a:cxn>
                <a:cxn ang="0">
                  <a:pos x="128" y="248"/>
                </a:cxn>
                <a:cxn ang="0">
                  <a:pos x="120" y="260"/>
                </a:cxn>
                <a:cxn ang="0">
                  <a:pos x="111" y="262"/>
                </a:cxn>
                <a:cxn ang="0">
                  <a:pos x="108" y="269"/>
                </a:cxn>
                <a:cxn ang="0">
                  <a:pos x="106" y="276"/>
                </a:cxn>
                <a:cxn ang="0">
                  <a:pos x="56" y="288"/>
                </a:cxn>
              </a:cxnLst>
              <a:rect l="0" t="0" r="r" b="b"/>
              <a:pathLst>
                <a:path w="137" h="296">
                  <a:moveTo>
                    <a:pt x="29" y="293"/>
                  </a:moveTo>
                  <a:lnTo>
                    <a:pt x="17" y="296"/>
                  </a:lnTo>
                  <a:lnTo>
                    <a:pt x="15" y="293"/>
                  </a:lnTo>
                  <a:lnTo>
                    <a:pt x="14" y="293"/>
                  </a:lnTo>
                  <a:lnTo>
                    <a:pt x="12" y="293"/>
                  </a:lnTo>
                  <a:lnTo>
                    <a:pt x="10" y="289"/>
                  </a:lnTo>
                  <a:lnTo>
                    <a:pt x="9" y="289"/>
                  </a:lnTo>
                  <a:lnTo>
                    <a:pt x="5" y="282"/>
                  </a:lnTo>
                  <a:lnTo>
                    <a:pt x="7" y="277"/>
                  </a:lnTo>
                  <a:lnTo>
                    <a:pt x="5" y="274"/>
                  </a:lnTo>
                  <a:lnTo>
                    <a:pt x="7" y="272"/>
                  </a:lnTo>
                  <a:lnTo>
                    <a:pt x="9" y="270"/>
                  </a:lnTo>
                  <a:lnTo>
                    <a:pt x="9" y="267"/>
                  </a:lnTo>
                  <a:lnTo>
                    <a:pt x="7" y="262"/>
                  </a:lnTo>
                  <a:lnTo>
                    <a:pt x="9" y="258"/>
                  </a:lnTo>
                  <a:lnTo>
                    <a:pt x="7" y="255"/>
                  </a:lnTo>
                  <a:lnTo>
                    <a:pt x="5" y="250"/>
                  </a:lnTo>
                  <a:lnTo>
                    <a:pt x="5" y="241"/>
                  </a:lnTo>
                  <a:lnTo>
                    <a:pt x="5" y="233"/>
                  </a:lnTo>
                  <a:lnTo>
                    <a:pt x="3" y="233"/>
                  </a:lnTo>
                  <a:lnTo>
                    <a:pt x="3" y="229"/>
                  </a:lnTo>
                  <a:lnTo>
                    <a:pt x="2" y="226"/>
                  </a:lnTo>
                  <a:lnTo>
                    <a:pt x="3" y="223"/>
                  </a:lnTo>
                  <a:lnTo>
                    <a:pt x="2" y="214"/>
                  </a:lnTo>
                  <a:lnTo>
                    <a:pt x="0" y="212"/>
                  </a:lnTo>
                  <a:lnTo>
                    <a:pt x="0" y="206"/>
                  </a:lnTo>
                  <a:lnTo>
                    <a:pt x="2" y="202"/>
                  </a:lnTo>
                  <a:lnTo>
                    <a:pt x="2" y="192"/>
                  </a:lnTo>
                  <a:lnTo>
                    <a:pt x="5" y="187"/>
                  </a:lnTo>
                  <a:lnTo>
                    <a:pt x="7" y="183"/>
                  </a:lnTo>
                  <a:lnTo>
                    <a:pt x="7" y="182"/>
                  </a:lnTo>
                  <a:lnTo>
                    <a:pt x="9" y="178"/>
                  </a:lnTo>
                  <a:lnTo>
                    <a:pt x="7" y="170"/>
                  </a:lnTo>
                  <a:lnTo>
                    <a:pt x="10" y="166"/>
                  </a:lnTo>
                  <a:lnTo>
                    <a:pt x="10" y="163"/>
                  </a:lnTo>
                  <a:lnTo>
                    <a:pt x="10" y="159"/>
                  </a:lnTo>
                  <a:lnTo>
                    <a:pt x="9" y="158"/>
                  </a:lnTo>
                  <a:lnTo>
                    <a:pt x="9" y="158"/>
                  </a:lnTo>
                  <a:lnTo>
                    <a:pt x="10" y="154"/>
                  </a:lnTo>
                  <a:lnTo>
                    <a:pt x="10" y="153"/>
                  </a:lnTo>
                  <a:lnTo>
                    <a:pt x="12" y="146"/>
                  </a:lnTo>
                  <a:lnTo>
                    <a:pt x="12" y="144"/>
                  </a:lnTo>
                  <a:lnTo>
                    <a:pt x="10" y="144"/>
                  </a:lnTo>
                  <a:lnTo>
                    <a:pt x="10" y="142"/>
                  </a:lnTo>
                  <a:lnTo>
                    <a:pt x="9" y="139"/>
                  </a:lnTo>
                  <a:lnTo>
                    <a:pt x="7" y="135"/>
                  </a:lnTo>
                  <a:lnTo>
                    <a:pt x="7" y="130"/>
                  </a:lnTo>
                  <a:lnTo>
                    <a:pt x="5" y="127"/>
                  </a:lnTo>
                  <a:lnTo>
                    <a:pt x="5" y="123"/>
                  </a:lnTo>
                  <a:lnTo>
                    <a:pt x="9" y="120"/>
                  </a:lnTo>
                  <a:lnTo>
                    <a:pt x="12" y="118"/>
                  </a:lnTo>
                  <a:lnTo>
                    <a:pt x="14" y="117"/>
                  </a:lnTo>
                  <a:lnTo>
                    <a:pt x="21" y="115"/>
                  </a:lnTo>
                  <a:lnTo>
                    <a:pt x="21" y="113"/>
                  </a:lnTo>
                  <a:lnTo>
                    <a:pt x="21" y="110"/>
                  </a:lnTo>
                  <a:lnTo>
                    <a:pt x="24" y="108"/>
                  </a:lnTo>
                  <a:lnTo>
                    <a:pt x="29" y="103"/>
                  </a:lnTo>
                  <a:lnTo>
                    <a:pt x="31" y="101"/>
                  </a:lnTo>
                  <a:lnTo>
                    <a:pt x="31" y="98"/>
                  </a:lnTo>
                  <a:lnTo>
                    <a:pt x="31" y="98"/>
                  </a:lnTo>
                  <a:lnTo>
                    <a:pt x="32" y="96"/>
                  </a:lnTo>
                  <a:lnTo>
                    <a:pt x="34" y="94"/>
                  </a:lnTo>
                  <a:lnTo>
                    <a:pt x="34" y="91"/>
                  </a:lnTo>
                  <a:lnTo>
                    <a:pt x="32" y="89"/>
                  </a:lnTo>
                  <a:lnTo>
                    <a:pt x="32" y="89"/>
                  </a:lnTo>
                  <a:lnTo>
                    <a:pt x="36" y="84"/>
                  </a:lnTo>
                  <a:lnTo>
                    <a:pt x="34" y="82"/>
                  </a:lnTo>
                  <a:lnTo>
                    <a:pt x="31" y="79"/>
                  </a:lnTo>
                  <a:lnTo>
                    <a:pt x="29" y="77"/>
                  </a:lnTo>
                  <a:lnTo>
                    <a:pt x="27" y="76"/>
                  </a:lnTo>
                  <a:lnTo>
                    <a:pt x="24" y="69"/>
                  </a:lnTo>
                  <a:lnTo>
                    <a:pt x="26" y="65"/>
                  </a:lnTo>
                  <a:lnTo>
                    <a:pt x="26" y="60"/>
                  </a:lnTo>
                  <a:lnTo>
                    <a:pt x="29" y="50"/>
                  </a:lnTo>
                  <a:lnTo>
                    <a:pt x="27" y="47"/>
                  </a:lnTo>
                  <a:lnTo>
                    <a:pt x="24" y="43"/>
                  </a:lnTo>
                  <a:lnTo>
                    <a:pt x="26" y="40"/>
                  </a:lnTo>
                  <a:lnTo>
                    <a:pt x="24" y="35"/>
                  </a:lnTo>
                  <a:lnTo>
                    <a:pt x="29" y="26"/>
                  </a:lnTo>
                  <a:lnTo>
                    <a:pt x="27" y="18"/>
                  </a:lnTo>
                  <a:lnTo>
                    <a:pt x="24" y="14"/>
                  </a:lnTo>
                  <a:lnTo>
                    <a:pt x="29" y="14"/>
                  </a:lnTo>
                  <a:lnTo>
                    <a:pt x="34" y="6"/>
                  </a:lnTo>
                  <a:lnTo>
                    <a:pt x="46" y="9"/>
                  </a:lnTo>
                  <a:lnTo>
                    <a:pt x="48" y="0"/>
                  </a:lnTo>
                  <a:lnTo>
                    <a:pt x="70" y="65"/>
                  </a:lnTo>
                  <a:lnTo>
                    <a:pt x="82" y="105"/>
                  </a:lnTo>
                  <a:lnTo>
                    <a:pt x="97" y="156"/>
                  </a:lnTo>
                  <a:lnTo>
                    <a:pt x="104" y="178"/>
                  </a:lnTo>
                  <a:lnTo>
                    <a:pt x="106" y="178"/>
                  </a:lnTo>
                  <a:lnTo>
                    <a:pt x="108" y="180"/>
                  </a:lnTo>
                  <a:lnTo>
                    <a:pt x="108" y="182"/>
                  </a:lnTo>
                  <a:lnTo>
                    <a:pt x="108" y="183"/>
                  </a:lnTo>
                  <a:lnTo>
                    <a:pt x="108" y="188"/>
                  </a:lnTo>
                  <a:lnTo>
                    <a:pt x="109" y="192"/>
                  </a:lnTo>
                  <a:lnTo>
                    <a:pt x="109" y="197"/>
                  </a:lnTo>
                  <a:lnTo>
                    <a:pt x="111" y="199"/>
                  </a:lnTo>
                  <a:lnTo>
                    <a:pt x="118" y="206"/>
                  </a:lnTo>
                  <a:lnTo>
                    <a:pt x="118" y="207"/>
                  </a:lnTo>
                  <a:lnTo>
                    <a:pt x="126" y="209"/>
                  </a:lnTo>
                  <a:lnTo>
                    <a:pt x="128" y="217"/>
                  </a:lnTo>
                  <a:lnTo>
                    <a:pt x="130" y="221"/>
                  </a:lnTo>
                  <a:lnTo>
                    <a:pt x="125" y="223"/>
                  </a:lnTo>
                  <a:lnTo>
                    <a:pt x="126" y="224"/>
                  </a:lnTo>
                  <a:lnTo>
                    <a:pt x="125" y="228"/>
                  </a:lnTo>
                  <a:lnTo>
                    <a:pt x="126" y="229"/>
                  </a:lnTo>
                  <a:lnTo>
                    <a:pt x="132" y="224"/>
                  </a:lnTo>
                  <a:lnTo>
                    <a:pt x="137" y="226"/>
                  </a:lnTo>
                  <a:lnTo>
                    <a:pt x="137" y="248"/>
                  </a:lnTo>
                  <a:lnTo>
                    <a:pt x="135" y="250"/>
                  </a:lnTo>
                  <a:lnTo>
                    <a:pt x="130" y="248"/>
                  </a:lnTo>
                  <a:lnTo>
                    <a:pt x="128" y="248"/>
                  </a:lnTo>
                  <a:lnTo>
                    <a:pt x="121" y="253"/>
                  </a:lnTo>
                  <a:lnTo>
                    <a:pt x="120" y="260"/>
                  </a:lnTo>
                  <a:lnTo>
                    <a:pt x="115" y="260"/>
                  </a:lnTo>
                  <a:lnTo>
                    <a:pt x="111" y="262"/>
                  </a:lnTo>
                  <a:lnTo>
                    <a:pt x="113" y="269"/>
                  </a:lnTo>
                  <a:lnTo>
                    <a:pt x="108" y="269"/>
                  </a:lnTo>
                  <a:lnTo>
                    <a:pt x="108" y="272"/>
                  </a:lnTo>
                  <a:lnTo>
                    <a:pt x="106" y="276"/>
                  </a:lnTo>
                  <a:lnTo>
                    <a:pt x="60" y="288"/>
                  </a:lnTo>
                  <a:lnTo>
                    <a:pt x="56" y="288"/>
                  </a:lnTo>
                  <a:lnTo>
                    <a:pt x="29" y="293"/>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9" name="Freeform 18"/>
            <p:cNvSpPr>
              <a:spLocks/>
            </p:cNvSpPr>
            <p:nvPr/>
          </p:nvSpPr>
          <p:spPr bwMode="gray">
            <a:xfrm>
              <a:off x="5184501" y="2963908"/>
              <a:ext cx="829285" cy="542659"/>
            </a:xfrm>
            <a:custGeom>
              <a:avLst/>
              <a:gdLst/>
              <a:ahLst/>
              <a:cxnLst>
                <a:cxn ang="0">
                  <a:pos x="436" y="308"/>
                </a:cxn>
                <a:cxn ang="0">
                  <a:pos x="421" y="318"/>
                </a:cxn>
                <a:cxn ang="0">
                  <a:pos x="426" y="333"/>
                </a:cxn>
                <a:cxn ang="0">
                  <a:pos x="417" y="335"/>
                </a:cxn>
                <a:cxn ang="0">
                  <a:pos x="412" y="332"/>
                </a:cxn>
                <a:cxn ang="0">
                  <a:pos x="407" y="326"/>
                </a:cxn>
                <a:cxn ang="0">
                  <a:pos x="398" y="316"/>
                </a:cxn>
                <a:cxn ang="0">
                  <a:pos x="357" y="315"/>
                </a:cxn>
                <a:cxn ang="0">
                  <a:pos x="284" y="320"/>
                </a:cxn>
                <a:cxn ang="0">
                  <a:pos x="210" y="323"/>
                </a:cxn>
                <a:cxn ang="0">
                  <a:pos x="137" y="323"/>
                </a:cxn>
                <a:cxn ang="0">
                  <a:pos x="70" y="320"/>
                </a:cxn>
                <a:cxn ang="0">
                  <a:pos x="62" y="294"/>
                </a:cxn>
                <a:cxn ang="0">
                  <a:pos x="62" y="279"/>
                </a:cxn>
                <a:cxn ang="0">
                  <a:pos x="60" y="260"/>
                </a:cxn>
                <a:cxn ang="0">
                  <a:pos x="57" y="256"/>
                </a:cxn>
                <a:cxn ang="0">
                  <a:pos x="58" y="248"/>
                </a:cxn>
                <a:cxn ang="0">
                  <a:pos x="55" y="229"/>
                </a:cxn>
                <a:cxn ang="0">
                  <a:pos x="50" y="224"/>
                </a:cxn>
                <a:cxn ang="0">
                  <a:pos x="43" y="221"/>
                </a:cxn>
                <a:cxn ang="0">
                  <a:pos x="43" y="207"/>
                </a:cxn>
                <a:cxn ang="0">
                  <a:pos x="41" y="200"/>
                </a:cxn>
                <a:cxn ang="0">
                  <a:pos x="38" y="181"/>
                </a:cxn>
                <a:cxn ang="0">
                  <a:pos x="34" y="171"/>
                </a:cxn>
                <a:cxn ang="0">
                  <a:pos x="27" y="157"/>
                </a:cxn>
                <a:cxn ang="0">
                  <a:pos x="24" y="142"/>
                </a:cxn>
                <a:cxn ang="0">
                  <a:pos x="17" y="133"/>
                </a:cxn>
                <a:cxn ang="0">
                  <a:pos x="19" y="120"/>
                </a:cxn>
                <a:cxn ang="0">
                  <a:pos x="10" y="108"/>
                </a:cxn>
                <a:cxn ang="0">
                  <a:pos x="5" y="97"/>
                </a:cxn>
                <a:cxn ang="0">
                  <a:pos x="4" y="84"/>
                </a:cxn>
                <a:cxn ang="0">
                  <a:pos x="9" y="74"/>
                </a:cxn>
                <a:cxn ang="0">
                  <a:pos x="10" y="62"/>
                </a:cxn>
                <a:cxn ang="0">
                  <a:pos x="14" y="53"/>
                </a:cxn>
                <a:cxn ang="0">
                  <a:pos x="7" y="38"/>
                </a:cxn>
                <a:cxn ang="0">
                  <a:pos x="5" y="31"/>
                </a:cxn>
                <a:cxn ang="0">
                  <a:pos x="7" y="19"/>
                </a:cxn>
                <a:cxn ang="0">
                  <a:pos x="14" y="9"/>
                </a:cxn>
                <a:cxn ang="0">
                  <a:pos x="98" y="9"/>
                </a:cxn>
                <a:cxn ang="0">
                  <a:pos x="186" y="7"/>
                </a:cxn>
                <a:cxn ang="0">
                  <a:pos x="279" y="5"/>
                </a:cxn>
                <a:cxn ang="0">
                  <a:pos x="354" y="2"/>
                </a:cxn>
                <a:cxn ang="0">
                  <a:pos x="421" y="3"/>
                </a:cxn>
                <a:cxn ang="0">
                  <a:pos x="433" y="19"/>
                </a:cxn>
                <a:cxn ang="0">
                  <a:pos x="427" y="45"/>
                </a:cxn>
                <a:cxn ang="0">
                  <a:pos x="434" y="67"/>
                </a:cxn>
                <a:cxn ang="0">
                  <a:pos x="450" y="86"/>
                </a:cxn>
                <a:cxn ang="0">
                  <a:pos x="470" y="97"/>
                </a:cxn>
                <a:cxn ang="0">
                  <a:pos x="470" y="106"/>
                </a:cxn>
                <a:cxn ang="0">
                  <a:pos x="484" y="116"/>
                </a:cxn>
                <a:cxn ang="0">
                  <a:pos x="492" y="132"/>
                </a:cxn>
                <a:cxn ang="0">
                  <a:pos x="509" y="144"/>
                </a:cxn>
                <a:cxn ang="0">
                  <a:pos x="513" y="152"/>
                </a:cxn>
                <a:cxn ang="0">
                  <a:pos x="506" y="180"/>
                </a:cxn>
                <a:cxn ang="0">
                  <a:pos x="501" y="200"/>
                </a:cxn>
                <a:cxn ang="0">
                  <a:pos x="492" y="209"/>
                </a:cxn>
                <a:cxn ang="0">
                  <a:pos x="474" y="217"/>
                </a:cxn>
                <a:cxn ang="0">
                  <a:pos x="450" y="221"/>
                </a:cxn>
                <a:cxn ang="0">
                  <a:pos x="443" y="239"/>
                </a:cxn>
                <a:cxn ang="0">
                  <a:pos x="451" y="251"/>
                </a:cxn>
                <a:cxn ang="0">
                  <a:pos x="453" y="275"/>
                </a:cxn>
                <a:cxn ang="0">
                  <a:pos x="444" y="301"/>
                </a:cxn>
              </a:cxnLst>
              <a:rect l="0" t="0" r="r" b="b"/>
              <a:pathLst>
                <a:path w="515" h="337">
                  <a:moveTo>
                    <a:pt x="444" y="301"/>
                  </a:moveTo>
                  <a:lnTo>
                    <a:pt x="443" y="303"/>
                  </a:lnTo>
                  <a:lnTo>
                    <a:pt x="441" y="306"/>
                  </a:lnTo>
                  <a:lnTo>
                    <a:pt x="436" y="308"/>
                  </a:lnTo>
                  <a:lnTo>
                    <a:pt x="433" y="308"/>
                  </a:lnTo>
                  <a:lnTo>
                    <a:pt x="424" y="313"/>
                  </a:lnTo>
                  <a:lnTo>
                    <a:pt x="421" y="316"/>
                  </a:lnTo>
                  <a:lnTo>
                    <a:pt x="421" y="318"/>
                  </a:lnTo>
                  <a:lnTo>
                    <a:pt x="424" y="320"/>
                  </a:lnTo>
                  <a:lnTo>
                    <a:pt x="424" y="323"/>
                  </a:lnTo>
                  <a:lnTo>
                    <a:pt x="424" y="328"/>
                  </a:lnTo>
                  <a:lnTo>
                    <a:pt x="426" y="333"/>
                  </a:lnTo>
                  <a:lnTo>
                    <a:pt x="424" y="335"/>
                  </a:lnTo>
                  <a:lnTo>
                    <a:pt x="422" y="335"/>
                  </a:lnTo>
                  <a:lnTo>
                    <a:pt x="419" y="337"/>
                  </a:lnTo>
                  <a:lnTo>
                    <a:pt x="417" y="335"/>
                  </a:lnTo>
                  <a:lnTo>
                    <a:pt x="415" y="335"/>
                  </a:lnTo>
                  <a:lnTo>
                    <a:pt x="415" y="333"/>
                  </a:lnTo>
                  <a:lnTo>
                    <a:pt x="412" y="333"/>
                  </a:lnTo>
                  <a:lnTo>
                    <a:pt x="412" y="332"/>
                  </a:lnTo>
                  <a:lnTo>
                    <a:pt x="412" y="330"/>
                  </a:lnTo>
                  <a:lnTo>
                    <a:pt x="412" y="328"/>
                  </a:lnTo>
                  <a:lnTo>
                    <a:pt x="409" y="328"/>
                  </a:lnTo>
                  <a:lnTo>
                    <a:pt x="407" y="326"/>
                  </a:lnTo>
                  <a:lnTo>
                    <a:pt x="405" y="323"/>
                  </a:lnTo>
                  <a:lnTo>
                    <a:pt x="405" y="321"/>
                  </a:lnTo>
                  <a:lnTo>
                    <a:pt x="398" y="320"/>
                  </a:lnTo>
                  <a:lnTo>
                    <a:pt x="398" y="316"/>
                  </a:lnTo>
                  <a:lnTo>
                    <a:pt x="397" y="315"/>
                  </a:lnTo>
                  <a:lnTo>
                    <a:pt x="395" y="313"/>
                  </a:lnTo>
                  <a:lnTo>
                    <a:pt x="378" y="313"/>
                  </a:lnTo>
                  <a:lnTo>
                    <a:pt x="357" y="315"/>
                  </a:lnTo>
                  <a:lnTo>
                    <a:pt x="344" y="316"/>
                  </a:lnTo>
                  <a:lnTo>
                    <a:pt x="321" y="318"/>
                  </a:lnTo>
                  <a:lnTo>
                    <a:pt x="316" y="318"/>
                  </a:lnTo>
                  <a:lnTo>
                    <a:pt x="284" y="320"/>
                  </a:lnTo>
                  <a:lnTo>
                    <a:pt x="263" y="321"/>
                  </a:lnTo>
                  <a:lnTo>
                    <a:pt x="248" y="321"/>
                  </a:lnTo>
                  <a:lnTo>
                    <a:pt x="229" y="321"/>
                  </a:lnTo>
                  <a:lnTo>
                    <a:pt x="210" y="323"/>
                  </a:lnTo>
                  <a:lnTo>
                    <a:pt x="193" y="323"/>
                  </a:lnTo>
                  <a:lnTo>
                    <a:pt x="173" y="323"/>
                  </a:lnTo>
                  <a:lnTo>
                    <a:pt x="161" y="323"/>
                  </a:lnTo>
                  <a:lnTo>
                    <a:pt x="137" y="323"/>
                  </a:lnTo>
                  <a:lnTo>
                    <a:pt x="113" y="323"/>
                  </a:lnTo>
                  <a:lnTo>
                    <a:pt x="99" y="323"/>
                  </a:lnTo>
                  <a:lnTo>
                    <a:pt x="68" y="323"/>
                  </a:lnTo>
                  <a:lnTo>
                    <a:pt x="70" y="320"/>
                  </a:lnTo>
                  <a:lnTo>
                    <a:pt x="68" y="316"/>
                  </a:lnTo>
                  <a:lnTo>
                    <a:pt x="60" y="308"/>
                  </a:lnTo>
                  <a:lnTo>
                    <a:pt x="62" y="301"/>
                  </a:lnTo>
                  <a:lnTo>
                    <a:pt x="62" y="294"/>
                  </a:lnTo>
                  <a:lnTo>
                    <a:pt x="63" y="292"/>
                  </a:lnTo>
                  <a:lnTo>
                    <a:pt x="63" y="289"/>
                  </a:lnTo>
                  <a:lnTo>
                    <a:pt x="63" y="280"/>
                  </a:lnTo>
                  <a:lnTo>
                    <a:pt x="62" y="279"/>
                  </a:lnTo>
                  <a:lnTo>
                    <a:pt x="62" y="275"/>
                  </a:lnTo>
                  <a:lnTo>
                    <a:pt x="60" y="272"/>
                  </a:lnTo>
                  <a:lnTo>
                    <a:pt x="62" y="267"/>
                  </a:lnTo>
                  <a:lnTo>
                    <a:pt x="60" y="260"/>
                  </a:lnTo>
                  <a:lnTo>
                    <a:pt x="62" y="260"/>
                  </a:lnTo>
                  <a:lnTo>
                    <a:pt x="62" y="258"/>
                  </a:lnTo>
                  <a:lnTo>
                    <a:pt x="57" y="258"/>
                  </a:lnTo>
                  <a:lnTo>
                    <a:pt x="57" y="256"/>
                  </a:lnTo>
                  <a:lnTo>
                    <a:pt x="57" y="255"/>
                  </a:lnTo>
                  <a:lnTo>
                    <a:pt x="55" y="246"/>
                  </a:lnTo>
                  <a:lnTo>
                    <a:pt x="57" y="244"/>
                  </a:lnTo>
                  <a:lnTo>
                    <a:pt x="58" y="248"/>
                  </a:lnTo>
                  <a:lnTo>
                    <a:pt x="58" y="246"/>
                  </a:lnTo>
                  <a:lnTo>
                    <a:pt x="55" y="241"/>
                  </a:lnTo>
                  <a:lnTo>
                    <a:pt x="55" y="236"/>
                  </a:lnTo>
                  <a:lnTo>
                    <a:pt x="55" y="229"/>
                  </a:lnTo>
                  <a:lnTo>
                    <a:pt x="53" y="227"/>
                  </a:lnTo>
                  <a:lnTo>
                    <a:pt x="50" y="226"/>
                  </a:lnTo>
                  <a:lnTo>
                    <a:pt x="50" y="226"/>
                  </a:lnTo>
                  <a:lnTo>
                    <a:pt x="50" y="224"/>
                  </a:lnTo>
                  <a:lnTo>
                    <a:pt x="50" y="221"/>
                  </a:lnTo>
                  <a:lnTo>
                    <a:pt x="50" y="221"/>
                  </a:lnTo>
                  <a:lnTo>
                    <a:pt x="46" y="222"/>
                  </a:lnTo>
                  <a:lnTo>
                    <a:pt x="43" y="221"/>
                  </a:lnTo>
                  <a:lnTo>
                    <a:pt x="43" y="217"/>
                  </a:lnTo>
                  <a:lnTo>
                    <a:pt x="43" y="215"/>
                  </a:lnTo>
                  <a:lnTo>
                    <a:pt x="41" y="214"/>
                  </a:lnTo>
                  <a:lnTo>
                    <a:pt x="43" y="207"/>
                  </a:lnTo>
                  <a:lnTo>
                    <a:pt x="41" y="205"/>
                  </a:lnTo>
                  <a:lnTo>
                    <a:pt x="39" y="203"/>
                  </a:lnTo>
                  <a:lnTo>
                    <a:pt x="43" y="202"/>
                  </a:lnTo>
                  <a:lnTo>
                    <a:pt x="41" y="200"/>
                  </a:lnTo>
                  <a:lnTo>
                    <a:pt x="43" y="197"/>
                  </a:lnTo>
                  <a:lnTo>
                    <a:pt x="45" y="193"/>
                  </a:lnTo>
                  <a:lnTo>
                    <a:pt x="39" y="185"/>
                  </a:lnTo>
                  <a:lnTo>
                    <a:pt x="38" y="181"/>
                  </a:lnTo>
                  <a:lnTo>
                    <a:pt x="38" y="178"/>
                  </a:lnTo>
                  <a:lnTo>
                    <a:pt x="38" y="174"/>
                  </a:lnTo>
                  <a:lnTo>
                    <a:pt x="36" y="173"/>
                  </a:lnTo>
                  <a:lnTo>
                    <a:pt x="34" y="171"/>
                  </a:lnTo>
                  <a:lnTo>
                    <a:pt x="31" y="171"/>
                  </a:lnTo>
                  <a:lnTo>
                    <a:pt x="31" y="168"/>
                  </a:lnTo>
                  <a:lnTo>
                    <a:pt x="29" y="166"/>
                  </a:lnTo>
                  <a:lnTo>
                    <a:pt x="27" y="157"/>
                  </a:lnTo>
                  <a:lnTo>
                    <a:pt x="22" y="152"/>
                  </a:lnTo>
                  <a:lnTo>
                    <a:pt x="21" y="147"/>
                  </a:lnTo>
                  <a:lnTo>
                    <a:pt x="24" y="145"/>
                  </a:lnTo>
                  <a:lnTo>
                    <a:pt x="24" y="142"/>
                  </a:lnTo>
                  <a:lnTo>
                    <a:pt x="22" y="140"/>
                  </a:lnTo>
                  <a:lnTo>
                    <a:pt x="21" y="139"/>
                  </a:lnTo>
                  <a:lnTo>
                    <a:pt x="19" y="135"/>
                  </a:lnTo>
                  <a:lnTo>
                    <a:pt x="17" y="133"/>
                  </a:lnTo>
                  <a:lnTo>
                    <a:pt x="17" y="130"/>
                  </a:lnTo>
                  <a:lnTo>
                    <a:pt x="17" y="125"/>
                  </a:lnTo>
                  <a:lnTo>
                    <a:pt x="19" y="123"/>
                  </a:lnTo>
                  <a:lnTo>
                    <a:pt x="19" y="120"/>
                  </a:lnTo>
                  <a:lnTo>
                    <a:pt x="15" y="118"/>
                  </a:lnTo>
                  <a:lnTo>
                    <a:pt x="12" y="115"/>
                  </a:lnTo>
                  <a:lnTo>
                    <a:pt x="12" y="109"/>
                  </a:lnTo>
                  <a:lnTo>
                    <a:pt x="10" y="108"/>
                  </a:lnTo>
                  <a:lnTo>
                    <a:pt x="12" y="108"/>
                  </a:lnTo>
                  <a:lnTo>
                    <a:pt x="10" y="103"/>
                  </a:lnTo>
                  <a:lnTo>
                    <a:pt x="7" y="99"/>
                  </a:lnTo>
                  <a:lnTo>
                    <a:pt x="5" y="97"/>
                  </a:lnTo>
                  <a:lnTo>
                    <a:pt x="0" y="94"/>
                  </a:lnTo>
                  <a:lnTo>
                    <a:pt x="0" y="89"/>
                  </a:lnTo>
                  <a:lnTo>
                    <a:pt x="0" y="87"/>
                  </a:lnTo>
                  <a:lnTo>
                    <a:pt x="4" y="84"/>
                  </a:lnTo>
                  <a:lnTo>
                    <a:pt x="4" y="80"/>
                  </a:lnTo>
                  <a:lnTo>
                    <a:pt x="5" y="80"/>
                  </a:lnTo>
                  <a:lnTo>
                    <a:pt x="7" y="79"/>
                  </a:lnTo>
                  <a:lnTo>
                    <a:pt x="9" y="74"/>
                  </a:lnTo>
                  <a:lnTo>
                    <a:pt x="7" y="72"/>
                  </a:lnTo>
                  <a:lnTo>
                    <a:pt x="10" y="68"/>
                  </a:lnTo>
                  <a:lnTo>
                    <a:pt x="9" y="63"/>
                  </a:lnTo>
                  <a:lnTo>
                    <a:pt x="10" y="62"/>
                  </a:lnTo>
                  <a:lnTo>
                    <a:pt x="9" y="56"/>
                  </a:lnTo>
                  <a:lnTo>
                    <a:pt x="12" y="56"/>
                  </a:lnTo>
                  <a:lnTo>
                    <a:pt x="14" y="55"/>
                  </a:lnTo>
                  <a:lnTo>
                    <a:pt x="14" y="53"/>
                  </a:lnTo>
                  <a:lnTo>
                    <a:pt x="15" y="50"/>
                  </a:lnTo>
                  <a:lnTo>
                    <a:pt x="14" y="39"/>
                  </a:lnTo>
                  <a:lnTo>
                    <a:pt x="12" y="39"/>
                  </a:lnTo>
                  <a:lnTo>
                    <a:pt x="7" y="38"/>
                  </a:lnTo>
                  <a:lnTo>
                    <a:pt x="5" y="36"/>
                  </a:lnTo>
                  <a:lnTo>
                    <a:pt x="7" y="36"/>
                  </a:lnTo>
                  <a:lnTo>
                    <a:pt x="5" y="34"/>
                  </a:lnTo>
                  <a:lnTo>
                    <a:pt x="5" y="31"/>
                  </a:lnTo>
                  <a:lnTo>
                    <a:pt x="9" y="29"/>
                  </a:lnTo>
                  <a:lnTo>
                    <a:pt x="9" y="24"/>
                  </a:lnTo>
                  <a:lnTo>
                    <a:pt x="9" y="21"/>
                  </a:lnTo>
                  <a:lnTo>
                    <a:pt x="7" y="19"/>
                  </a:lnTo>
                  <a:lnTo>
                    <a:pt x="4" y="15"/>
                  </a:lnTo>
                  <a:lnTo>
                    <a:pt x="5" y="10"/>
                  </a:lnTo>
                  <a:lnTo>
                    <a:pt x="4" y="9"/>
                  </a:lnTo>
                  <a:lnTo>
                    <a:pt x="14" y="9"/>
                  </a:lnTo>
                  <a:lnTo>
                    <a:pt x="45" y="9"/>
                  </a:lnTo>
                  <a:lnTo>
                    <a:pt x="60" y="9"/>
                  </a:lnTo>
                  <a:lnTo>
                    <a:pt x="91" y="9"/>
                  </a:lnTo>
                  <a:lnTo>
                    <a:pt x="98" y="9"/>
                  </a:lnTo>
                  <a:lnTo>
                    <a:pt x="133" y="9"/>
                  </a:lnTo>
                  <a:lnTo>
                    <a:pt x="139" y="9"/>
                  </a:lnTo>
                  <a:lnTo>
                    <a:pt x="169" y="9"/>
                  </a:lnTo>
                  <a:lnTo>
                    <a:pt x="186" y="7"/>
                  </a:lnTo>
                  <a:lnTo>
                    <a:pt x="207" y="7"/>
                  </a:lnTo>
                  <a:lnTo>
                    <a:pt x="233" y="7"/>
                  </a:lnTo>
                  <a:lnTo>
                    <a:pt x="245" y="7"/>
                  </a:lnTo>
                  <a:lnTo>
                    <a:pt x="279" y="5"/>
                  </a:lnTo>
                  <a:lnTo>
                    <a:pt x="280" y="5"/>
                  </a:lnTo>
                  <a:lnTo>
                    <a:pt x="316" y="3"/>
                  </a:lnTo>
                  <a:lnTo>
                    <a:pt x="325" y="3"/>
                  </a:lnTo>
                  <a:lnTo>
                    <a:pt x="354" y="2"/>
                  </a:lnTo>
                  <a:lnTo>
                    <a:pt x="381" y="2"/>
                  </a:lnTo>
                  <a:lnTo>
                    <a:pt x="390" y="0"/>
                  </a:lnTo>
                  <a:lnTo>
                    <a:pt x="421" y="0"/>
                  </a:lnTo>
                  <a:lnTo>
                    <a:pt x="421" y="3"/>
                  </a:lnTo>
                  <a:lnTo>
                    <a:pt x="422" y="7"/>
                  </a:lnTo>
                  <a:lnTo>
                    <a:pt x="424" y="14"/>
                  </a:lnTo>
                  <a:lnTo>
                    <a:pt x="426" y="15"/>
                  </a:lnTo>
                  <a:lnTo>
                    <a:pt x="433" y="19"/>
                  </a:lnTo>
                  <a:lnTo>
                    <a:pt x="434" y="22"/>
                  </a:lnTo>
                  <a:lnTo>
                    <a:pt x="434" y="26"/>
                  </a:lnTo>
                  <a:lnTo>
                    <a:pt x="427" y="38"/>
                  </a:lnTo>
                  <a:lnTo>
                    <a:pt x="427" y="45"/>
                  </a:lnTo>
                  <a:lnTo>
                    <a:pt x="427" y="45"/>
                  </a:lnTo>
                  <a:lnTo>
                    <a:pt x="429" y="53"/>
                  </a:lnTo>
                  <a:lnTo>
                    <a:pt x="431" y="62"/>
                  </a:lnTo>
                  <a:lnTo>
                    <a:pt x="434" y="67"/>
                  </a:lnTo>
                  <a:lnTo>
                    <a:pt x="436" y="75"/>
                  </a:lnTo>
                  <a:lnTo>
                    <a:pt x="438" y="80"/>
                  </a:lnTo>
                  <a:lnTo>
                    <a:pt x="443" y="84"/>
                  </a:lnTo>
                  <a:lnTo>
                    <a:pt x="450" y="86"/>
                  </a:lnTo>
                  <a:lnTo>
                    <a:pt x="451" y="87"/>
                  </a:lnTo>
                  <a:lnTo>
                    <a:pt x="463" y="89"/>
                  </a:lnTo>
                  <a:lnTo>
                    <a:pt x="467" y="91"/>
                  </a:lnTo>
                  <a:lnTo>
                    <a:pt x="470" y="97"/>
                  </a:lnTo>
                  <a:lnTo>
                    <a:pt x="472" y="99"/>
                  </a:lnTo>
                  <a:lnTo>
                    <a:pt x="474" y="101"/>
                  </a:lnTo>
                  <a:lnTo>
                    <a:pt x="472" y="104"/>
                  </a:lnTo>
                  <a:lnTo>
                    <a:pt x="470" y="106"/>
                  </a:lnTo>
                  <a:lnTo>
                    <a:pt x="472" y="108"/>
                  </a:lnTo>
                  <a:lnTo>
                    <a:pt x="475" y="109"/>
                  </a:lnTo>
                  <a:lnTo>
                    <a:pt x="479" y="113"/>
                  </a:lnTo>
                  <a:lnTo>
                    <a:pt x="484" y="116"/>
                  </a:lnTo>
                  <a:lnTo>
                    <a:pt x="489" y="118"/>
                  </a:lnTo>
                  <a:lnTo>
                    <a:pt x="489" y="121"/>
                  </a:lnTo>
                  <a:lnTo>
                    <a:pt x="491" y="128"/>
                  </a:lnTo>
                  <a:lnTo>
                    <a:pt x="492" y="132"/>
                  </a:lnTo>
                  <a:lnTo>
                    <a:pt x="496" y="135"/>
                  </a:lnTo>
                  <a:lnTo>
                    <a:pt x="499" y="135"/>
                  </a:lnTo>
                  <a:lnTo>
                    <a:pt x="506" y="139"/>
                  </a:lnTo>
                  <a:lnTo>
                    <a:pt x="509" y="144"/>
                  </a:lnTo>
                  <a:lnTo>
                    <a:pt x="511" y="144"/>
                  </a:lnTo>
                  <a:lnTo>
                    <a:pt x="511" y="145"/>
                  </a:lnTo>
                  <a:lnTo>
                    <a:pt x="511" y="150"/>
                  </a:lnTo>
                  <a:lnTo>
                    <a:pt x="513" y="152"/>
                  </a:lnTo>
                  <a:lnTo>
                    <a:pt x="515" y="157"/>
                  </a:lnTo>
                  <a:lnTo>
                    <a:pt x="515" y="164"/>
                  </a:lnTo>
                  <a:lnTo>
                    <a:pt x="511" y="178"/>
                  </a:lnTo>
                  <a:lnTo>
                    <a:pt x="506" y="180"/>
                  </a:lnTo>
                  <a:lnTo>
                    <a:pt x="503" y="183"/>
                  </a:lnTo>
                  <a:lnTo>
                    <a:pt x="501" y="186"/>
                  </a:lnTo>
                  <a:lnTo>
                    <a:pt x="501" y="195"/>
                  </a:lnTo>
                  <a:lnTo>
                    <a:pt x="501" y="200"/>
                  </a:lnTo>
                  <a:lnTo>
                    <a:pt x="501" y="202"/>
                  </a:lnTo>
                  <a:lnTo>
                    <a:pt x="494" y="203"/>
                  </a:lnTo>
                  <a:lnTo>
                    <a:pt x="494" y="207"/>
                  </a:lnTo>
                  <a:lnTo>
                    <a:pt x="492" y="209"/>
                  </a:lnTo>
                  <a:lnTo>
                    <a:pt x="485" y="209"/>
                  </a:lnTo>
                  <a:lnTo>
                    <a:pt x="480" y="210"/>
                  </a:lnTo>
                  <a:lnTo>
                    <a:pt x="477" y="217"/>
                  </a:lnTo>
                  <a:lnTo>
                    <a:pt x="474" y="217"/>
                  </a:lnTo>
                  <a:lnTo>
                    <a:pt x="467" y="219"/>
                  </a:lnTo>
                  <a:lnTo>
                    <a:pt x="462" y="219"/>
                  </a:lnTo>
                  <a:lnTo>
                    <a:pt x="453" y="222"/>
                  </a:lnTo>
                  <a:lnTo>
                    <a:pt x="450" y="221"/>
                  </a:lnTo>
                  <a:lnTo>
                    <a:pt x="448" y="222"/>
                  </a:lnTo>
                  <a:lnTo>
                    <a:pt x="444" y="224"/>
                  </a:lnTo>
                  <a:lnTo>
                    <a:pt x="444" y="232"/>
                  </a:lnTo>
                  <a:lnTo>
                    <a:pt x="443" y="239"/>
                  </a:lnTo>
                  <a:lnTo>
                    <a:pt x="443" y="243"/>
                  </a:lnTo>
                  <a:lnTo>
                    <a:pt x="446" y="250"/>
                  </a:lnTo>
                  <a:lnTo>
                    <a:pt x="450" y="250"/>
                  </a:lnTo>
                  <a:lnTo>
                    <a:pt x="451" y="251"/>
                  </a:lnTo>
                  <a:lnTo>
                    <a:pt x="455" y="256"/>
                  </a:lnTo>
                  <a:lnTo>
                    <a:pt x="455" y="260"/>
                  </a:lnTo>
                  <a:lnTo>
                    <a:pt x="455" y="274"/>
                  </a:lnTo>
                  <a:lnTo>
                    <a:pt x="453" y="275"/>
                  </a:lnTo>
                  <a:lnTo>
                    <a:pt x="448" y="280"/>
                  </a:lnTo>
                  <a:lnTo>
                    <a:pt x="446" y="285"/>
                  </a:lnTo>
                  <a:lnTo>
                    <a:pt x="446" y="294"/>
                  </a:lnTo>
                  <a:lnTo>
                    <a:pt x="444" y="30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0" name="Freeform 19"/>
            <p:cNvSpPr>
              <a:spLocks noEditPoints="1"/>
            </p:cNvSpPr>
            <p:nvPr/>
          </p:nvSpPr>
          <p:spPr bwMode="gray">
            <a:xfrm>
              <a:off x="8110346" y="2669231"/>
              <a:ext cx="473417" cy="262473"/>
            </a:xfrm>
            <a:custGeom>
              <a:avLst/>
              <a:gdLst/>
              <a:ahLst/>
              <a:cxnLst>
                <a:cxn ang="0">
                  <a:pos x="172" y="123"/>
                </a:cxn>
                <a:cxn ang="0">
                  <a:pos x="171" y="116"/>
                </a:cxn>
                <a:cxn ang="0">
                  <a:pos x="171" y="111"/>
                </a:cxn>
                <a:cxn ang="0">
                  <a:pos x="164" y="104"/>
                </a:cxn>
                <a:cxn ang="0">
                  <a:pos x="155" y="103"/>
                </a:cxn>
                <a:cxn ang="0">
                  <a:pos x="131" y="108"/>
                </a:cxn>
                <a:cxn ang="0">
                  <a:pos x="106" y="115"/>
                </a:cxn>
                <a:cxn ang="0">
                  <a:pos x="72" y="122"/>
                </a:cxn>
                <a:cxn ang="0">
                  <a:pos x="70" y="123"/>
                </a:cxn>
                <a:cxn ang="0">
                  <a:pos x="58" y="125"/>
                </a:cxn>
                <a:cxn ang="0">
                  <a:pos x="53" y="130"/>
                </a:cxn>
                <a:cxn ang="0">
                  <a:pos x="37" y="130"/>
                </a:cxn>
                <a:cxn ang="0">
                  <a:pos x="2" y="139"/>
                </a:cxn>
                <a:cxn ang="0">
                  <a:pos x="0" y="87"/>
                </a:cxn>
                <a:cxn ang="0">
                  <a:pos x="19" y="57"/>
                </a:cxn>
                <a:cxn ang="0">
                  <a:pos x="63" y="48"/>
                </a:cxn>
                <a:cxn ang="0">
                  <a:pos x="102" y="40"/>
                </a:cxn>
                <a:cxn ang="0">
                  <a:pos x="152" y="28"/>
                </a:cxn>
                <a:cxn ang="0">
                  <a:pos x="154" y="21"/>
                </a:cxn>
                <a:cxn ang="0">
                  <a:pos x="157" y="14"/>
                </a:cxn>
                <a:cxn ang="0">
                  <a:pos x="166" y="12"/>
                </a:cxn>
                <a:cxn ang="0">
                  <a:pos x="174" y="0"/>
                </a:cxn>
                <a:cxn ang="0">
                  <a:pos x="181" y="2"/>
                </a:cxn>
                <a:cxn ang="0">
                  <a:pos x="195" y="19"/>
                </a:cxn>
                <a:cxn ang="0">
                  <a:pos x="205" y="26"/>
                </a:cxn>
                <a:cxn ang="0">
                  <a:pos x="190" y="45"/>
                </a:cxn>
                <a:cxn ang="0">
                  <a:pos x="183" y="65"/>
                </a:cxn>
                <a:cxn ang="0">
                  <a:pos x="195" y="63"/>
                </a:cxn>
                <a:cxn ang="0">
                  <a:pos x="203" y="63"/>
                </a:cxn>
                <a:cxn ang="0">
                  <a:pos x="224" y="89"/>
                </a:cxn>
                <a:cxn ang="0">
                  <a:pos x="234" y="104"/>
                </a:cxn>
                <a:cxn ang="0">
                  <a:pos x="256" y="108"/>
                </a:cxn>
                <a:cxn ang="0">
                  <a:pos x="263" y="108"/>
                </a:cxn>
                <a:cxn ang="0">
                  <a:pos x="273" y="87"/>
                </a:cxn>
                <a:cxn ang="0">
                  <a:pos x="248" y="72"/>
                </a:cxn>
                <a:cxn ang="0">
                  <a:pos x="265" y="72"/>
                </a:cxn>
                <a:cxn ang="0">
                  <a:pos x="284" y="96"/>
                </a:cxn>
                <a:cxn ang="0">
                  <a:pos x="251" y="122"/>
                </a:cxn>
                <a:cxn ang="0">
                  <a:pos x="234" y="135"/>
                </a:cxn>
                <a:cxn ang="0">
                  <a:pos x="231" y="113"/>
                </a:cxn>
                <a:cxn ang="0">
                  <a:pos x="212" y="130"/>
                </a:cxn>
                <a:cxn ang="0">
                  <a:pos x="198" y="149"/>
                </a:cxn>
                <a:cxn ang="0">
                  <a:pos x="186" y="132"/>
                </a:cxn>
                <a:cxn ang="0">
                  <a:pos x="179" y="125"/>
                </a:cxn>
                <a:cxn ang="0">
                  <a:pos x="239" y="145"/>
                </a:cxn>
                <a:cxn ang="0">
                  <a:pos x="244" y="145"/>
                </a:cxn>
                <a:cxn ang="0">
                  <a:pos x="248" y="147"/>
                </a:cxn>
                <a:cxn ang="0">
                  <a:pos x="232" y="157"/>
                </a:cxn>
                <a:cxn ang="0">
                  <a:pos x="224" y="159"/>
                </a:cxn>
                <a:cxn ang="0">
                  <a:pos x="231" y="159"/>
                </a:cxn>
                <a:cxn ang="0">
                  <a:pos x="234" y="144"/>
                </a:cxn>
                <a:cxn ang="0">
                  <a:pos x="239" y="145"/>
                </a:cxn>
                <a:cxn ang="0">
                  <a:pos x="289" y="144"/>
                </a:cxn>
                <a:cxn ang="0">
                  <a:pos x="284" y="147"/>
                </a:cxn>
                <a:cxn ang="0">
                  <a:pos x="284" y="137"/>
                </a:cxn>
                <a:cxn ang="0">
                  <a:pos x="294" y="151"/>
                </a:cxn>
                <a:cxn ang="0">
                  <a:pos x="275" y="154"/>
                </a:cxn>
                <a:cxn ang="0">
                  <a:pos x="284" y="151"/>
                </a:cxn>
              </a:cxnLst>
              <a:rect l="0" t="0" r="r" b="b"/>
              <a:pathLst>
                <a:path w="294" h="163">
                  <a:moveTo>
                    <a:pt x="174" y="125"/>
                  </a:moveTo>
                  <a:lnTo>
                    <a:pt x="172" y="123"/>
                  </a:lnTo>
                  <a:lnTo>
                    <a:pt x="172" y="120"/>
                  </a:lnTo>
                  <a:lnTo>
                    <a:pt x="171" y="116"/>
                  </a:lnTo>
                  <a:lnTo>
                    <a:pt x="171" y="115"/>
                  </a:lnTo>
                  <a:lnTo>
                    <a:pt x="171" y="111"/>
                  </a:lnTo>
                  <a:lnTo>
                    <a:pt x="167" y="113"/>
                  </a:lnTo>
                  <a:lnTo>
                    <a:pt x="164" y="104"/>
                  </a:lnTo>
                  <a:lnTo>
                    <a:pt x="164" y="101"/>
                  </a:lnTo>
                  <a:lnTo>
                    <a:pt x="155" y="103"/>
                  </a:lnTo>
                  <a:lnTo>
                    <a:pt x="131" y="110"/>
                  </a:lnTo>
                  <a:lnTo>
                    <a:pt x="131" y="108"/>
                  </a:lnTo>
                  <a:lnTo>
                    <a:pt x="109" y="113"/>
                  </a:lnTo>
                  <a:lnTo>
                    <a:pt x="106" y="115"/>
                  </a:lnTo>
                  <a:lnTo>
                    <a:pt x="77" y="122"/>
                  </a:lnTo>
                  <a:lnTo>
                    <a:pt x="72" y="122"/>
                  </a:lnTo>
                  <a:lnTo>
                    <a:pt x="72" y="123"/>
                  </a:lnTo>
                  <a:lnTo>
                    <a:pt x="70" y="123"/>
                  </a:lnTo>
                  <a:lnTo>
                    <a:pt x="68" y="123"/>
                  </a:lnTo>
                  <a:lnTo>
                    <a:pt x="58" y="125"/>
                  </a:lnTo>
                  <a:lnTo>
                    <a:pt x="58" y="128"/>
                  </a:lnTo>
                  <a:lnTo>
                    <a:pt x="53" y="130"/>
                  </a:lnTo>
                  <a:lnTo>
                    <a:pt x="53" y="127"/>
                  </a:lnTo>
                  <a:lnTo>
                    <a:pt x="37" y="130"/>
                  </a:lnTo>
                  <a:lnTo>
                    <a:pt x="36" y="130"/>
                  </a:lnTo>
                  <a:lnTo>
                    <a:pt x="2" y="139"/>
                  </a:lnTo>
                  <a:lnTo>
                    <a:pt x="0" y="135"/>
                  </a:lnTo>
                  <a:lnTo>
                    <a:pt x="0" y="87"/>
                  </a:lnTo>
                  <a:lnTo>
                    <a:pt x="0" y="60"/>
                  </a:lnTo>
                  <a:lnTo>
                    <a:pt x="19" y="57"/>
                  </a:lnTo>
                  <a:lnTo>
                    <a:pt x="27" y="55"/>
                  </a:lnTo>
                  <a:lnTo>
                    <a:pt x="63" y="48"/>
                  </a:lnTo>
                  <a:lnTo>
                    <a:pt x="75" y="45"/>
                  </a:lnTo>
                  <a:lnTo>
                    <a:pt x="102" y="40"/>
                  </a:lnTo>
                  <a:lnTo>
                    <a:pt x="106" y="40"/>
                  </a:lnTo>
                  <a:lnTo>
                    <a:pt x="152" y="28"/>
                  </a:lnTo>
                  <a:lnTo>
                    <a:pt x="154" y="24"/>
                  </a:lnTo>
                  <a:lnTo>
                    <a:pt x="154" y="21"/>
                  </a:lnTo>
                  <a:lnTo>
                    <a:pt x="159" y="21"/>
                  </a:lnTo>
                  <a:lnTo>
                    <a:pt x="157" y="14"/>
                  </a:lnTo>
                  <a:lnTo>
                    <a:pt x="161" y="12"/>
                  </a:lnTo>
                  <a:lnTo>
                    <a:pt x="166" y="12"/>
                  </a:lnTo>
                  <a:lnTo>
                    <a:pt x="167" y="5"/>
                  </a:lnTo>
                  <a:lnTo>
                    <a:pt x="174" y="0"/>
                  </a:lnTo>
                  <a:lnTo>
                    <a:pt x="176" y="0"/>
                  </a:lnTo>
                  <a:lnTo>
                    <a:pt x="181" y="2"/>
                  </a:lnTo>
                  <a:lnTo>
                    <a:pt x="183" y="0"/>
                  </a:lnTo>
                  <a:lnTo>
                    <a:pt x="195" y="19"/>
                  </a:lnTo>
                  <a:lnTo>
                    <a:pt x="207" y="19"/>
                  </a:lnTo>
                  <a:lnTo>
                    <a:pt x="205" y="26"/>
                  </a:lnTo>
                  <a:lnTo>
                    <a:pt x="191" y="33"/>
                  </a:lnTo>
                  <a:lnTo>
                    <a:pt x="190" y="45"/>
                  </a:lnTo>
                  <a:lnTo>
                    <a:pt x="184" y="48"/>
                  </a:lnTo>
                  <a:lnTo>
                    <a:pt x="183" y="65"/>
                  </a:lnTo>
                  <a:lnTo>
                    <a:pt x="193" y="69"/>
                  </a:lnTo>
                  <a:lnTo>
                    <a:pt x="195" y="63"/>
                  </a:lnTo>
                  <a:lnTo>
                    <a:pt x="200" y="63"/>
                  </a:lnTo>
                  <a:lnTo>
                    <a:pt x="203" y="63"/>
                  </a:lnTo>
                  <a:lnTo>
                    <a:pt x="214" y="72"/>
                  </a:lnTo>
                  <a:lnTo>
                    <a:pt x="224" y="89"/>
                  </a:lnTo>
                  <a:lnTo>
                    <a:pt x="231" y="93"/>
                  </a:lnTo>
                  <a:lnTo>
                    <a:pt x="234" y="104"/>
                  </a:lnTo>
                  <a:lnTo>
                    <a:pt x="244" y="108"/>
                  </a:lnTo>
                  <a:lnTo>
                    <a:pt x="256" y="108"/>
                  </a:lnTo>
                  <a:lnTo>
                    <a:pt x="251" y="110"/>
                  </a:lnTo>
                  <a:lnTo>
                    <a:pt x="263" y="108"/>
                  </a:lnTo>
                  <a:lnTo>
                    <a:pt x="275" y="96"/>
                  </a:lnTo>
                  <a:lnTo>
                    <a:pt x="273" y="87"/>
                  </a:lnTo>
                  <a:lnTo>
                    <a:pt x="261" y="75"/>
                  </a:lnTo>
                  <a:lnTo>
                    <a:pt x="248" y="72"/>
                  </a:lnTo>
                  <a:lnTo>
                    <a:pt x="258" y="69"/>
                  </a:lnTo>
                  <a:lnTo>
                    <a:pt x="265" y="72"/>
                  </a:lnTo>
                  <a:lnTo>
                    <a:pt x="275" y="82"/>
                  </a:lnTo>
                  <a:lnTo>
                    <a:pt x="284" y="96"/>
                  </a:lnTo>
                  <a:lnTo>
                    <a:pt x="284" y="106"/>
                  </a:lnTo>
                  <a:lnTo>
                    <a:pt x="251" y="122"/>
                  </a:lnTo>
                  <a:lnTo>
                    <a:pt x="249" y="127"/>
                  </a:lnTo>
                  <a:lnTo>
                    <a:pt x="234" y="135"/>
                  </a:lnTo>
                  <a:lnTo>
                    <a:pt x="232" y="134"/>
                  </a:lnTo>
                  <a:lnTo>
                    <a:pt x="231" y="113"/>
                  </a:lnTo>
                  <a:lnTo>
                    <a:pt x="215" y="130"/>
                  </a:lnTo>
                  <a:lnTo>
                    <a:pt x="212" y="130"/>
                  </a:lnTo>
                  <a:lnTo>
                    <a:pt x="207" y="144"/>
                  </a:lnTo>
                  <a:lnTo>
                    <a:pt x="198" y="149"/>
                  </a:lnTo>
                  <a:lnTo>
                    <a:pt x="191" y="134"/>
                  </a:lnTo>
                  <a:lnTo>
                    <a:pt x="186" y="132"/>
                  </a:lnTo>
                  <a:lnTo>
                    <a:pt x="184" y="130"/>
                  </a:lnTo>
                  <a:lnTo>
                    <a:pt x="179" y="125"/>
                  </a:lnTo>
                  <a:lnTo>
                    <a:pt x="174" y="125"/>
                  </a:lnTo>
                  <a:close/>
                  <a:moveTo>
                    <a:pt x="239" y="145"/>
                  </a:moveTo>
                  <a:lnTo>
                    <a:pt x="241" y="140"/>
                  </a:lnTo>
                  <a:lnTo>
                    <a:pt x="244" y="145"/>
                  </a:lnTo>
                  <a:lnTo>
                    <a:pt x="243" y="147"/>
                  </a:lnTo>
                  <a:lnTo>
                    <a:pt x="248" y="147"/>
                  </a:lnTo>
                  <a:lnTo>
                    <a:pt x="251" y="152"/>
                  </a:lnTo>
                  <a:lnTo>
                    <a:pt x="232" y="157"/>
                  </a:lnTo>
                  <a:lnTo>
                    <a:pt x="231" y="163"/>
                  </a:lnTo>
                  <a:lnTo>
                    <a:pt x="224" y="159"/>
                  </a:lnTo>
                  <a:lnTo>
                    <a:pt x="229" y="157"/>
                  </a:lnTo>
                  <a:lnTo>
                    <a:pt x="231" y="159"/>
                  </a:lnTo>
                  <a:lnTo>
                    <a:pt x="229" y="154"/>
                  </a:lnTo>
                  <a:lnTo>
                    <a:pt x="234" y="144"/>
                  </a:lnTo>
                  <a:lnTo>
                    <a:pt x="239" y="140"/>
                  </a:lnTo>
                  <a:lnTo>
                    <a:pt x="239" y="145"/>
                  </a:lnTo>
                  <a:close/>
                  <a:moveTo>
                    <a:pt x="287" y="145"/>
                  </a:moveTo>
                  <a:lnTo>
                    <a:pt x="289" y="144"/>
                  </a:lnTo>
                  <a:lnTo>
                    <a:pt x="287" y="142"/>
                  </a:lnTo>
                  <a:lnTo>
                    <a:pt x="284" y="147"/>
                  </a:lnTo>
                  <a:lnTo>
                    <a:pt x="285" y="142"/>
                  </a:lnTo>
                  <a:lnTo>
                    <a:pt x="284" y="137"/>
                  </a:lnTo>
                  <a:lnTo>
                    <a:pt x="292" y="145"/>
                  </a:lnTo>
                  <a:lnTo>
                    <a:pt x="294" y="151"/>
                  </a:lnTo>
                  <a:lnTo>
                    <a:pt x="284" y="154"/>
                  </a:lnTo>
                  <a:lnTo>
                    <a:pt x="275" y="154"/>
                  </a:lnTo>
                  <a:lnTo>
                    <a:pt x="275" y="151"/>
                  </a:lnTo>
                  <a:lnTo>
                    <a:pt x="284" y="151"/>
                  </a:lnTo>
                  <a:lnTo>
                    <a:pt x="287" y="14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1" name="Freeform 20"/>
            <p:cNvSpPr>
              <a:spLocks/>
            </p:cNvSpPr>
            <p:nvPr/>
          </p:nvSpPr>
          <p:spPr bwMode="gray">
            <a:xfrm>
              <a:off x="4224784" y="3021878"/>
              <a:ext cx="1130403" cy="563592"/>
            </a:xfrm>
            <a:custGeom>
              <a:avLst/>
              <a:gdLst/>
              <a:ahLst/>
              <a:cxnLst>
                <a:cxn ang="0">
                  <a:pos x="155" y="289"/>
                </a:cxn>
                <a:cxn ang="0">
                  <a:pos x="114" y="224"/>
                </a:cxn>
                <a:cxn ang="0">
                  <a:pos x="0" y="215"/>
                </a:cxn>
                <a:cxn ang="0">
                  <a:pos x="8" y="108"/>
                </a:cxn>
                <a:cxn ang="0">
                  <a:pos x="99" y="7"/>
                </a:cxn>
                <a:cxn ang="0">
                  <a:pos x="318" y="20"/>
                </a:cxn>
                <a:cxn ang="0">
                  <a:pos x="454" y="31"/>
                </a:cxn>
                <a:cxn ang="0">
                  <a:pos x="478" y="43"/>
                </a:cxn>
                <a:cxn ang="0">
                  <a:pos x="490" y="50"/>
                </a:cxn>
                <a:cxn ang="0">
                  <a:pos x="499" y="41"/>
                </a:cxn>
                <a:cxn ang="0">
                  <a:pos x="511" y="41"/>
                </a:cxn>
                <a:cxn ang="0">
                  <a:pos x="528" y="41"/>
                </a:cxn>
                <a:cxn ang="0">
                  <a:pos x="543" y="41"/>
                </a:cxn>
                <a:cxn ang="0">
                  <a:pos x="552" y="46"/>
                </a:cxn>
                <a:cxn ang="0">
                  <a:pos x="569" y="53"/>
                </a:cxn>
                <a:cxn ang="0">
                  <a:pos x="574" y="55"/>
                </a:cxn>
                <a:cxn ang="0">
                  <a:pos x="589" y="61"/>
                </a:cxn>
                <a:cxn ang="0">
                  <a:pos x="589" y="68"/>
                </a:cxn>
                <a:cxn ang="0">
                  <a:pos x="600" y="79"/>
                </a:cxn>
                <a:cxn ang="0">
                  <a:pos x="615" y="84"/>
                </a:cxn>
                <a:cxn ang="0">
                  <a:pos x="613" y="97"/>
                </a:cxn>
                <a:cxn ang="0">
                  <a:pos x="620" y="106"/>
                </a:cxn>
                <a:cxn ang="0">
                  <a:pos x="623" y="121"/>
                </a:cxn>
                <a:cxn ang="0">
                  <a:pos x="630" y="135"/>
                </a:cxn>
                <a:cxn ang="0">
                  <a:pos x="634" y="145"/>
                </a:cxn>
                <a:cxn ang="0">
                  <a:pos x="637" y="164"/>
                </a:cxn>
                <a:cxn ang="0">
                  <a:pos x="639" y="171"/>
                </a:cxn>
                <a:cxn ang="0">
                  <a:pos x="639" y="185"/>
                </a:cxn>
                <a:cxn ang="0">
                  <a:pos x="646" y="188"/>
                </a:cxn>
                <a:cxn ang="0">
                  <a:pos x="651" y="193"/>
                </a:cxn>
                <a:cxn ang="0">
                  <a:pos x="654" y="212"/>
                </a:cxn>
                <a:cxn ang="0">
                  <a:pos x="653" y="220"/>
                </a:cxn>
                <a:cxn ang="0">
                  <a:pos x="656" y="224"/>
                </a:cxn>
                <a:cxn ang="0">
                  <a:pos x="658" y="243"/>
                </a:cxn>
                <a:cxn ang="0">
                  <a:pos x="658" y="258"/>
                </a:cxn>
                <a:cxn ang="0">
                  <a:pos x="666" y="284"/>
                </a:cxn>
                <a:cxn ang="0">
                  <a:pos x="671" y="294"/>
                </a:cxn>
                <a:cxn ang="0">
                  <a:pos x="673" y="292"/>
                </a:cxn>
                <a:cxn ang="0">
                  <a:pos x="676" y="311"/>
                </a:cxn>
                <a:cxn ang="0">
                  <a:pos x="675" y="316"/>
                </a:cxn>
                <a:cxn ang="0">
                  <a:pos x="690" y="326"/>
                </a:cxn>
                <a:cxn ang="0">
                  <a:pos x="695" y="340"/>
                </a:cxn>
                <a:cxn ang="0">
                  <a:pos x="697" y="347"/>
                </a:cxn>
                <a:cxn ang="0">
                  <a:pos x="664" y="350"/>
                </a:cxn>
                <a:cxn ang="0">
                  <a:pos x="581" y="350"/>
                </a:cxn>
                <a:cxn ang="0">
                  <a:pos x="488" y="349"/>
                </a:cxn>
                <a:cxn ang="0">
                  <a:pos x="396" y="347"/>
                </a:cxn>
                <a:cxn ang="0">
                  <a:pos x="304" y="343"/>
                </a:cxn>
                <a:cxn ang="0">
                  <a:pos x="205" y="338"/>
                </a:cxn>
              </a:cxnLst>
              <a:rect l="0" t="0" r="r" b="b"/>
              <a:pathLst>
                <a:path w="702" h="350">
                  <a:moveTo>
                    <a:pt x="205" y="338"/>
                  </a:moveTo>
                  <a:lnTo>
                    <a:pt x="152" y="335"/>
                  </a:lnTo>
                  <a:lnTo>
                    <a:pt x="155" y="297"/>
                  </a:lnTo>
                  <a:lnTo>
                    <a:pt x="155" y="289"/>
                  </a:lnTo>
                  <a:lnTo>
                    <a:pt x="157" y="260"/>
                  </a:lnTo>
                  <a:lnTo>
                    <a:pt x="159" y="255"/>
                  </a:lnTo>
                  <a:lnTo>
                    <a:pt x="160" y="227"/>
                  </a:lnTo>
                  <a:lnTo>
                    <a:pt x="114" y="224"/>
                  </a:lnTo>
                  <a:lnTo>
                    <a:pt x="111" y="224"/>
                  </a:lnTo>
                  <a:lnTo>
                    <a:pt x="53" y="219"/>
                  </a:lnTo>
                  <a:lnTo>
                    <a:pt x="37" y="219"/>
                  </a:lnTo>
                  <a:lnTo>
                    <a:pt x="0" y="215"/>
                  </a:lnTo>
                  <a:lnTo>
                    <a:pt x="3" y="173"/>
                  </a:lnTo>
                  <a:lnTo>
                    <a:pt x="3" y="154"/>
                  </a:lnTo>
                  <a:lnTo>
                    <a:pt x="5" y="140"/>
                  </a:lnTo>
                  <a:lnTo>
                    <a:pt x="8" y="108"/>
                  </a:lnTo>
                  <a:lnTo>
                    <a:pt x="13" y="41"/>
                  </a:lnTo>
                  <a:lnTo>
                    <a:pt x="17" y="0"/>
                  </a:lnTo>
                  <a:lnTo>
                    <a:pt x="59" y="3"/>
                  </a:lnTo>
                  <a:lnTo>
                    <a:pt x="99" y="7"/>
                  </a:lnTo>
                  <a:lnTo>
                    <a:pt x="116" y="9"/>
                  </a:lnTo>
                  <a:lnTo>
                    <a:pt x="171" y="12"/>
                  </a:lnTo>
                  <a:lnTo>
                    <a:pt x="237" y="17"/>
                  </a:lnTo>
                  <a:lnTo>
                    <a:pt x="318" y="20"/>
                  </a:lnTo>
                  <a:lnTo>
                    <a:pt x="370" y="22"/>
                  </a:lnTo>
                  <a:lnTo>
                    <a:pt x="391" y="24"/>
                  </a:lnTo>
                  <a:lnTo>
                    <a:pt x="451" y="26"/>
                  </a:lnTo>
                  <a:lnTo>
                    <a:pt x="454" y="31"/>
                  </a:lnTo>
                  <a:lnTo>
                    <a:pt x="459" y="32"/>
                  </a:lnTo>
                  <a:lnTo>
                    <a:pt x="464" y="38"/>
                  </a:lnTo>
                  <a:lnTo>
                    <a:pt x="476" y="43"/>
                  </a:lnTo>
                  <a:lnTo>
                    <a:pt x="478" y="43"/>
                  </a:lnTo>
                  <a:lnTo>
                    <a:pt x="480" y="44"/>
                  </a:lnTo>
                  <a:lnTo>
                    <a:pt x="480" y="46"/>
                  </a:lnTo>
                  <a:lnTo>
                    <a:pt x="487" y="50"/>
                  </a:lnTo>
                  <a:lnTo>
                    <a:pt x="490" y="50"/>
                  </a:lnTo>
                  <a:lnTo>
                    <a:pt x="492" y="50"/>
                  </a:lnTo>
                  <a:lnTo>
                    <a:pt x="495" y="48"/>
                  </a:lnTo>
                  <a:lnTo>
                    <a:pt x="497" y="43"/>
                  </a:lnTo>
                  <a:lnTo>
                    <a:pt x="499" y="41"/>
                  </a:lnTo>
                  <a:lnTo>
                    <a:pt x="504" y="39"/>
                  </a:lnTo>
                  <a:lnTo>
                    <a:pt x="506" y="41"/>
                  </a:lnTo>
                  <a:lnTo>
                    <a:pt x="507" y="43"/>
                  </a:lnTo>
                  <a:lnTo>
                    <a:pt x="511" y="41"/>
                  </a:lnTo>
                  <a:lnTo>
                    <a:pt x="514" y="43"/>
                  </a:lnTo>
                  <a:lnTo>
                    <a:pt x="517" y="41"/>
                  </a:lnTo>
                  <a:lnTo>
                    <a:pt x="523" y="43"/>
                  </a:lnTo>
                  <a:lnTo>
                    <a:pt x="528" y="41"/>
                  </a:lnTo>
                  <a:lnTo>
                    <a:pt x="529" y="41"/>
                  </a:lnTo>
                  <a:lnTo>
                    <a:pt x="531" y="43"/>
                  </a:lnTo>
                  <a:lnTo>
                    <a:pt x="536" y="39"/>
                  </a:lnTo>
                  <a:lnTo>
                    <a:pt x="543" y="41"/>
                  </a:lnTo>
                  <a:lnTo>
                    <a:pt x="547" y="43"/>
                  </a:lnTo>
                  <a:lnTo>
                    <a:pt x="548" y="43"/>
                  </a:lnTo>
                  <a:lnTo>
                    <a:pt x="550" y="43"/>
                  </a:lnTo>
                  <a:lnTo>
                    <a:pt x="552" y="46"/>
                  </a:lnTo>
                  <a:lnTo>
                    <a:pt x="555" y="48"/>
                  </a:lnTo>
                  <a:lnTo>
                    <a:pt x="557" y="51"/>
                  </a:lnTo>
                  <a:lnTo>
                    <a:pt x="567" y="53"/>
                  </a:lnTo>
                  <a:lnTo>
                    <a:pt x="569" y="53"/>
                  </a:lnTo>
                  <a:lnTo>
                    <a:pt x="570" y="53"/>
                  </a:lnTo>
                  <a:lnTo>
                    <a:pt x="569" y="56"/>
                  </a:lnTo>
                  <a:lnTo>
                    <a:pt x="570" y="56"/>
                  </a:lnTo>
                  <a:lnTo>
                    <a:pt x="574" y="55"/>
                  </a:lnTo>
                  <a:lnTo>
                    <a:pt x="582" y="58"/>
                  </a:lnTo>
                  <a:lnTo>
                    <a:pt x="582" y="61"/>
                  </a:lnTo>
                  <a:lnTo>
                    <a:pt x="582" y="61"/>
                  </a:lnTo>
                  <a:lnTo>
                    <a:pt x="589" y="61"/>
                  </a:lnTo>
                  <a:lnTo>
                    <a:pt x="591" y="63"/>
                  </a:lnTo>
                  <a:lnTo>
                    <a:pt x="591" y="65"/>
                  </a:lnTo>
                  <a:lnTo>
                    <a:pt x="589" y="67"/>
                  </a:lnTo>
                  <a:lnTo>
                    <a:pt x="589" y="68"/>
                  </a:lnTo>
                  <a:lnTo>
                    <a:pt x="596" y="75"/>
                  </a:lnTo>
                  <a:lnTo>
                    <a:pt x="596" y="79"/>
                  </a:lnTo>
                  <a:lnTo>
                    <a:pt x="598" y="80"/>
                  </a:lnTo>
                  <a:lnTo>
                    <a:pt x="600" y="79"/>
                  </a:lnTo>
                  <a:lnTo>
                    <a:pt x="603" y="79"/>
                  </a:lnTo>
                  <a:lnTo>
                    <a:pt x="606" y="82"/>
                  </a:lnTo>
                  <a:lnTo>
                    <a:pt x="611" y="82"/>
                  </a:lnTo>
                  <a:lnTo>
                    <a:pt x="615" y="84"/>
                  </a:lnTo>
                  <a:lnTo>
                    <a:pt x="615" y="87"/>
                  </a:lnTo>
                  <a:lnTo>
                    <a:pt x="613" y="89"/>
                  </a:lnTo>
                  <a:lnTo>
                    <a:pt x="613" y="94"/>
                  </a:lnTo>
                  <a:lnTo>
                    <a:pt x="613" y="97"/>
                  </a:lnTo>
                  <a:lnTo>
                    <a:pt x="615" y="99"/>
                  </a:lnTo>
                  <a:lnTo>
                    <a:pt x="617" y="103"/>
                  </a:lnTo>
                  <a:lnTo>
                    <a:pt x="618" y="104"/>
                  </a:lnTo>
                  <a:lnTo>
                    <a:pt x="620" y="106"/>
                  </a:lnTo>
                  <a:lnTo>
                    <a:pt x="620" y="109"/>
                  </a:lnTo>
                  <a:lnTo>
                    <a:pt x="617" y="111"/>
                  </a:lnTo>
                  <a:lnTo>
                    <a:pt x="618" y="116"/>
                  </a:lnTo>
                  <a:lnTo>
                    <a:pt x="623" y="121"/>
                  </a:lnTo>
                  <a:lnTo>
                    <a:pt x="625" y="130"/>
                  </a:lnTo>
                  <a:lnTo>
                    <a:pt x="627" y="132"/>
                  </a:lnTo>
                  <a:lnTo>
                    <a:pt x="627" y="135"/>
                  </a:lnTo>
                  <a:lnTo>
                    <a:pt x="630" y="135"/>
                  </a:lnTo>
                  <a:lnTo>
                    <a:pt x="632" y="137"/>
                  </a:lnTo>
                  <a:lnTo>
                    <a:pt x="634" y="138"/>
                  </a:lnTo>
                  <a:lnTo>
                    <a:pt x="634" y="142"/>
                  </a:lnTo>
                  <a:lnTo>
                    <a:pt x="634" y="145"/>
                  </a:lnTo>
                  <a:lnTo>
                    <a:pt x="635" y="149"/>
                  </a:lnTo>
                  <a:lnTo>
                    <a:pt x="641" y="157"/>
                  </a:lnTo>
                  <a:lnTo>
                    <a:pt x="639" y="161"/>
                  </a:lnTo>
                  <a:lnTo>
                    <a:pt x="637" y="164"/>
                  </a:lnTo>
                  <a:lnTo>
                    <a:pt x="639" y="166"/>
                  </a:lnTo>
                  <a:lnTo>
                    <a:pt x="635" y="167"/>
                  </a:lnTo>
                  <a:lnTo>
                    <a:pt x="637" y="169"/>
                  </a:lnTo>
                  <a:lnTo>
                    <a:pt x="639" y="171"/>
                  </a:lnTo>
                  <a:lnTo>
                    <a:pt x="637" y="178"/>
                  </a:lnTo>
                  <a:lnTo>
                    <a:pt x="639" y="179"/>
                  </a:lnTo>
                  <a:lnTo>
                    <a:pt x="639" y="181"/>
                  </a:lnTo>
                  <a:lnTo>
                    <a:pt x="639" y="185"/>
                  </a:lnTo>
                  <a:lnTo>
                    <a:pt x="642" y="186"/>
                  </a:lnTo>
                  <a:lnTo>
                    <a:pt x="646" y="185"/>
                  </a:lnTo>
                  <a:lnTo>
                    <a:pt x="646" y="185"/>
                  </a:lnTo>
                  <a:lnTo>
                    <a:pt x="646" y="188"/>
                  </a:lnTo>
                  <a:lnTo>
                    <a:pt x="646" y="190"/>
                  </a:lnTo>
                  <a:lnTo>
                    <a:pt x="646" y="190"/>
                  </a:lnTo>
                  <a:lnTo>
                    <a:pt x="649" y="191"/>
                  </a:lnTo>
                  <a:lnTo>
                    <a:pt x="651" y="193"/>
                  </a:lnTo>
                  <a:lnTo>
                    <a:pt x="651" y="200"/>
                  </a:lnTo>
                  <a:lnTo>
                    <a:pt x="651" y="205"/>
                  </a:lnTo>
                  <a:lnTo>
                    <a:pt x="654" y="210"/>
                  </a:lnTo>
                  <a:lnTo>
                    <a:pt x="654" y="212"/>
                  </a:lnTo>
                  <a:lnTo>
                    <a:pt x="653" y="208"/>
                  </a:lnTo>
                  <a:lnTo>
                    <a:pt x="651" y="210"/>
                  </a:lnTo>
                  <a:lnTo>
                    <a:pt x="653" y="219"/>
                  </a:lnTo>
                  <a:lnTo>
                    <a:pt x="653" y="220"/>
                  </a:lnTo>
                  <a:lnTo>
                    <a:pt x="653" y="222"/>
                  </a:lnTo>
                  <a:lnTo>
                    <a:pt x="658" y="222"/>
                  </a:lnTo>
                  <a:lnTo>
                    <a:pt x="658" y="224"/>
                  </a:lnTo>
                  <a:lnTo>
                    <a:pt x="656" y="224"/>
                  </a:lnTo>
                  <a:lnTo>
                    <a:pt x="658" y="231"/>
                  </a:lnTo>
                  <a:lnTo>
                    <a:pt x="656" y="236"/>
                  </a:lnTo>
                  <a:lnTo>
                    <a:pt x="658" y="239"/>
                  </a:lnTo>
                  <a:lnTo>
                    <a:pt x="658" y="243"/>
                  </a:lnTo>
                  <a:lnTo>
                    <a:pt x="659" y="244"/>
                  </a:lnTo>
                  <a:lnTo>
                    <a:pt x="659" y="253"/>
                  </a:lnTo>
                  <a:lnTo>
                    <a:pt x="659" y="256"/>
                  </a:lnTo>
                  <a:lnTo>
                    <a:pt x="658" y="258"/>
                  </a:lnTo>
                  <a:lnTo>
                    <a:pt x="658" y="265"/>
                  </a:lnTo>
                  <a:lnTo>
                    <a:pt x="656" y="272"/>
                  </a:lnTo>
                  <a:lnTo>
                    <a:pt x="664" y="280"/>
                  </a:lnTo>
                  <a:lnTo>
                    <a:pt x="666" y="284"/>
                  </a:lnTo>
                  <a:lnTo>
                    <a:pt x="664" y="287"/>
                  </a:lnTo>
                  <a:lnTo>
                    <a:pt x="664" y="290"/>
                  </a:lnTo>
                  <a:lnTo>
                    <a:pt x="668" y="292"/>
                  </a:lnTo>
                  <a:lnTo>
                    <a:pt x="671" y="294"/>
                  </a:lnTo>
                  <a:lnTo>
                    <a:pt x="671" y="290"/>
                  </a:lnTo>
                  <a:lnTo>
                    <a:pt x="671" y="289"/>
                  </a:lnTo>
                  <a:lnTo>
                    <a:pt x="673" y="290"/>
                  </a:lnTo>
                  <a:lnTo>
                    <a:pt x="673" y="292"/>
                  </a:lnTo>
                  <a:lnTo>
                    <a:pt x="671" y="296"/>
                  </a:lnTo>
                  <a:lnTo>
                    <a:pt x="671" y="297"/>
                  </a:lnTo>
                  <a:lnTo>
                    <a:pt x="675" y="308"/>
                  </a:lnTo>
                  <a:lnTo>
                    <a:pt x="676" y="311"/>
                  </a:lnTo>
                  <a:lnTo>
                    <a:pt x="676" y="313"/>
                  </a:lnTo>
                  <a:lnTo>
                    <a:pt x="676" y="314"/>
                  </a:lnTo>
                  <a:lnTo>
                    <a:pt x="675" y="316"/>
                  </a:lnTo>
                  <a:lnTo>
                    <a:pt x="675" y="316"/>
                  </a:lnTo>
                  <a:lnTo>
                    <a:pt x="678" y="316"/>
                  </a:lnTo>
                  <a:lnTo>
                    <a:pt x="683" y="321"/>
                  </a:lnTo>
                  <a:lnTo>
                    <a:pt x="688" y="326"/>
                  </a:lnTo>
                  <a:lnTo>
                    <a:pt x="690" y="326"/>
                  </a:lnTo>
                  <a:lnTo>
                    <a:pt x="690" y="331"/>
                  </a:lnTo>
                  <a:lnTo>
                    <a:pt x="694" y="337"/>
                  </a:lnTo>
                  <a:lnTo>
                    <a:pt x="695" y="338"/>
                  </a:lnTo>
                  <a:lnTo>
                    <a:pt x="695" y="340"/>
                  </a:lnTo>
                  <a:lnTo>
                    <a:pt x="695" y="342"/>
                  </a:lnTo>
                  <a:lnTo>
                    <a:pt x="694" y="345"/>
                  </a:lnTo>
                  <a:lnTo>
                    <a:pt x="695" y="345"/>
                  </a:lnTo>
                  <a:lnTo>
                    <a:pt x="697" y="347"/>
                  </a:lnTo>
                  <a:lnTo>
                    <a:pt x="699" y="347"/>
                  </a:lnTo>
                  <a:lnTo>
                    <a:pt x="702" y="350"/>
                  </a:lnTo>
                  <a:lnTo>
                    <a:pt x="700" y="350"/>
                  </a:lnTo>
                  <a:lnTo>
                    <a:pt x="664" y="350"/>
                  </a:lnTo>
                  <a:lnTo>
                    <a:pt x="646" y="350"/>
                  </a:lnTo>
                  <a:lnTo>
                    <a:pt x="627" y="350"/>
                  </a:lnTo>
                  <a:lnTo>
                    <a:pt x="608" y="350"/>
                  </a:lnTo>
                  <a:lnTo>
                    <a:pt x="581" y="350"/>
                  </a:lnTo>
                  <a:lnTo>
                    <a:pt x="572" y="350"/>
                  </a:lnTo>
                  <a:lnTo>
                    <a:pt x="535" y="350"/>
                  </a:lnTo>
                  <a:lnTo>
                    <a:pt x="497" y="349"/>
                  </a:lnTo>
                  <a:lnTo>
                    <a:pt x="488" y="349"/>
                  </a:lnTo>
                  <a:lnTo>
                    <a:pt x="461" y="349"/>
                  </a:lnTo>
                  <a:lnTo>
                    <a:pt x="442" y="349"/>
                  </a:lnTo>
                  <a:lnTo>
                    <a:pt x="423" y="347"/>
                  </a:lnTo>
                  <a:lnTo>
                    <a:pt x="396" y="347"/>
                  </a:lnTo>
                  <a:lnTo>
                    <a:pt x="386" y="345"/>
                  </a:lnTo>
                  <a:lnTo>
                    <a:pt x="350" y="345"/>
                  </a:lnTo>
                  <a:lnTo>
                    <a:pt x="306" y="343"/>
                  </a:lnTo>
                  <a:lnTo>
                    <a:pt x="304" y="343"/>
                  </a:lnTo>
                  <a:lnTo>
                    <a:pt x="259" y="340"/>
                  </a:lnTo>
                  <a:lnTo>
                    <a:pt x="258" y="340"/>
                  </a:lnTo>
                  <a:lnTo>
                    <a:pt x="212" y="338"/>
                  </a:lnTo>
                  <a:lnTo>
                    <a:pt x="205" y="33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2" name="Freeform 21"/>
            <p:cNvSpPr>
              <a:spLocks noEditPoints="1"/>
            </p:cNvSpPr>
            <p:nvPr/>
          </p:nvSpPr>
          <p:spPr bwMode="gray">
            <a:xfrm>
              <a:off x="7319708" y="2389045"/>
              <a:ext cx="1035399" cy="784198"/>
            </a:xfrm>
            <a:custGeom>
              <a:avLst/>
              <a:gdLst/>
              <a:ahLst/>
              <a:cxnLst>
                <a:cxn ang="0">
                  <a:pos x="43" y="349"/>
                </a:cxn>
                <a:cxn ang="0">
                  <a:pos x="55" y="297"/>
                </a:cxn>
                <a:cxn ang="0">
                  <a:pos x="36" y="273"/>
                </a:cxn>
                <a:cxn ang="0">
                  <a:pos x="151" y="255"/>
                </a:cxn>
                <a:cxn ang="0">
                  <a:pos x="214" y="232"/>
                </a:cxn>
                <a:cxn ang="0">
                  <a:pos x="248" y="191"/>
                </a:cxn>
                <a:cxn ang="0">
                  <a:pos x="245" y="159"/>
                </a:cxn>
                <a:cxn ang="0">
                  <a:pos x="224" y="145"/>
                </a:cxn>
                <a:cxn ang="0">
                  <a:pos x="310" y="34"/>
                </a:cxn>
                <a:cxn ang="0">
                  <a:pos x="428" y="3"/>
                </a:cxn>
                <a:cxn ang="0">
                  <a:pos x="434" y="20"/>
                </a:cxn>
                <a:cxn ang="0">
                  <a:pos x="434" y="39"/>
                </a:cxn>
                <a:cxn ang="0">
                  <a:pos x="440" y="48"/>
                </a:cxn>
                <a:cxn ang="0">
                  <a:pos x="450" y="77"/>
                </a:cxn>
                <a:cxn ang="0">
                  <a:pos x="446" y="96"/>
                </a:cxn>
                <a:cxn ang="0">
                  <a:pos x="448" y="108"/>
                </a:cxn>
                <a:cxn ang="0">
                  <a:pos x="458" y="128"/>
                </a:cxn>
                <a:cxn ang="0">
                  <a:pos x="458" y="150"/>
                </a:cxn>
                <a:cxn ang="0">
                  <a:pos x="467" y="143"/>
                </a:cxn>
                <a:cxn ang="0">
                  <a:pos x="474" y="154"/>
                </a:cxn>
                <a:cxn ang="0">
                  <a:pos x="487" y="229"/>
                </a:cxn>
                <a:cxn ang="0">
                  <a:pos x="491" y="309"/>
                </a:cxn>
                <a:cxn ang="0">
                  <a:pos x="505" y="384"/>
                </a:cxn>
                <a:cxn ang="0">
                  <a:pos x="505" y="424"/>
                </a:cxn>
                <a:cxn ang="0">
                  <a:pos x="489" y="451"/>
                </a:cxn>
                <a:cxn ang="0">
                  <a:pos x="487" y="443"/>
                </a:cxn>
                <a:cxn ang="0">
                  <a:pos x="458" y="422"/>
                </a:cxn>
                <a:cxn ang="0">
                  <a:pos x="414" y="405"/>
                </a:cxn>
                <a:cxn ang="0">
                  <a:pos x="405" y="400"/>
                </a:cxn>
                <a:cxn ang="0">
                  <a:pos x="393" y="396"/>
                </a:cxn>
                <a:cxn ang="0">
                  <a:pos x="380" y="386"/>
                </a:cxn>
                <a:cxn ang="0">
                  <a:pos x="378" y="374"/>
                </a:cxn>
                <a:cxn ang="0">
                  <a:pos x="375" y="366"/>
                </a:cxn>
                <a:cxn ang="0">
                  <a:pos x="366" y="360"/>
                </a:cxn>
                <a:cxn ang="0">
                  <a:pos x="349" y="350"/>
                </a:cxn>
                <a:cxn ang="0">
                  <a:pos x="287" y="364"/>
                </a:cxn>
                <a:cxn ang="0">
                  <a:pos x="173" y="386"/>
                </a:cxn>
                <a:cxn ang="0">
                  <a:pos x="72" y="407"/>
                </a:cxn>
                <a:cxn ang="0">
                  <a:pos x="0" y="390"/>
                </a:cxn>
                <a:cxn ang="0">
                  <a:pos x="506" y="465"/>
                </a:cxn>
                <a:cxn ang="0">
                  <a:pos x="487" y="475"/>
                </a:cxn>
                <a:cxn ang="0">
                  <a:pos x="503" y="449"/>
                </a:cxn>
                <a:cxn ang="0">
                  <a:pos x="525" y="429"/>
                </a:cxn>
                <a:cxn ang="0">
                  <a:pos x="585" y="407"/>
                </a:cxn>
                <a:cxn ang="0">
                  <a:pos x="602" y="398"/>
                </a:cxn>
                <a:cxn ang="0">
                  <a:pos x="611" y="396"/>
                </a:cxn>
                <a:cxn ang="0">
                  <a:pos x="643" y="383"/>
                </a:cxn>
                <a:cxn ang="0">
                  <a:pos x="508" y="470"/>
                </a:cxn>
                <a:cxn ang="0">
                  <a:pos x="561" y="448"/>
                </a:cxn>
                <a:cxn ang="0">
                  <a:pos x="581" y="434"/>
                </a:cxn>
                <a:cxn ang="0">
                  <a:pos x="544" y="458"/>
                </a:cxn>
                <a:cxn ang="0">
                  <a:pos x="481" y="470"/>
                </a:cxn>
                <a:cxn ang="0">
                  <a:pos x="472" y="487"/>
                </a:cxn>
              </a:cxnLst>
              <a:rect l="0" t="0" r="r" b="b"/>
              <a:pathLst>
                <a:path w="643" h="487">
                  <a:moveTo>
                    <a:pt x="0" y="390"/>
                  </a:moveTo>
                  <a:lnTo>
                    <a:pt x="23" y="369"/>
                  </a:lnTo>
                  <a:lnTo>
                    <a:pt x="28" y="360"/>
                  </a:lnTo>
                  <a:lnTo>
                    <a:pt x="43" y="349"/>
                  </a:lnTo>
                  <a:lnTo>
                    <a:pt x="48" y="333"/>
                  </a:lnTo>
                  <a:lnTo>
                    <a:pt x="60" y="321"/>
                  </a:lnTo>
                  <a:lnTo>
                    <a:pt x="52" y="302"/>
                  </a:lnTo>
                  <a:lnTo>
                    <a:pt x="55" y="297"/>
                  </a:lnTo>
                  <a:lnTo>
                    <a:pt x="50" y="292"/>
                  </a:lnTo>
                  <a:lnTo>
                    <a:pt x="40" y="292"/>
                  </a:lnTo>
                  <a:lnTo>
                    <a:pt x="40" y="287"/>
                  </a:lnTo>
                  <a:lnTo>
                    <a:pt x="36" y="273"/>
                  </a:lnTo>
                  <a:lnTo>
                    <a:pt x="81" y="255"/>
                  </a:lnTo>
                  <a:lnTo>
                    <a:pt x="117" y="248"/>
                  </a:lnTo>
                  <a:lnTo>
                    <a:pt x="135" y="248"/>
                  </a:lnTo>
                  <a:lnTo>
                    <a:pt x="151" y="255"/>
                  </a:lnTo>
                  <a:lnTo>
                    <a:pt x="164" y="248"/>
                  </a:lnTo>
                  <a:lnTo>
                    <a:pt x="200" y="241"/>
                  </a:lnTo>
                  <a:lnTo>
                    <a:pt x="212" y="231"/>
                  </a:lnTo>
                  <a:lnTo>
                    <a:pt x="214" y="232"/>
                  </a:lnTo>
                  <a:lnTo>
                    <a:pt x="219" y="222"/>
                  </a:lnTo>
                  <a:lnTo>
                    <a:pt x="231" y="210"/>
                  </a:lnTo>
                  <a:lnTo>
                    <a:pt x="246" y="202"/>
                  </a:lnTo>
                  <a:lnTo>
                    <a:pt x="248" y="191"/>
                  </a:lnTo>
                  <a:lnTo>
                    <a:pt x="245" y="188"/>
                  </a:lnTo>
                  <a:lnTo>
                    <a:pt x="240" y="171"/>
                  </a:lnTo>
                  <a:lnTo>
                    <a:pt x="241" y="162"/>
                  </a:lnTo>
                  <a:lnTo>
                    <a:pt x="245" y="159"/>
                  </a:lnTo>
                  <a:lnTo>
                    <a:pt x="243" y="152"/>
                  </a:lnTo>
                  <a:lnTo>
                    <a:pt x="236" y="147"/>
                  </a:lnTo>
                  <a:lnTo>
                    <a:pt x="231" y="150"/>
                  </a:lnTo>
                  <a:lnTo>
                    <a:pt x="224" y="145"/>
                  </a:lnTo>
                  <a:lnTo>
                    <a:pt x="257" y="108"/>
                  </a:lnTo>
                  <a:lnTo>
                    <a:pt x="260" y="92"/>
                  </a:lnTo>
                  <a:lnTo>
                    <a:pt x="286" y="55"/>
                  </a:lnTo>
                  <a:lnTo>
                    <a:pt x="310" y="34"/>
                  </a:lnTo>
                  <a:lnTo>
                    <a:pt x="325" y="26"/>
                  </a:lnTo>
                  <a:lnTo>
                    <a:pt x="378" y="14"/>
                  </a:lnTo>
                  <a:lnTo>
                    <a:pt x="428" y="0"/>
                  </a:lnTo>
                  <a:lnTo>
                    <a:pt x="428" y="3"/>
                  </a:lnTo>
                  <a:lnTo>
                    <a:pt x="429" y="7"/>
                  </a:lnTo>
                  <a:lnTo>
                    <a:pt x="429" y="17"/>
                  </a:lnTo>
                  <a:lnTo>
                    <a:pt x="431" y="20"/>
                  </a:lnTo>
                  <a:lnTo>
                    <a:pt x="434" y="20"/>
                  </a:lnTo>
                  <a:lnTo>
                    <a:pt x="433" y="31"/>
                  </a:lnTo>
                  <a:lnTo>
                    <a:pt x="434" y="34"/>
                  </a:lnTo>
                  <a:lnTo>
                    <a:pt x="434" y="36"/>
                  </a:lnTo>
                  <a:lnTo>
                    <a:pt x="434" y="39"/>
                  </a:lnTo>
                  <a:lnTo>
                    <a:pt x="434" y="41"/>
                  </a:lnTo>
                  <a:lnTo>
                    <a:pt x="436" y="44"/>
                  </a:lnTo>
                  <a:lnTo>
                    <a:pt x="440" y="48"/>
                  </a:lnTo>
                  <a:lnTo>
                    <a:pt x="440" y="48"/>
                  </a:lnTo>
                  <a:lnTo>
                    <a:pt x="446" y="58"/>
                  </a:lnTo>
                  <a:lnTo>
                    <a:pt x="446" y="61"/>
                  </a:lnTo>
                  <a:lnTo>
                    <a:pt x="445" y="67"/>
                  </a:lnTo>
                  <a:lnTo>
                    <a:pt x="450" y="77"/>
                  </a:lnTo>
                  <a:lnTo>
                    <a:pt x="446" y="84"/>
                  </a:lnTo>
                  <a:lnTo>
                    <a:pt x="446" y="87"/>
                  </a:lnTo>
                  <a:lnTo>
                    <a:pt x="445" y="92"/>
                  </a:lnTo>
                  <a:lnTo>
                    <a:pt x="446" y="96"/>
                  </a:lnTo>
                  <a:lnTo>
                    <a:pt x="445" y="101"/>
                  </a:lnTo>
                  <a:lnTo>
                    <a:pt x="445" y="102"/>
                  </a:lnTo>
                  <a:lnTo>
                    <a:pt x="448" y="104"/>
                  </a:lnTo>
                  <a:lnTo>
                    <a:pt x="448" y="108"/>
                  </a:lnTo>
                  <a:lnTo>
                    <a:pt x="452" y="114"/>
                  </a:lnTo>
                  <a:lnTo>
                    <a:pt x="453" y="118"/>
                  </a:lnTo>
                  <a:lnTo>
                    <a:pt x="455" y="126"/>
                  </a:lnTo>
                  <a:lnTo>
                    <a:pt x="458" y="128"/>
                  </a:lnTo>
                  <a:lnTo>
                    <a:pt x="458" y="130"/>
                  </a:lnTo>
                  <a:lnTo>
                    <a:pt x="458" y="135"/>
                  </a:lnTo>
                  <a:lnTo>
                    <a:pt x="457" y="145"/>
                  </a:lnTo>
                  <a:lnTo>
                    <a:pt x="458" y="150"/>
                  </a:lnTo>
                  <a:lnTo>
                    <a:pt x="460" y="150"/>
                  </a:lnTo>
                  <a:lnTo>
                    <a:pt x="462" y="145"/>
                  </a:lnTo>
                  <a:lnTo>
                    <a:pt x="465" y="143"/>
                  </a:lnTo>
                  <a:lnTo>
                    <a:pt x="467" y="143"/>
                  </a:lnTo>
                  <a:lnTo>
                    <a:pt x="469" y="147"/>
                  </a:lnTo>
                  <a:lnTo>
                    <a:pt x="469" y="149"/>
                  </a:lnTo>
                  <a:lnTo>
                    <a:pt x="470" y="149"/>
                  </a:lnTo>
                  <a:lnTo>
                    <a:pt x="474" y="154"/>
                  </a:lnTo>
                  <a:lnTo>
                    <a:pt x="477" y="176"/>
                  </a:lnTo>
                  <a:lnTo>
                    <a:pt x="486" y="215"/>
                  </a:lnTo>
                  <a:lnTo>
                    <a:pt x="487" y="225"/>
                  </a:lnTo>
                  <a:lnTo>
                    <a:pt x="487" y="229"/>
                  </a:lnTo>
                  <a:lnTo>
                    <a:pt x="491" y="234"/>
                  </a:lnTo>
                  <a:lnTo>
                    <a:pt x="491" y="234"/>
                  </a:lnTo>
                  <a:lnTo>
                    <a:pt x="491" y="261"/>
                  </a:lnTo>
                  <a:lnTo>
                    <a:pt x="491" y="309"/>
                  </a:lnTo>
                  <a:lnTo>
                    <a:pt x="493" y="313"/>
                  </a:lnTo>
                  <a:lnTo>
                    <a:pt x="499" y="352"/>
                  </a:lnTo>
                  <a:lnTo>
                    <a:pt x="501" y="367"/>
                  </a:lnTo>
                  <a:lnTo>
                    <a:pt x="505" y="384"/>
                  </a:lnTo>
                  <a:lnTo>
                    <a:pt x="506" y="393"/>
                  </a:lnTo>
                  <a:lnTo>
                    <a:pt x="513" y="400"/>
                  </a:lnTo>
                  <a:lnTo>
                    <a:pt x="498" y="415"/>
                  </a:lnTo>
                  <a:lnTo>
                    <a:pt x="505" y="424"/>
                  </a:lnTo>
                  <a:lnTo>
                    <a:pt x="506" y="425"/>
                  </a:lnTo>
                  <a:lnTo>
                    <a:pt x="498" y="439"/>
                  </a:lnTo>
                  <a:lnTo>
                    <a:pt x="498" y="446"/>
                  </a:lnTo>
                  <a:lnTo>
                    <a:pt x="489" y="451"/>
                  </a:lnTo>
                  <a:lnTo>
                    <a:pt x="486" y="463"/>
                  </a:lnTo>
                  <a:lnTo>
                    <a:pt x="484" y="460"/>
                  </a:lnTo>
                  <a:lnTo>
                    <a:pt x="486" y="453"/>
                  </a:lnTo>
                  <a:lnTo>
                    <a:pt x="487" y="443"/>
                  </a:lnTo>
                  <a:lnTo>
                    <a:pt x="487" y="437"/>
                  </a:lnTo>
                  <a:lnTo>
                    <a:pt x="487" y="434"/>
                  </a:lnTo>
                  <a:lnTo>
                    <a:pt x="486" y="429"/>
                  </a:lnTo>
                  <a:lnTo>
                    <a:pt x="458" y="422"/>
                  </a:lnTo>
                  <a:lnTo>
                    <a:pt x="457" y="422"/>
                  </a:lnTo>
                  <a:lnTo>
                    <a:pt x="445" y="417"/>
                  </a:lnTo>
                  <a:lnTo>
                    <a:pt x="416" y="407"/>
                  </a:lnTo>
                  <a:lnTo>
                    <a:pt x="414" y="405"/>
                  </a:lnTo>
                  <a:lnTo>
                    <a:pt x="411" y="403"/>
                  </a:lnTo>
                  <a:lnTo>
                    <a:pt x="411" y="400"/>
                  </a:lnTo>
                  <a:lnTo>
                    <a:pt x="409" y="400"/>
                  </a:lnTo>
                  <a:lnTo>
                    <a:pt x="405" y="400"/>
                  </a:lnTo>
                  <a:lnTo>
                    <a:pt x="400" y="400"/>
                  </a:lnTo>
                  <a:lnTo>
                    <a:pt x="397" y="402"/>
                  </a:lnTo>
                  <a:lnTo>
                    <a:pt x="397" y="400"/>
                  </a:lnTo>
                  <a:lnTo>
                    <a:pt x="393" y="396"/>
                  </a:lnTo>
                  <a:lnTo>
                    <a:pt x="390" y="398"/>
                  </a:lnTo>
                  <a:lnTo>
                    <a:pt x="387" y="393"/>
                  </a:lnTo>
                  <a:lnTo>
                    <a:pt x="385" y="390"/>
                  </a:lnTo>
                  <a:lnTo>
                    <a:pt x="380" y="386"/>
                  </a:lnTo>
                  <a:lnTo>
                    <a:pt x="380" y="386"/>
                  </a:lnTo>
                  <a:lnTo>
                    <a:pt x="381" y="383"/>
                  </a:lnTo>
                  <a:lnTo>
                    <a:pt x="378" y="376"/>
                  </a:lnTo>
                  <a:lnTo>
                    <a:pt x="378" y="374"/>
                  </a:lnTo>
                  <a:lnTo>
                    <a:pt x="376" y="369"/>
                  </a:lnTo>
                  <a:lnTo>
                    <a:pt x="375" y="369"/>
                  </a:lnTo>
                  <a:lnTo>
                    <a:pt x="373" y="367"/>
                  </a:lnTo>
                  <a:lnTo>
                    <a:pt x="375" y="366"/>
                  </a:lnTo>
                  <a:lnTo>
                    <a:pt x="371" y="364"/>
                  </a:lnTo>
                  <a:lnTo>
                    <a:pt x="370" y="362"/>
                  </a:lnTo>
                  <a:lnTo>
                    <a:pt x="368" y="362"/>
                  </a:lnTo>
                  <a:lnTo>
                    <a:pt x="366" y="360"/>
                  </a:lnTo>
                  <a:lnTo>
                    <a:pt x="359" y="362"/>
                  </a:lnTo>
                  <a:lnTo>
                    <a:pt x="356" y="355"/>
                  </a:lnTo>
                  <a:lnTo>
                    <a:pt x="352" y="354"/>
                  </a:lnTo>
                  <a:lnTo>
                    <a:pt x="349" y="350"/>
                  </a:lnTo>
                  <a:lnTo>
                    <a:pt x="347" y="350"/>
                  </a:lnTo>
                  <a:lnTo>
                    <a:pt x="339" y="352"/>
                  </a:lnTo>
                  <a:lnTo>
                    <a:pt x="291" y="362"/>
                  </a:lnTo>
                  <a:lnTo>
                    <a:pt x="287" y="364"/>
                  </a:lnTo>
                  <a:lnTo>
                    <a:pt x="255" y="371"/>
                  </a:lnTo>
                  <a:lnTo>
                    <a:pt x="226" y="376"/>
                  </a:lnTo>
                  <a:lnTo>
                    <a:pt x="224" y="376"/>
                  </a:lnTo>
                  <a:lnTo>
                    <a:pt x="173" y="386"/>
                  </a:lnTo>
                  <a:lnTo>
                    <a:pt x="163" y="390"/>
                  </a:lnTo>
                  <a:lnTo>
                    <a:pt x="127" y="396"/>
                  </a:lnTo>
                  <a:lnTo>
                    <a:pt x="120" y="396"/>
                  </a:lnTo>
                  <a:lnTo>
                    <a:pt x="72" y="407"/>
                  </a:lnTo>
                  <a:lnTo>
                    <a:pt x="60" y="408"/>
                  </a:lnTo>
                  <a:lnTo>
                    <a:pt x="17" y="415"/>
                  </a:lnTo>
                  <a:lnTo>
                    <a:pt x="5" y="417"/>
                  </a:lnTo>
                  <a:lnTo>
                    <a:pt x="0" y="390"/>
                  </a:lnTo>
                  <a:close/>
                  <a:moveTo>
                    <a:pt x="508" y="470"/>
                  </a:moveTo>
                  <a:lnTo>
                    <a:pt x="494" y="477"/>
                  </a:lnTo>
                  <a:lnTo>
                    <a:pt x="506" y="466"/>
                  </a:lnTo>
                  <a:lnTo>
                    <a:pt x="506" y="465"/>
                  </a:lnTo>
                  <a:lnTo>
                    <a:pt x="499" y="465"/>
                  </a:lnTo>
                  <a:lnTo>
                    <a:pt x="494" y="468"/>
                  </a:lnTo>
                  <a:lnTo>
                    <a:pt x="498" y="472"/>
                  </a:lnTo>
                  <a:lnTo>
                    <a:pt x="487" y="475"/>
                  </a:lnTo>
                  <a:lnTo>
                    <a:pt x="486" y="470"/>
                  </a:lnTo>
                  <a:lnTo>
                    <a:pt x="487" y="458"/>
                  </a:lnTo>
                  <a:lnTo>
                    <a:pt x="491" y="451"/>
                  </a:lnTo>
                  <a:lnTo>
                    <a:pt x="503" y="449"/>
                  </a:lnTo>
                  <a:lnTo>
                    <a:pt x="501" y="443"/>
                  </a:lnTo>
                  <a:lnTo>
                    <a:pt x="511" y="434"/>
                  </a:lnTo>
                  <a:lnTo>
                    <a:pt x="522" y="434"/>
                  </a:lnTo>
                  <a:lnTo>
                    <a:pt x="525" y="429"/>
                  </a:lnTo>
                  <a:lnTo>
                    <a:pt x="542" y="427"/>
                  </a:lnTo>
                  <a:lnTo>
                    <a:pt x="547" y="420"/>
                  </a:lnTo>
                  <a:lnTo>
                    <a:pt x="556" y="417"/>
                  </a:lnTo>
                  <a:lnTo>
                    <a:pt x="585" y="407"/>
                  </a:lnTo>
                  <a:lnTo>
                    <a:pt x="605" y="383"/>
                  </a:lnTo>
                  <a:lnTo>
                    <a:pt x="609" y="383"/>
                  </a:lnTo>
                  <a:lnTo>
                    <a:pt x="604" y="388"/>
                  </a:lnTo>
                  <a:lnTo>
                    <a:pt x="602" y="398"/>
                  </a:lnTo>
                  <a:lnTo>
                    <a:pt x="592" y="407"/>
                  </a:lnTo>
                  <a:lnTo>
                    <a:pt x="590" y="415"/>
                  </a:lnTo>
                  <a:lnTo>
                    <a:pt x="600" y="410"/>
                  </a:lnTo>
                  <a:lnTo>
                    <a:pt x="611" y="396"/>
                  </a:lnTo>
                  <a:lnTo>
                    <a:pt x="617" y="393"/>
                  </a:lnTo>
                  <a:lnTo>
                    <a:pt x="628" y="395"/>
                  </a:lnTo>
                  <a:lnTo>
                    <a:pt x="638" y="383"/>
                  </a:lnTo>
                  <a:lnTo>
                    <a:pt x="643" y="383"/>
                  </a:lnTo>
                  <a:lnTo>
                    <a:pt x="640" y="388"/>
                  </a:lnTo>
                  <a:lnTo>
                    <a:pt x="599" y="422"/>
                  </a:lnTo>
                  <a:lnTo>
                    <a:pt x="532" y="456"/>
                  </a:lnTo>
                  <a:lnTo>
                    <a:pt x="508" y="470"/>
                  </a:lnTo>
                  <a:close/>
                  <a:moveTo>
                    <a:pt x="544" y="458"/>
                  </a:moveTo>
                  <a:lnTo>
                    <a:pt x="544" y="456"/>
                  </a:lnTo>
                  <a:lnTo>
                    <a:pt x="547" y="456"/>
                  </a:lnTo>
                  <a:lnTo>
                    <a:pt x="561" y="448"/>
                  </a:lnTo>
                  <a:lnTo>
                    <a:pt x="573" y="437"/>
                  </a:lnTo>
                  <a:lnTo>
                    <a:pt x="580" y="432"/>
                  </a:lnTo>
                  <a:lnTo>
                    <a:pt x="581" y="432"/>
                  </a:lnTo>
                  <a:lnTo>
                    <a:pt x="581" y="434"/>
                  </a:lnTo>
                  <a:lnTo>
                    <a:pt x="568" y="443"/>
                  </a:lnTo>
                  <a:lnTo>
                    <a:pt x="563" y="448"/>
                  </a:lnTo>
                  <a:lnTo>
                    <a:pt x="547" y="456"/>
                  </a:lnTo>
                  <a:lnTo>
                    <a:pt x="544" y="458"/>
                  </a:lnTo>
                  <a:close/>
                  <a:moveTo>
                    <a:pt x="472" y="487"/>
                  </a:moveTo>
                  <a:lnTo>
                    <a:pt x="470" y="484"/>
                  </a:lnTo>
                  <a:lnTo>
                    <a:pt x="474" y="473"/>
                  </a:lnTo>
                  <a:lnTo>
                    <a:pt x="481" y="470"/>
                  </a:lnTo>
                  <a:lnTo>
                    <a:pt x="484" y="475"/>
                  </a:lnTo>
                  <a:lnTo>
                    <a:pt x="481" y="482"/>
                  </a:lnTo>
                  <a:lnTo>
                    <a:pt x="475" y="487"/>
                  </a:lnTo>
                  <a:lnTo>
                    <a:pt x="472" y="487"/>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3" name="Freeform 22"/>
            <p:cNvSpPr>
              <a:spLocks/>
            </p:cNvSpPr>
            <p:nvPr/>
          </p:nvSpPr>
          <p:spPr bwMode="gray">
            <a:xfrm>
              <a:off x="7234363" y="2952637"/>
              <a:ext cx="795469" cy="515284"/>
            </a:xfrm>
            <a:custGeom>
              <a:avLst/>
              <a:gdLst/>
              <a:ahLst/>
              <a:cxnLst>
                <a:cxn ang="0">
                  <a:pos x="216" y="289"/>
                </a:cxn>
                <a:cxn ang="0">
                  <a:pos x="168" y="298"/>
                </a:cxn>
                <a:cxn ang="0">
                  <a:pos x="100" y="310"/>
                </a:cxn>
                <a:cxn ang="0">
                  <a:pos x="40" y="320"/>
                </a:cxn>
                <a:cxn ang="0">
                  <a:pos x="31" y="274"/>
                </a:cxn>
                <a:cxn ang="0">
                  <a:pos x="23" y="222"/>
                </a:cxn>
                <a:cxn ang="0">
                  <a:pos x="14" y="171"/>
                </a:cxn>
                <a:cxn ang="0">
                  <a:pos x="2" y="94"/>
                </a:cxn>
                <a:cxn ang="0">
                  <a:pos x="58" y="67"/>
                </a:cxn>
                <a:cxn ang="0">
                  <a:pos x="125" y="57"/>
                </a:cxn>
                <a:cxn ang="0">
                  <a:pos x="216" y="40"/>
                </a:cxn>
                <a:cxn ang="0">
                  <a:pos x="279" y="26"/>
                </a:cxn>
                <a:cxn ang="0">
                  <a:pos x="344" y="12"/>
                </a:cxn>
                <a:cxn ang="0">
                  <a:pos x="402" y="0"/>
                </a:cxn>
                <a:cxn ang="0">
                  <a:pos x="412" y="12"/>
                </a:cxn>
                <a:cxn ang="0">
                  <a:pos x="423" y="12"/>
                </a:cxn>
                <a:cxn ang="0">
                  <a:pos x="426" y="17"/>
                </a:cxn>
                <a:cxn ang="0">
                  <a:pos x="431" y="24"/>
                </a:cxn>
                <a:cxn ang="0">
                  <a:pos x="433" y="36"/>
                </a:cxn>
                <a:cxn ang="0">
                  <a:pos x="440" y="43"/>
                </a:cxn>
                <a:cxn ang="0">
                  <a:pos x="450" y="50"/>
                </a:cxn>
                <a:cxn ang="0">
                  <a:pos x="458" y="50"/>
                </a:cxn>
                <a:cxn ang="0">
                  <a:pos x="464" y="53"/>
                </a:cxn>
                <a:cxn ang="0">
                  <a:pos x="462" y="63"/>
                </a:cxn>
                <a:cxn ang="0">
                  <a:pos x="458" y="74"/>
                </a:cxn>
                <a:cxn ang="0">
                  <a:pos x="453" y="87"/>
                </a:cxn>
                <a:cxn ang="0">
                  <a:pos x="453" y="91"/>
                </a:cxn>
                <a:cxn ang="0">
                  <a:pos x="446" y="99"/>
                </a:cxn>
                <a:cxn ang="0">
                  <a:pos x="443" y="106"/>
                </a:cxn>
                <a:cxn ang="0">
                  <a:pos x="452" y="113"/>
                </a:cxn>
                <a:cxn ang="0">
                  <a:pos x="450" y="120"/>
                </a:cxn>
                <a:cxn ang="0">
                  <a:pos x="445" y="127"/>
                </a:cxn>
                <a:cxn ang="0">
                  <a:pos x="445" y="135"/>
                </a:cxn>
                <a:cxn ang="0">
                  <a:pos x="446" y="142"/>
                </a:cxn>
                <a:cxn ang="0">
                  <a:pos x="448" y="149"/>
                </a:cxn>
                <a:cxn ang="0">
                  <a:pos x="457" y="149"/>
                </a:cxn>
                <a:cxn ang="0">
                  <a:pos x="462" y="161"/>
                </a:cxn>
                <a:cxn ang="0">
                  <a:pos x="469" y="161"/>
                </a:cxn>
                <a:cxn ang="0">
                  <a:pos x="476" y="169"/>
                </a:cxn>
                <a:cxn ang="0">
                  <a:pos x="493" y="181"/>
                </a:cxn>
                <a:cxn ang="0">
                  <a:pos x="487" y="190"/>
                </a:cxn>
                <a:cxn ang="0">
                  <a:pos x="477" y="200"/>
                </a:cxn>
                <a:cxn ang="0">
                  <a:pos x="470" y="209"/>
                </a:cxn>
                <a:cxn ang="0">
                  <a:pos x="467" y="214"/>
                </a:cxn>
                <a:cxn ang="0">
                  <a:pos x="465" y="221"/>
                </a:cxn>
                <a:cxn ang="0">
                  <a:pos x="453" y="228"/>
                </a:cxn>
                <a:cxn ang="0">
                  <a:pos x="434" y="233"/>
                </a:cxn>
                <a:cxn ang="0">
                  <a:pos x="423" y="241"/>
                </a:cxn>
                <a:cxn ang="0">
                  <a:pos x="392" y="253"/>
                </a:cxn>
                <a:cxn ang="0">
                  <a:pos x="340" y="265"/>
                </a:cxn>
                <a:cxn ang="0">
                  <a:pos x="286" y="275"/>
                </a:cxn>
              </a:cxnLst>
              <a:rect l="0" t="0" r="r" b="b"/>
              <a:pathLst>
                <a:path w="494" h="320">
                  <a:moveTo>
                    <a:pt x="284" y="275"/>
                  </a:moveTo>
                  <a:lnTo>
                    <a:pt x="235" y="286"/>
                  </a:lnTo>
                  <a:lnTo>
                    <a:pt x="216" y="289"/>
                  </a:lnTo>
                  <a:lnTo>
                    <a:pt x="212" y="289"/>
                  </a:lnTo>
                  <a:lnTo>
                    <a:pt x="176" y="296"/>
                  </a:lnTo>
                  <a:lnTo>
                    <a:pt x="168" y="298"/>
                  </a:lnTo>
                  <a:lnTo>
                    <a:pt x="130" y="304"/>
                  </a:lnTo>
                  <a:lnTo>
                    <a:pt x="123" y="306"/>
                  </a:lnTo>
                  <a:lnTo>
                    <a:pt x="100" y="310"/>
                  </a:lnTo>
                  <a:lnTo>
                    <a:pt x="88" y="313"/>
                  </a:lnTo>
                  <a:lnTo>
                    <a:pt x="47" y="320"/>
                  </a:lnTo>
                  <a:lnTo>
                    <a:pt x="40" y="320"/>
                  </a:lnTo>
                  <a:lnTo>
                    <a:pt x="35" y="296"/>
                  </a:lnTo>
                  <a:lnTo>
                    <a:pt x="33" y="289"/>
                  </a:lnTo>
                  <a:lnTo>
                    <a:pt x="31" y="274"/>
                  </a:lnTo>
                  <a:lnTo>
                    <a:pt x="28" y="248"/>
                  </a:lnTo>
                  <a:lnTo>
                    <a:pt x="26" y="239"/>
                  </a:lnTo>
                  <a:lnTo>
                    <a:pt x="23" y="222"/>
                  </a:lnTo>
                  <a:lnTo>
                    <a:pt x="19" y="200"/>
                  </a:lnTo>
                  <a:lnTo>
                    <a:pt x="19" y="195"/>
                  </a:lnTo>
                  <a:lnTo>
                    <a:pt x="14" y="171"/>
                  </a:lnTo>
                  <a:lnTo>
                    <a:pt x="9" y="132"/>
                  </a:lnTo>
                  <a:lnTo>
                    <a:pt x="7" y="132"/>
                  </a:lnTo>
                  <a:lnTo>
                    <a:pt x="2" y="94"/>
                  </a:lnTo>
                  <a:lnTo>
                    <a:pt x="0" y="79"/>
                  </a:lnTo>
                  <a:lnTo>
                    <a:pt x="53" y="40"/>
                  </a:lnTo>
                  <a:lnTo>
                    <a:pt x="58" y="67"/>
                  </a:lnTo>
                  <a:lnTo>
                    <a:pt x="70" y="65"/>
                  </a:lnTo>
                  <a:lnTo>
                    <a:pt x="113" y="58"/>
                  </a:lnTo>
                  <a:lnTo>
                    <a:pt x="125" y="57"/>
                  </a:lnTo>
                  <a:lnTo>
                    <a:pt x="173" y="46"/>
                  </a:lnTo>
                  <a:lnTo>
                    <a:pt x="180" y="46"/>
                  </a:lnTo>
                  <a:lnTo>
                    <a:pt x="216" y="40"/>
                  </a:lnTo>
                  <a:lnTo>
                    <a:pt x="226" y="36"/>
                  </a:lnTo>
                  <a:lnTo>
                    <a:pt x="277" y="26"/>
                  </a:lnTo>
                  <a:lnTo>
                    <a:pt x="279" y="26"/>
                  </a:lnTo>
                  <a:lnTo>
                    <a:pt x="308" y="21"/>
                  </a:lnTo>
                  <a:lnTo>
                    <a:pt x="340" y="14"/>
                  </a:lnTo>
                  <a:lnTo>
                    <a:pt x="344" y="12"/>
                  </a:lnTo>
                  <a:lnTo>
                    <a:pt x="392" y="2"/>
                  </a:lnTo>
                  <a:lnTo>
                    <a:pt x="400" y="0"/>
                  </a:lnTo>
                  <a:lnTo>
                    <a:pt x="402" y="0"/>
                  </a:lnTo>
                  <a:lnTo>
                    <a:pt x="405" y="4"/>
                  </a:lnTo>
                  <a:lnTo>
                    <a:pt x="409" y="5"/>
                  </a:lnTo>
                  <a:lnTo>
                    <a:pt x="412" y="12"/>
                  </a:lnTo>
                  <a:lnTo>
                    <a:pt x="419" y="10"/>
                  </a:lnTo>
                  <a:lnTo>
                    <a:pt x="421" y="12"/>
                  </a:lnTo>
                  <a:lnTo>
                    <a:pt x="423" y="12"/>
                  </a:lnTo>
                  <a:lnTo>
                    <a:pt x="424" y="14"/>
                  </a:lnTo>
                  <a:lnTo>
                    <a:pt x="428" y="16"/>
                  </a:lnTo>
                  <a:lnTo>
                    <a:pt x="426" y="17"/>
                  </a:lnTo>
                  <a:lnTo>
                    <a:pt x="428" y="19"/>
                  </a:lnTo>
                  <a:lnTo>
                    <a:pt x="429" y="19"/>
                  </a:lnTo>
                  <a:lnTo>
                    <a:pt x="431" y="24"/>
                  </a:lnTo>
                  <a:lnTo>
                    <a:pt x="431" y="26"/>
                  </a:lnTo>
                  <a:lnTo>
                    <a:pt x="434" y="33"/>
                  </a:lnTo>
                  <a:lnTo>
                    <a:pt x="433" y="36"/>
                  </a:lnTo>
                  <a:lnTo>
                    <a:pt x="433" y="36"/>
                  </a:lnTo>
                  <a:lnTo>
                    <a:pt x="438" y="40"/>
                  </a:lnTo>
                  <a:lnTo>
                    <a:pt x="440" y="43"/>
                  </a:lnTo>
                  <a:lnTo>
                    <a:pt x="443" y="48"/>
                  </a:lnTo>
                  <a:lnTo>
                    <a:pt x="446" y="46"/>
                  </a:lnTo>
                  <a:lnTo>
                    <a:pt x="450" y="50"/>
                  </a:lnTo>
                  <a:lnTo>
                    <a:pt x="450" y="52"/>
                  </a:lnTo>
                  <a:lnTo>
                    <a:pt x="453" y="50"/>
                  </a:lnTo>
                  <a:lnTo>
                    <a:pt x="458" y="50"/>
                  </a:lnTo>
                  <a:lnTo>
                    <a:pt x="462" y="50"/>
                  </a:lnTo>
                  <a:lnTo>
                    <a:pt x="464" y="50"/>
                  </a:lnTo>
                  <a:lnTo>
                    <a:pt x="464" y="53"/>
                  </a:lnTo>
                  <a:lnTo>
                    <a:pt x="467" y="55"/>
                  </a:lnTo>
                  <a:lnTo>
                    <a:pt x="469" y="57"/>
                  </a:lnTo>
                  <a:lnTo>
                    <a:pt x="462" y="63"/>
                  </a:lnTo>
                  <a:lnTo>
                    <a:pt x="462" y="65"/>
                  </a:lnTo>
                  <a:lnTo>
                    <a:pt x="460" y="67"/>
                  </a:lnTo>
                  <a:lnTo>
                    <a:pt x="458" y="74"/>
                  </a:lnTo>
                  <a:lnTo>
                    <a:pt x="458" y="75"/>
                  </a:lnTo>
                  <a:lnTo>
                    <a:pt x="457" y="82"/>
                  </a:lnTo>
                  <a:lnTo>
                    <a:pt x="453" y="87"/>
                  </a:lnTo>
                  <a:lnTo>
                    <a:pt x="452" y="89"/>
                  </a:lnTo>
                  <a:lnTo>
                    <a:pt x="452" y="91"/>
                  </a:lnTo>
                  <a:lnTo>
                    <a:pt x="453" y="91"/>
                  </a:lnTo>
                  <a:lnTo>
                    <a:pt x="452" y="93"/>
                  </a:lnTo>
                  <a:lnTo>
                    <a:pt x="450" y="98"/>
                  </a:lnTo>
                  <a:lnTo>
                    <a:pt x="446" y="99"/>
                  </a:lnTo>
                  <a:lnTo>
                    <a:pt x="443" y="101"/>
                  </a:lnTo>
                  <a:lnTo>
                    <a:pt x="443" y="104"/>
                  </a:lnTo>
                  <a:lnTo>
                    <a:pt x="443" y="106"/>
                  </a:lnTo>
                  <a:lnTo>
                    <a:pt x="448" y="111"/>
                  </a:lnTo>
                  <a:lnTo>
                    <a:pt x="450" y="113"/>
                  </a:lnTo>
                  <a:lnTo>
                    <a:pt x="452" y="113"/>
                  </a:lnTo>
                  <a:lnTo>
                    <a:pt x="452" y="115"/>
                  </a:lnTo>
                  <a:lnTo>
                    <a:pt x="448" y="118"/>
                  </a:lnTo>
                  <a:lnTo>
                    <a:pt x="450" y="120"/>
                  </a:lnTo>
                  <a:lnTo>
                    <a:pt x="450" y="123"/>
                  </a:lnTo>
                  <a:lnTo>
                    <a:pt x="448" y="125"/>
                  </a:lnTo>
                  <a:lnTo>
                    <a:pt x="445" y="127"/>
                  </a:lnTo>
                  <a:lnTo>
                    <a:pt x="443" y="130"/>
                  </a:lnTo>
                  <a:lnTo>
                    <a:pt x="445" y="132"/>
                  </a:lnTo>
                  <a:lnTo>
                    <a:pt x="445" y="135"/>
                  </a:lnTo>
                  <a:lnTo>
                    <a:pt x="446" y="137"/>
                  </a:lnTo>
                  <a:lnTo>
                    <a:pt x="445" y="140"/>
                  </a:lnTo>
                  <a:lnTo>
                    <a:pt x="446" y="142"/>
                  </a:lnTo>
                  <a:lnTo>
                    <a:pt x="446" y="144"/>
                  </a:lnTo>
                  <a:lnTo>
                    <a:pt x="448" y="147"/>
                  </a:lnTo>
                  <a:lnTo>
                    <a:pt x="448" y="149"/>
                  </a:lnTo>
                  <a:lnTo>
                    <a:pt x="448" y="149"/>
                  </a:lnTo>
                  <a:lnTo>
                    <a:pt x="453" y="147"/>
                  </a:lnTo>
                  <a:lnTo>
                    <a:pt x="457" y="149"/>
                  </a:lnTo>
                  <a:lnTo>
                    <a:pt x="458" y="151"/>
                  </a:lnTo>
                  <a:lnTo>
                    <a:pt x="460" y="157"/>
                  </a:lnTo>
                  <a:lnTo>
                    <a:pt x="462" y="161"/>
                  </a:lnTo>
                  <a:lnTo>
                    <a:pt x="465" y="163"/>
                  </a:lnTo>
                  <a:lnTo>
                    <a:pt x="467" y="161"/>
                  </a:lnTo>
                  <a:lnTo>
                    <a:pt x="469" y="161"/>
                  </a:lnTo>
                  <a:lnTo>
                    <a:pt x="472" y="168"/>
                  </a:lnTo>
                  <a:lnTo>
                    <a:pt x="474" y="168"/>
                  </a:lnTo>
                  <a:lnTo>
                    <a:pt x="476" y="169"/>
                  </a:lnTo>
                  <a:lnTo>
                    <a:pt x="479" y="171"/>
                  </a:lnTo>
                  <a:lnTo>
                    <a:pt x="482" y="176"/>
                  </a:lnTo>
                  <a:lnTo>
                    <a:pt x="493" y="181"/>
                  </a:lnTo>
                  <a:lnTo>
                    <a:pt x="494" y="185"/>
                  </a:lnTo>
                  <a:lnTo>
                    <a:pt x="494" y="187"/>
                  </a:lnTo>
                  <a:lnTo>
                    <a:pt x="487" y="190"/>
                  </a:lnTo>
                  <a:lnTo>
                    <a:pt x="484" y="195"/>
                  </a:lnTo>
                  <a:lnTo>
                    <a:pt x="479" y="198"/>
                  </a:lnTo>
                  <a:lnTo>
                    <a:pt x="477" y="200"/>
                  </a:lnTo>
                  <a:lnTo>
                    <a:pt x="472" y="205"/>
                  </a:lnTo>
                  <a:lnTo>
                    <a:pt x="472" y="207"/>
                  </a:lnTo>
                  <a:lnTo>
                    <a:pt x="470" y="209"/>
                  </a:lnTo>
                  <a:lnTo>
                    <a:pt x="469" y="209"/>
                  </a:lnTo>
                  <a:lnTo>
                    <a:pt x="467" y="212"/>
                  </a:lnTo>
                  <a:lnTo>
                    <a:pt x="467" y="214"/>
                  </a:lnTo>
                  <a:lnTo>
                    <a:pt x="469" y="217"/>
                  </a:lnTo>
                  <a:lnTo>
                    <a:pt x="469" y="219"/>
                  </a:lnTo>
                  <a:lnTo>
                    <a:pt x="465" y="221"/>
                  </a:lnTo>
                  <a:lnTo>
                    <a:pt x="460" y="224"/>
                  </a:lnTo>
                  <a:lnTo>
                    <a:pt x="460" y="226"/>
                  </a:lnTo>
                  <a:lnTo>
                    <a:pt x="453" y="228"/>
                  </a:lnTo>
                  <a:lnTo>
                    <a:pt x="448" y="233"/>
                  </a:lnTo>
                  <a:lnTo>
                    <a:pt x="443" y="231"/>
                  </a:lnTo>
                  <a:lnTo>
                    <a:pt x="434" y="233"/>
                  </a:lnTo>
                  <a:lnTo>
                    <a:pt x="429" y="233"/>
                  </a:lnTo>
                  <a:lnTo>
                    <a:pt x="426" y="236"/>
                  </a:lnTo>
                  <a:lnTo>
                    <a:pt x="423" y="241"/>
                  </a:lnTo>
                  <a:lnTo>
                    <a:pt x="421" y="248"/>
                  </a:lnTo>
                  <a:lnTo>
                    <a:pt x="419" y="248"/>
                  </a:lnTo>
                  <a:lnTo>
                    <a:pt x="392" y="253"/>
                  </a:lnTo>
                  <a:lnTo>
                    <a:pt x="385" y="255"/>
                  </a:lnTo>
                  <a:lnTo>
                    <a:pt x="358" y="262"/>
                  </a:lnTo>
                  <a:lnTo>
                    <a:pt x="340" y="265"/>
                  </a:lnTo>
                  <a:lnTo>
                    <a:pt x="323" y="269"/>
                  </a:lnTo>
                  <a:lnTo>
                    <a:pt x="305" y="272"/>
                  </a:lnTo>
                  <a:lnTo>
                    <a:pt x="286" y="275"/>
                  </a:lnTo>
                  <a:lnTo>
                    <a:pt x="284" y="27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4" name="Freeform 23"/>
            <p:cNvSpPr>
              <a:spLocks/>
            </p:cNvSpPr>
            <p:nvPr/>
          </p:nvSpPr>
          <p:spPr bwMode="gray">
            <a:xfrm>
              <a:off x="8113566" y="2843138"/>
              <a:ext cx="233488" cy="230268"/>
            </a:xfrm>
            <a:custGeom>
              <a:avLst/>
              <a:gdLst/>
              <a:ahLst/>
              <a:cxnLst>
                <a:cxn ang="0">
                  <a:pos x="8" y="85"/>
                </a:cxn>
                <a:cxn ang="0">
                  <a:pos x="6" y="70"/>
                </a:cxn>
                <a:cxn ang="0">
                  <a:pos x="0" y="31"/>
                </a:cxn>
                <a:cxn ang="0">
                  <a:pos x="34" y="22"/>
                </a:cxn>
                <a:cxn ang="0">
                  <a:pos x="35" y="22"/>
                </a:cxn>
                <a:cxn ang="0">
                  <a:pos x="51" y="19"/>
                </a:cxn>
                <a:cxn ang="0">
                  <a:pos x="51" y="22"/>
                </a:cxn>
                <a:cxn ang="0">
                  <a:pos x="56" y="20"/>
                </a:cxn>
                <a:cxn ang="0">
                  <a:pos x="56" y="17"/>
                </a:cxn>
                <a:cxn ang="0">
                  <a:pos x="66" y="15"/>
                </a:cxn>
                <a:cxn ang="0">
                  <a:pos x="68" y="15"/>
                </a:cxn>
                <a:cxn ang="0">
                  <a:pos x="70" y="15"/>
                </a:cxn>
                <a:cxn ang="0">
                  <a:pos x="70" y="14"/>
                </a:cxn>
                <a:cxn ang="0">
                  <a:pos x="75" y="14"/>
                </a:cxn>
                <a:cxn ang="0">
                  <a:pos x="104" y="7"/>
                </a:cxn>
                <a:cxn ang="0">
                  <a:pos x="107" y="5"/>
                </a:cxn>
                <a:cxn ang="0">
                  <a:pos x="129" y="0"/>
                </a:cxn>
                <a:cxn ang="0">
                  <a:pos x="129" y="2"/>
                </a:cxn>
                <a:cxn ang="0">
                  <a:pos x="138" y="31"/>
                </a:cxn>
                <a:cxn ang="0">
                  <a:pos x="140" y="39"/>
                </a:cxn>
                <a:cxn ang="0">
                  <a:pos x="141" y="44"/>
                </a:cxn>
                <a:cxn ang="0">
                  <a:pos x="145" y="63"/>
                </a:cxn>
                <a:cxn ang="0">
                  <a:pos x="143" y="65"/>
                </a:cxn>
                <a:cxn ang="0">
                  <a:pos x="145" y="72"/>
                </a:cxn>
                <a:cxn ang="0">
                  <a:pos x="145" y="73"/>
                </a:cxn>
                <a:cxn ang="0">
                  <a:pos x="143" y="75"/>
                </a:cxn>
                <a:cxn ang="0">
                  <a:pos x="112" y="87"/>
                </a:cxn>
                <a:cxn ang="0">
                  <a:pos x="109" y="87"/>
                </a:cxn>
                <a:cxn ang="0">
                  <a:pos x="102" y="80"/>
                </a:cxn>
                <a:cxn ang="0">
                  <a:pos x="104" y="89"/>
                </a:cxn>
                <a:cxn ang="0">
                  <a:pos x="94" y="94"/>
                </a:cxn>
                <a:cxn ang="0">
                  <a:pos x="65" y="101"/>
                </a:cxn>
                <a:cxn ang="0">
                  <a:pos x="51" y="116"/>
                </a:cxn>
                <a:cxn ang="0">
                  <a:pos x="13" y="143"/>
                </a:cxn>
                <a:cxn ang="0">
                  <a:pos x="12" y="142"/>
                </a:cxn>
                <a:cxn ang="0">
                  <a:pos x="5" y="133"/>
                </a:cxn>
                <a:cxn ang="0">
                  <a:pos x="20" y="118"/>
                </a:cxn>
                <a:cxn ang="0">
                  <a:pos x="13" y="111"/>
                </a:cxn>
                <a:cxn ang="0">
                  <a:pos x="12" y="102"/>
                </a:cxn>
                <a:cxn ang="0">
                  <a:pos x="8" y="85"/>
                </a:cxn>
              </a:cxnLst>
              <a:rect l="0" t="0" r="r" b="b"/>
              <a:pathLst>
                <a:path w="145" h="143">
                  <a:moveTo>
                    <a:pt x="8" y="85"/>
                  </a:moveTo>
                  <a:lnTo>
                    <a:pt x="6" y="70"/>
                  </a:lnTo>
                  <a:lnTo>
                    <a:pt x="0" y="31"/>
                  </a:lnTo>
                  <a:lnTo>
                    <a:pt x="34" y="22"/>
                  </a:lnTo>
                  <a:lnTo>
                    <a:pt x="35" y="22"/>
                  </a:lnTo>
                  <a:lnTo>
                    <a:pt x="51" y="19"/>
                  </a:lnTo>
                  <a:lnTo>
                    <a:pt x="51" y="22"/>
                  </a:lnTo>
                  <a:lnTo>
                    <a:pt x="56" y="20"/>
                  </a:lnTo>
                  <a:lnTo>
                    <a:pt x="56" y="17"/>
                  </a:lnTo>
                  <a:lnTo>
                    <a:pt x="66" y="15"/>
                  </a:lnTo>
                  <a:lnTo>
                    <a:pt x="68" y="15"/>
                  </a:lnTo>
                  <a:lnTo>
                    <a:pt x="70" y="15"/>
                  </a:lnTo>
                  <a:lnTo>
                    <a:pt x="70" y="14"/>
                  </a:lnTo>
                  <a:lnTo>
                    <a:pt x="75" y="14"/>
                  </a:lnTo>
                  <a:lnTo>
                    <a:pt x="104" y="7"/>
                  </a:lnTo>
                  <a:lnTo>
                    <a:pt x="107" y="5"/>
                  </a:lnTo>
                  <a:lnTo>
                    <a:pt x="129" y="0"/>
                  </a:lnTo>
                  <a:lnTo>
                    <a:pt x="129" y="2"/>
                  </a:lnTo>
                  <a:lnTo>
                    <a:pt x="138" y="31"/>
                  </a:lnTo>
                  <a:lnTo>
                    <a:pt x="140" y="39"/>
                  </a:lnTo>
                  <a:lnTo>
                    <a:pt x="141" y="44"/>
                  </a:lnTo>
                  <a:lnTo>
                    <a:pt x="145" y="63"/>
                  </a:lnTo>
                  <a:lnTo>
                    <a:pt x="143" y="65"/>
                  </a:lnTo>
                  <a:lnTo>
                    <a:pt x="145" y="72"/>
                  </a:lnTo>
                  <a:lnTo>
                    <a:pt x="145" y="73"/>
                  </a:lnTo>
                  <a:lnTo>
                    <a:pt x="143" y="75"/>
                  </a:lnTo>
                  <a:lnTo>
                    <a:pt x="112" y="87"/>
                  </a:lnTo>
                  <a:lnTo>
                    <a:pt x="109" y="87"/>
                  </a:lnTo>
                  <a:lnTo>
                    <a:pt x="102" y="80"/>
                  </a:lnTo>
                  <a:lnTo>
                    <a:pt x="104" y="89"/>
                  </a:lnTo>
                  <a:lnTo>
                    <a:pt x="94" y="94"/>
                  </a:lnTo>
                  <a:lnTo>
                    <a:pt x="65" y="101"/>
                  </a:lnTo>
                  <a:lnTo>
                    <a:pt x="51" y="116"/>
                  </a:lnTo>
                  <a:lnTo>
                    <a:pt x="13" y="143"/>
                  </a:lnTo>
                  <a:lnTo>
                    <a:pt x="12" y="142"/>
                  </a:lnTo>
                  <a:lnTo>
                    <a:pt x="5" y="133"/>
                  </a:lnTo>
                  <a:lnTo>
                    <a:pt x="20" y="118"/>
                  </a:lnTo>
                  <a:lnTo>
                    <a:pt x="13" y="111"/>
                  </a:lnTo>
                  <a:lnTo>
                    <a:pt x="12" y="102"/>
                  </a:lnTo>
                  <a:lnTo>
                    <a:pt x="8" y="8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5" name="Freeform 24"/>
            <p:cNvSpPr>
              <a:spLocks noEditPoints="1"/>
            </p:cNvSpPr>
            <p:nvPr/>
          </p:nvSpPr>
          <p:spPr bwMode="gray">
            <a:xfrm>
              <a:off x="8321290" y="2831867"/>
              <a:ext cx="107888" cy="132041"/>
            </a:xfrm>
            <a:custGeom>
              <a:avLst/>
              <a:gdLst/>
              <a:ahLst/>
              <a:cxnLst>
                <a:cxn ang="0">
                  <a:pos x="12" y="51"/>
                </a:cxn>
                <a:cxn ang="0">
                  <a:pos x="11" y="46"/>
                </a:cxn>
                <a:cxn ang="0">
                  <a:pos x="9" y="38"/>
                </a:cxn>
                <a:cxn ang="0">
                  <a:pos x="0" y="9"/>
                </a:cxn>
                <a:cxn ang="0">
                  <a:pos x="24" y="2"/>
                </a:cxn>
                <a:cxn ang="0">
                  <a:pos x="33" y="0"/>
                </a:cxn>
                <a:cxn ang="0">
                  <a:pos x="33" y="3"/>
                </a:cxn>
                <a:cxn ang="0">
                  <a:pos x="36" y="12"/>
                </a:cxn>
                <a:cxn ang="0">
                  <a:pos x="40" y="10"/>
                </a:cxn>
                <a:cxn ang="0">
                  <a:pos x="40" y="14"/>
                </a:cxn>
                <a:cxn ang="0">
                  <a:pos x="40" y="15"/>
                </a:cxn>
                <a:cxn ang="0">
                  <a:pos x="41" y="19"/>
                </a:cxn>
                <a:cxn ang="0">
                  <a:pos x="41" y="22"/>
                </a:cxn>
                <a:cxn ang="0">
                  <a:pos x="43" y="24"/>
                </a:cxn>
                <a:cxn ang="0">
                  <a:pos x="48" y="24"/>
                </a:cxn>
                <a:cxn ang="0">
                  <a:pos x="53" y="29"/>
                </a:cxn>
                <a:cxn ang="0">
                  <a:pos x="50" y="33"/>
                </a:cxn>
                <a:cxn ang="0">
                  <a:pos x="41" y="27"/>
                </a:cxn>
                <a:cxn ang="0">
                  <a:pos x="38" y="26"/>
                </a:cxn>
                <a:cxn ang="0">
                  <a:pos x="41" y="31"/>
                </a:cxn>
                <a:cxn ang="0">
                  <a:pos x="40" y="38"/>
                </a:cxn>
                <a:cxn ang="0">
                  <a:pos x="43" y="55"/>
                </a:cxn>
                <a:cxn ang="0">
                  <a:pos x="41" y="67"/>
                </a:cxn>
                <a:cxn ang="0">
                  <a:pos x="24" y="79"/>
                </a:cxn>
                <a:cxn ang="0">
                  <a:pos x="14" y="82"/>
                </a:cxn>
                <a:cxn ang="0">
                  <a:pos x="16" y="80"/>
                </a:cxn>
                <a:cxn ang="0">
                  <a:pos x="16" y="79"/>
                </a:cxn>
                <a:cxn ang="0">
                  <a:pos x="14" y="72"/>
                </a:cxn>
                <a:cxn ang="0">
                  <a:pos x="16" y="70"/>
                </a:cxn>
                <a:cxn ang="0">
                  <a:pos x="12" y="51"/>
                </a:cxn>
                <a:cxn ang="0">
                  <a:pos x="55" y="31"/>
                </a:cxn>
                <a:cxn ang="0">
                  <a:pos x="60" y="33"/>
                </a:cxn>
                <a:cxn ang="0">
                  <a:pos x="67" y="48"/>
                </a:cxn>
                <a:cxn ang="0">
                  <a:pos x="62" y="53"/>
                </a:cxn>
                <a:cxn ang="0">
                  <a:pos x="55" y="31"/>
                </a:cxn>
                <a:cxn ang="0">
                  <a:pos x="52" y="38"/>
                </a:cxn>
                <a:cxn ang="0">
                  <a:pos x="55" y="36"/>
                </a:cxn>
                <a:cxn ang="0">
                  <a:pos x="59" y="53"/>
                </a:cxn>
                <a:cxn ang="0">
                  <a:pos x="55" y="53"/>
                </a:cxn>
                <a:cxn ang="0">
                  <a:pos x="50" y="58"/>
                </a:cxn>
                <a:cxn ang="0">
                  <a:pos x="52" y="38"/>
                </a:cxn>
              </a:cxnLst>
              <a:rect l="0" t="0" r="r" b="b"/>
              <a:pathLst>
                <a:path w="67" h="82">
                  <a:moveTo>
                    <a:pt x="12" y="51"/>
                  </a:moveTo>
                  <a:lnTo>
                    <a:pt x="11" y="46"/>
                  </a:lnTo>
                  <a:lnTo>
                    <a:pt x="9" y="38"/>
                  </a:lnTo>
                  <a:lnTo>
                    <a:pt x="0" y="9"/>
                  </a:lnTo>
                  <a:lnTo>
                    <a:pt x="24" y="2"/>
                  </a:lnTo>
                  <a:lnTo>
                    <a:pt x="33" y="0"/>
                  </a:lnTo>
                  <a:lnTo>
                    <a:pt x="33" y="3"/>
                  </a:lnTo>
                  <a:lnTo>
                    <a:pt x="36" y="12"/>
                  </a:lnTo>
                  <a:lnTo>
                    <a:pt x="40" y="10"/>
                  </a:lnTo>
                  <a:lnTo>
                    <a:pt x="40" y="14"/>
                  </a:lnTo>
                  <a:lnTo>
                    <a:pt x="40" y="15"/>
                  </a:lnTo>
                  <a:lnTo>
                    <a:pt x="41" y="19"/>
                  </a:lnTo>
                  <a:lnTo>
                    <a:pt x="41" y="22"/>
                  </a:lnTo>
                  <a:lnTo>
                    <a:pt x="43" y="24"/>
                  </a:lnTo>
                  <a:lnTo>
                    <a:pt x="48" y="24"/>
                  </a:lnTo>
                  <a:lnTo>
                    <a:pt x="53" y="29"/>
                  </a:lnTo>
                  <a:lnTo>
                    <a:pt x="50" y="33"/>
                  </a:lnTo>
                  <a:lnTo>
                    <a:pt x="41" y="27"/>
                  </a:lnTo>
                  <a:lnTo>
                    <a:pt x="38" y="26"/>
                  </a:lnTo>
                  <a:lnTo>
                    <a:pt x="41" y="31"/>
                  </a:lnTo>
                  <a:lnTo>
                    <a:pt x="40" y="38"/>
                  </a:lnTo>
                  <a:lnTo>
                    <a:pt x="43" y="55"/>
                  </a:lnTo>
                  <a:lnTo>
                    <a:pt x="41" y="67"/>
                  </a:lnTo>
                  <a:lnTo>
                    <a:pt x="24" y="79"/>
                  </a:lnTo>
                  <a:lnTo>
                    <a:pt x="14" y="82"/>
                  </a:lnTo>
                  <a:lnTo>
                    <a:pt x="16" y="80"/>
                  </a:lnTo>
                  <a:lnTo>
                    <a:pt x="16" y="79"/>
                  </a:lnTo>
                  <a:lnTo>
                    <a:pt x="14" y="72"/>
                  </a:lnTo>
                  <a:lnTo>
                    <a:pt x="16" y="70"/>
                  </a:lnTo>
                  <a:lnTo>
                    <a:pt x="12" y="51"/>
                  </a:lnTo>
                  <a:close/>
                  <a:moveTo>
                    <a:pt x="55" y="31"/>
                  </a:moveTo>
                  <a:lnTo>
                    <a:pt x="60" y="33"/>
                  </a:lnTo>
                  <a:lnTo>
                    <a:pt x="67" y="48"/>
                  </a:lnTo>
                  <a:lnTo>
                    <a:pt x="62" y="53"/>
                  </a:lnTo>
                  <a:lnTo>
                    <a:pt x="55" y="31"/>
                  </a:lnTo>
                  <a:close/>
                  <a:moveTo>
                    <a:pt x="52" y="38"/>
                  </a:moveTo>
                  <a:lnTo>
                    <a:pt x="55" y="36"/>
                  </a:lnTo>
                  <a:lnTo>
                    <a:pt x="59" y="53"/>
                  </a:lnTo>
                  <a:lnTo>
                    <a:pt x="55" y="53"/>
                  </a:lnTo>
                  <a:lnTo>
                    <a:pt x="50" y="58"/>
                  </a:lnTo>
                  <a:lnTo>
                    <a:pt x="52" y="3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6" name="Freeform 25"/>
            <p:cNvSpPr>
              <a:spLocks/>
            </p:cNvSpPr>
            <p:nvPr/>
          </p:nvSpPr>
          <p:spPr bwMode="gray">
            <a:xfrm>
              <a:off x="7942879" y="3044421"/>
              <a:ext cx="178740" cy="412227"/>
            </a:xfrm>
            <a:custGeom>
              <a:avLst/>
              <a:gdLst/>
              <a:ahLst/>
              <a:cxnLst>
                <a:cxn ang="0">
                  <a:pos x="5" y="186"/>
                </a:cxn>
                <a:cxn ang="0">
                  <a:pos x="5" y="181"/>
                </a:cxn>
                <a:cxn ang="0">
                  <a:pos x="8" y="177"/>
                </a:cxn>
                <a:cxn ang="0">
                  <a:pos x="13" y="171"/>
                </a:cxn>
                <a:cxn ang="0">
                  <a:pos x="20" y="167"/>
                </a:cxn>
                <a:cxn ang="0">
                  <a:pos x="29" y="162"/>
                </a:cxn>
                <a:cxn ang="0">
                  <a:pos x="27" y="157"/>
                </a:cxn>
                <a:cxn ang="0">
                  <a:pos x="29" y="152"/>
                </a:cxn>
                <a:cxn ang="0">
                  <a:pos x="32" y="150"/>
                </a:cxn>
                <a:cxn ang="0">
                  <a:pos x="37" y="143"/>
                </a:cxn>
                <a:cxn ang="0">
                  <a:pos x="44" y="138"/>
                </a:cxn>
                <a:cxn ang="0">
                  <a:pos x="54" y="130"/>
                </a:cxn>
                <a:cxn ang="0">
                  <a:pos x="53" y="124"/>
                </a:cxn>
                <a:cxn ang="0">
                  <a:pos x="39" y="114"/>
                </a:cxn>
                <a:cxn ang="0">
                  <a:pos x="34" y="111"/>
                </a:cxn>
                <a:cxn ang="0">
                  <a:pos x="29" y="104"/>
                </a:cxn>
                <a:cxn ang="0">
                  <a:pos x="25" y="106"/>
                </a:cxn>
                <a:cxn ang="0">
                  <a:pos x="20" y="100"/>
                </a:cxn>
                <a:cxn ang="0">
                  <a:pos x="17" y="92"/>
                </a:cxn>
                <a:cxn ang="0">
                  <a:pos x="8" y="92"/>
                </a:cxn>
                <a:cxn ang="0">
                  <a:pos x="8" y="90"/>
                </a:cxn>
                <a:cxn ang="0">
                  <a:pos x="6" y="85"/>
                </a:cxn>
                <a:cxn ang="0">
                  <a:pos x="6" y="80"/>
                </a:cxn>
                <a:cxn ang="0">
                  <a:pos x="5" y="75"/>
                </a:cxn>
                <a:cxn ang="0">
                  <a:pos x="5" y="70"/>
                </a:cxn>
                <a:cxn ang="0">
                  <a:pos x="10" y="66"/>
                </a:cxn>
                <a:cxn ang="0">
                  <a:pos x="8" y="61"/>
                </a:cxn>
                <a:cxn ang="0">
                  <a:pos x="12" y="56"/>
                </a:cxn>
                <a:cxn ang="0">
                  <a:pos x="8" y="54"/>
                </a:cxn>
                <a:cxn ang="0">
                  <a:pos x="3" y="47"/>
                </a:cxn>
                <a:cxn ang="0">
                  <a:pos x="6" y="42"/>
                </a:cxn>
                <a:cxn ang="0">
                  <a:pos x="12" y="36"/>
                </a:cxn>
                <a:cxn ang="0">
                  <a:pos x="12" y="34"/>
                </a:cxn>
                <a:cxn ang="0">
                  <a:pos x="13" y="30"/>
                </a:cxn>
                <a:cxn ang="0">
                  <a:pos x="18" y="18"/>
                </a:cxn>
                <a:cxn ang="0">
                  <a:pos x="20" y="10"/>
                </a:cxn>
                <a:cxn ang="0">
                  <a:pos x="22" y="6"/>
                </a:cxn>
                <a:cxn ang="0">
                  <a:pos x="58" y="10"/>
                </a:cxn>
                <a:cxn ang="0">
                  <a:pos x="71" y="15"/>
                </a:cxn>
                <a:cxn ang="0">
                  <a:pos x="100" y="27"/>
                </a:cxn>
                <a:cxn ang="0">
                  <a:pos x="100" y="36"/>
                </a:cxn>
                <a:cxn ang="0">
                  <a:pos x="97" y="53"/>
                </a:cxn>
                <a:cxn ang="0">
                  <a:pos x="90" y="65"/>
                </a:cxn>
                <a:cxn ang="0">
                  <a:pos x="88" y="61"/>
                </a:cxn>
                <a:cxn ang="0">
                  <a:pos x="82" y="80"/>
                </a:cxn>
                <a:cxn ang="0">
                  <a:pos x="87" y="87"/>
                </a:cxn>
                <a:cxn ang="0">
                  <a:pos x="109" y="95"/>
                </a:cxn>
                <a:cxn ang="0">
                  <a:pos x="106" y="119"/>
                </a:cxn>
                <a:cxn ang="0">
                  <a:pos x="111" y="121"/>
                </a:cxn>
                <a:cxn ang="0">
                  <a:pos x="106" y="126"/>
                </a:cxn>
                <a:cxn ang="0">
                  <a:pos x="106" y="145"/>
                </a:cxn>
                <a:cxn ang="0">
                  <a:pos x="106" y="174"/>
                </a:cxn>
                <a:cxn ang="0">
                  <a:pos x="102" y="186"/>
                </a:cxn>
                <a:cxn ang="0">
                  <a:pos x="97" y="189"/>
                </a:cxn>
                <a:cxn ang="0">
                  <a:pos x="95" y="203"/>
                </a:cxn>
                <a:cxn ang="0">
                  <a:pos x="83" y="217"/>
                </a:cxn>
                <a:cxn ang="0">
                  <a:pos x="75" y="247"/>
                </a:cxn>
                <a:cxn ang="0">
                  <a:pos x="71" y="256"/>
                </a:cxn>
                <a:cxn ang="0">
                  <a:pos x="66" y="239"/>
                </a:cxn>
                <a:cxn ang="0">
                  <a:pos x="54" y="232"/>
                </a:cxn>
                <a:cxn ang="0">
                  <a:pos x="18" y="222"/>
                </a:cxn>
                <a:cxn ang="0">
                  <a:pos x="5" y="203"/>
                </a:cxn>
                <a:cxn ang="0">
                  <a:pos x="5" y="186"/>
                </a:cxn>
              </a:cxnLst>
              <a:rect l="0" t="0" r="r" b="b"/>
              <a:pathLst>
                <a:path w="111" h="256">
                  <a:moveTo>
                    <a:pt x="5" y="186"/>
                  </a:moveTo>
                  <a:lnTo>
                    <a:pt x="5" y="186"/>
                  </a:lnTo>
                  <a:lnTo>
                    <a:pt x="5" y="184"/>
                  </a:lnTo>
                  <a:lnTo>
                    <a:pt x="5" y="181"/>
                  </a:lnTo>
                  <a:lnTo>
                    <a:pt x="8" y="179"/>
                  </a:lnTo>
                  <a:lnTo>
                    <a:pt x="8" y="177"/>
                  </a:lnTo>
                  <a:lnTo>
                    <a:pt x="8" y="176"/>
                  </a:lnTo>
                  <a:lnTo>
                    <a:pt x="13" y="171"/>
                  </a:lnTo>
                  <a:lnTo>
                    <a:pt x="20" y="169"/>
                  </a:lnTo>
                  <a:lnTo>
                    <a:pt x="20" y="167"/>
                  </a:lnTo>
                  <a:lnTo>
                    <a:pt x="25" y="164"/>
                  </a:lnTo>
                  <a:lnTo>
                    <a:pt x="29" y="162"/>
                  </a:lnTo>
                  <a:lnTo>
                    <a:pt x="29" y="160"/>
                  </a:lnTo>
                  <a:lnTo>
                    <a:pt x="27" y="157"/>
                  </a:lnTo>
                  <a:lnTo>
                    <a:pt x="27" y="155"/>
                  </a:lnTo>
                  <a:lnTo>
                    <a:pt x="29" y="152"/>
                  </a:lnTo>
                  <a:lnTo>
                    <a:pt x="30" y="152"/>
                  </a:lnTo>
                  <a:lnTo>
                    <a:pt x="32" y="150"/>
                  </a:lnTo>
                  <a:lnTo>
                    <a:pt x="32" y="148"/>
                  </a:lnTo>
                  <a:lnTo>
                    <a:pt x="37" y="143"/>
                  </a:lnTo>
                  <a:lnTo>
                    <a:pt x="39" y="141"/>
                  </a:lnTo>
                  <a:lnTo>
                    <a:pt x="44" y="138"/>
                  </a:lnTo>
                  <a:lnTo>
                    <a:pt x="47" y="133"/>
                  </a:lnTo>
                  <a:lnTo>
                    <a:pt x="54" y="130"/>
                  </a:lnTo>
                  <a:lnTo>
                    <a:pt x="54" y="128"/>
                  </a:lnTo>
                  <a:lnTo>
                    <a:pt x="53" y="124"/>
                  </a:lnTo>
                  <a:lnTo>
                    <a:pt x="42" y="119"/>
                  </a:lnTo>
                  <a:lnTo>
                    <a:pt x="39" y="114"/>
                  </a:lnTo>
                  <a:lnTo>
                    <a:pt x="36" y="112"/>
                  </a:lnTo>
                  <a:lnTo>
                    <a:pt x="34" y="111"/>
                  </a:lnTo>
                  <a:lnTo>
                    <a:pt x="32" y="111"/>
                  </a:lnTo>
                  <a:lnTo>
                    <a:pt x="29" y="104"/>
                  </a:lnTo>
                  <a:lnTo>
                    <a:pt x="27" y="104"/>
                  </a:lnTo>
                  <a:lnTo>
                    <a:pt x="25" y="106"/>
                  </a:lnTo>
                  <a:lnTo>
                    <a:pt x="22" y="104"/>
                  </a:lnTo>
                  <a:lnTo>
                    <a:pt x="20" y="100"/>
                  </a:lnTo>
                  <a:lnTo>
                    <a:pt x="18" y="94"/>
                  </a:lnTo>
                  <a:lnTo>
                    <a:pt x="17" y="92"/>
                  </a:lnTo>
                  <a:lnTo>
                    <a:pt x="13" y="90"/>
                  </a:lnTo>
                  <a:lnTo>
                    <a:pt x="8" y="92"/>
                  </a:lnTo>
                  <a:lnTo>
                    <a:pt x="8" y="92"/>
                  </a:lnTo>
                  <a:lnTo>
                    <a:pt x="8" y="90"/>
                  </a:lnTo>
                  <a:lnTo>
                    <a:pt x="6" y="87"/>
                  </a:lnTo>
                  <a:lnTo>
                    <a:pt x="6" y="85"/>
                  </a:lnTo>
                  <a:lnTo>
                    <a:pt x="5" y="83"/>
                  </a:lnTo>
                  <a:lnTo>
                    <a:pt x="6" y="80"/>
                  </a:lnTo>
                  <a:lnTo>
                    <a:pt x="5" y="78"/>
                  </a:lnTo>
                  <a:lnTo>
                    <a:pt x="5" y="75"/>
                  </a:lnTo>
                  <a:lnTo>
                    <a:pt x="3" y="73"/>
                  </a:lnTo>
                  <a:lnTo>
                    <a:pt x="5" y="70"/>
                  </a:lnTo>
                  <a:lnTo>
                    <a:pt x="8" y="68"/>
                  </a:lnTo>
                  <a:lnTo>
                    <a:pt x="10" y="66"/>
                  </a:lnTo>
                  <a:lnTo>
                    <a:pt x="10" y="63"/>
                  </a:lnTo>
                  <a:lnTo>
                    <a:pt x="8" y="61"/>
                  </a:lnTo>
                  <a:lnTo>
                    <a:pt x="12" y="58"/>
                  </a:lnTo>
                  <a:lnTo>
                    <a:pt x="12" y="56"/>
                  </a:lnTo>
                  <a:lnTo>
                    <a:pt x="10" y="56"/>
                  </a:lnTo>
                  <a:lnTo>
                    <a:pt x="8" y="54"/>
                  </a:lnTo>
                  <a:lnTo>
                    <a:pt x="3" y="49"/>
                  </a:lnTo>
                  <a:lnTo>
                    <a:pt x="3" y="47"/>
                  </a:lnTo>
                  <a:lnTo>
                    <a:pt x="3" y="44"/>
                  </a:lnTo>
                  <a:lnTo>
                    <a:pt x="6" y="42"/>
                  </a:lnTo>
                  <a:lnTo>
                    <a:pt x="10" y="41"/>
                  </a:lnTo>
                  <a:lnTo>
                    <a:pt x="12" y="36"/>
                  </a:lnTo>
                  <a:lnTo>
                    <a:pt x="13" y="34"/>
                  </a:lnTo>
                  <a:lnTo>
                    <a:pt x="12" y="34"/>
                  </a:lnTo>
                  <a:lnTo>
                    <a:pt x="12" y="32"/>
                  </a:lnTo>
                  <a:lnTo>
                    <a:pt x="13" y="30"/>
                  </a:lnTo>
                  <a:lnTo>
                    <a:pt x="17" y="25"/>
                  </a:lnTo>
                  <a:lnTo>
                    <a:pt x="18" y="18"/>
                  </a:lnTo>
                  <a:lnTo>
                    <a:pt x="18" y="17"/>
                  </a:lnTo>
                  <a:lnTo>
                    <a:pt x="20" y="10"/>
                  </a:lnTo>
                  <a:lnTo>
                    <a:pt x="22" y="8"/>
                  </a:lnTo>
                  <a:lnTo>
                    <a:pt x="22" y="6"/>
                  </a:lnTo>
                  <a:lnTo>
                    <a:pt x="29" y="0"/>
                  </a:lnTo>
                  <a:lnTo>
                    <a:pt x="58" y="10"/>
                  </a:lnTo>
                  <a:lnTo>
                    <a:pt x="70" y="15"/>
                  </a:lnTo>
                  <a:lnTo>
                    <a:pt x="71" y="15"/>
                  </a:lnTo>
                  <a:lnTo>
                    <a:pt x="99" y="22"/>
                  </a:lnTo>
                  <a:lnTo>
                    <a:pt x="100" y="27"/>
                  </a:lnTo>
                  <a:lnTo>
                    <a:pt x="100" y="30"/>
                  </a:lnTo>
                  <a:lnTo>
                    <a:pt x="100" y="36"/>
                  </a:lnTo>
                  <a:lnTo>
                    <a:pt x="99" y="46"/>
                  </a:lnTo>
                  <a:lnTo>
                    <a:pt x="97" y="53"/>
                  </a:lnTo>
                  <a:lnTo>
                    <a:pt x="99" y="56"/>
                  </a:lnTo>
                  <a:lnTo>
                    <a:pt x="90" y="65"/>
                  </a:lnTo>
                  <a:lnTo>
                    <a:pt x="90" y="58"/>
                  </a:lnTo>
                  <a:lnTo>
                    <a:pt x="88" y="61"/>
                  </a:lnTo>
                  <a:lnTo>
                    <a:pt x="85" y="71"/>
                  </a:lnTo>
                  <a:lnTo>
                    <a:pt x="82" y="80"/>
                  </a:lnTo>
                  <a:lnTo>
                    <a:pt x="83" y="85"/>
                  </a:lnTo>
                  <a:lnTo>
                    <a:pt x="87" y="87"/>
                  </a:lnTo>
                  <a:lnTo>
                    <a:pt x="95" y="85"/>
                  </a:lnTo>
                  <a:lnTo>
                    <a:pt x="109" y="95"/>
                  </a:lnTo>
                  <a:lnTo>
                    <a:pt x="111" y="119"/>
                  </a:lnTo>
                  <a:lnTo>
                    <a:pt x="106" y="119"/>
                  </a:lnTo>
                  <a:lnTo>
                    <a:pt x="107" y="121"/>
                  </a:lnTo>
                  <a:lnTo>
                    <a:pt x="111" y="121"/>
                  </a:lnTo>
                  <a:lnTo>
                    <a:pt x="111" y="124"/>
                  </a:lnTo>
                  <a:lnTo>
                    <a:pt x="106" y="126"/>
                  </a:lnTo>
                  <a:lnTo>
                    <a:pt x="109" y="126"/>
                  </a:lnTo>
                  <a:lnTo>
                    <a:pt x="106" y="145"/>
                  </a:lnTo>
                  <a:lnTo>
                    <a:pt x="109" y="162"/>
                  </a:lnTo>
                  <a:lnTo>
                    <a:pt x="106" y="174"/>
                  </a:lnTo>
                  <a:lnTo>
                    <a:pt x="100" y="181"/>
                  </a:lnTo>
                  <a:lnTo>
                    <a:pt x="102" y="186"/>
                  </a:lnTo>
                  <a:lnTo>
                    <a:pt x="94" y="186"/>
                  </a:lnTo>
                  <a:lnTo>
                    <a:pt x="97" y="189"/>
                  </a:lnTo>
                  <a:lnTo>
                    <a:pt x="94" y="198"/>
                  </a:lnTo>
                  <a:lnTo>
                    <a:pt x="95" y="203"/>
                  </a:lnTo>
                  <a:lnTo>
                    <a:pt x="82" y="217"/>
                  </a:lnTo>
                  <a:lnTo>
                    <a:pt x="83" y="217"/>
                  </a:lnTo>
                  <a:lnTo>
                    <a:pt x="85" y="220"/>
                  </a:lnTo>
                  <a:lnTo>
                    <a:pt x="75" y="247"/>
                  </a:lnTo>
                  <a:lnTo>
                    <a:pt x="70" y="253"/>
                  </a:lnTo>
                  <a:lnTo>
                    <a:pt x="71" y="256"/>
                  </a:lnTo>
                  <a:lnTo>
                    <a:pt x="63" y="256"/>
                  </a:lnTo>
                  <a:lnTo>
                    <a:pt x="66" y="239"/>
                  </a:lnTo>
                  <a:lnTo>
                    <a:pt x="63" y="234"/>
                  </a:lnTo>
                  <a:lnTo>
                    <a:pt x="54" y="232"/>
                  </a:lnTo>
                  <a:lnTo>
                    <a:pt x="46" y="235"/>
                  </a:lnTo>
                  <a:lnTo>
                    <a:pt x="18" y="222"/>
                  </a:lnTo>
                  <a:lnTo>
                    <a:pt x="5" y="212"/>
                  </a:lnTo>
                  <a:lnTo>
                    <a:pt x="5" y="203"/>
                  </a:lnTo>
                  <a:lnTo>
                    <a:pt x="0" y="198"/>
                  </a:lnTo>
                  <a:lnTo>
                    <a:pt x="5" y="18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7" name="Freeform 26"/>
            <p:cNvSpPr>
              <a:spLocks/>
            </p:cNvSpPr>
            <p:nvPr/>
          </p:nvSpPr>
          <p:spPr bwMode="gray">
            <a:xfrm>
              <a:off x="6332617" y="3195786"/>
              <a:ext cx="426720" cy="731059"/>
            </a:xfrm>
            <a:custGeom>
              <a:avLst/>
              <a:gdLst/>
              <a:ahLst/>
              <a:cxnLst>
                <a:cxn ang="0">
                  <a:pos x="143" y="401"/>
                </a:cxn>
                <a:cxn ang="0">
                  <a:pos x="135" y="405"/>
                </a:cxn>
                <a:cxn ang="0">
                  <a:pos x="135" y="411"/>
                </a:cxn>
                <a:cxn ang="0">
                  <a:pos x="131" y="425"/>
                </a:cxn>
                <a:cxn ang="0">
                  <a:pos x="125" y="435"/>
                </a:cxn>
                <a:cxn ang="0">
                  <a:pos x="119" y="429"/>
                </a:cxn>
                <a:cxn ang="0">
                  <a:pos x="106" y="422"/>
                </a:cxn>
                <a:cxn ang="0">
                  <a:pos x="90" y="430"/>
                </a:cxn>
                <a:cxn ang="0">
                  <a:pos x="78" y="442"/>
                </a:cxn>
                <a:cxn ang="0">
                  <a:pos x="60" y="432"/>
                </a:cxn>
                <a:cxn ang="0">
                  <a:pos x="43" y="439"/>
                </a:cxn>
                <a:cxn ang="0">
                  <a:pos x="34" y="439"/>
                </a:cxn>
                <a:cxn ang="0">
                  <a:pos x="20" y="441"/>
                </a:cxn>
                <a:cxn ang="0">
                  <a:pos x="17" y="447"/>
                </a:cxn>
                <a:cxn ang="0">
                  <a:pos x="7" y="451"/>
                </a:cxn>
                <a:cxn ang="0">
                  <a:pos x="2" y="446"/>
                </a:cxn>
                <a:cxn ang="0">
                  <a:pos x="5" y="439"/>
                </a:cxn>
                <a:cxn ang="0">
                  <a:pos x="3" y="435"/>
                </a:cxn>
                <a:cxn ang="0">
                  <a:pos x="3" y="425"/>
                </a:cxn>
                <a:cxn ang="0">
                  <a:pos x="5" y="420"/>
                </a:cxn>
                <a:cxn ang="0">
                  <a:pos x="7" y="408"/>
                </a:cxn>
                <a:cxn ang="0">
                  <a:pos x="12" y="400"/>
                </a:cxn>
                <a:cxn ang="0">
                  <a:pos x="17" y="398"/>
                </a:cxn>
                <a:cxn ang="0">
                  <a:pos x="24" y="379"/>
                </a:cxn>
                <a:cxn ang="0">
                  <a:pos x="31" y="372"/>
                </a:cxn>
                <a:cxn ang="0">
                  <a:pos x="32" y="360"/>
                </a:cxn>
                <a:cxn ang="0">
                  <a:pos x="41" y="343"/>
                </a:cxn>
                <a:cxn ang="0">
                  <a:pos x="37" y="329"/>
                </a:cxn>
                <a:cxn ang="0">
                  <a:pos x="32" y="319"/>
                </a:cxn>
                <a:cxn ang="0">
                  <a:pos x="25" y="307"/>
                </a:cxn>
                <a:cxn ang="0">
                  <a:pos x="29" y="299"/>
                </a:cxn>
                <a:cxn ang="0">
                  <a:pos x="27" y="288"/>
                </a:cxn>
                <a:cxn ang="0">
                  <a:pos x="31" y="254"/>
                </a:cxn>
                <a:cxn ang="0">
                  <a:pos x="20" y="131"/>
                </a:cxn>
                <a:cxn ang="0">
                  <a:pos x="10" y="27"/>
                </a:cxn>
                <a:cxn ang="0">
                  <a:pos x="36" y="34"/>
                </a:cxn>
                <a:cxn ang="0">
                  <a:pos x="126" y="10"/>
                </a:cxn>
                <a:cxn ang="0">
                  <a:pos x="224" y="0"/>
                </a:cxn>
                <a:cxn ang="0">
                  <a:pos x="232" y="51"/>
                </a:cxn>
                <a:cxn ang="0">
                  <a:pos x="242" y="126"/>
                </a:cxn>
                <a:cxn ang="0">
                  <a:pos x="251" y="217"/>
                </a:cxn>
                <a:cxn ang="0">
                  <a:pos x="260" y="285"/>
                </a:cxn>
                <a:cxn ang="0">
                  <a:pos x="258" y="295"/>
                </a:cxn>
                <a:cxn ang="0">
                  <a:pos x="258" y="307"/>
                </a:cxn>
                <a:cxn ang="0">
                  <a:pos x="263" y="317"/>
                </a:cxn>
                <a:cxn ang="0">
                  <a:pos x="236" y="331"/>
                </a:cxn>
                <a:cxn ang="0">
                  <a:pos x="212" y="331"/>
                </a:cxn>
                <a:cxn ang="0">
                  <a:pos x="212" y="353"/>
                </a:cxn>
                <a:cxn ang="0">
                  <a:pos x="196" y="379"/>
                </a:cxn>
                <a:cxn ang="0">
                  <a:pos x="184" y="388"/>
                </a:cxn>
                <a:cxn ang="0">
                  <a:pos x="174" y="415"/>
                </a:cxn>
                <a:cxn ang="0">
                  <a:pos x="152" y="411"/>
                </a:cxn>
              </a:cxnLst>
              <a:rect l="0" t="0" r="r" b="b"/>
              <a:pathLst>
                <a:path w="265" h="454">
                  <a:moveTo>
                    <a:pt x="143" y="398"/>
                  </a:moveTo>
                  <a:lnTo>
                    <a:pt x="142" y="396"/>
                  </a:lnTo>
                  <a:lnTo>
                    <a:pt x="140" y="396"/>
                  </a:lnTo>
                  <a:lnTo>
                    <a:pt x="140" y="400"/>
                  </a:lnTo>
                  <a:lnTo>
                    <a:pt x="143" y="401"/>
                  </a:lnTo>
                  <a:lnTo>
                    <a:pt x="145" y="401"/>
                  </a:lnTo>
                  <a:lnTo>
                    <a:pt x="143" y="403"/>
                  </a:lnTo>
                  <a:lnTo>
                    <a:pt x="140" y="405"/>
                  </a:lnTo>
                  <a:lnTo>
                    <a:pt x="138" y="406"/>
                  </a:lnTo>
                  <a:lnTo>
                    <a:pt x="135" y="405"/>
                  </a:lnTo>
                  <a:lnTo>
                    <a:pt x="133" y="405"/>
                  </a:lnTo>
                  <a:lnTo>
                    <a:pt x="133" y="406"/>
                  </a:lnTo>
                  <a:lnTo>
                    <a:pt x="137" y="408"/>
                  </a:lnTo>
                  <a:lnTo>
                    <a:pt x="137" y="410"/>
                  </a:lnTo>
                  <a:lnTo>
                    <a:pt x="135" y="411"/>
                  </a:lnTo>
                  <a:lnTo>
                    <a:pt x="131" y="413"/>
                  </a:lnTo>
                  <a:lnTo>
                    <a:pt x="130" y="413"/>
                  </a:lnTo>
                  <a:lnTo>
                    <a:pt x="130" y="417"/>
                  </a:lnTo>
                  <a:lnTo>
                    <a:pt x="130" y="420"/>
                  </a:lnTo>
                  <a:lnTo>
                    <a:pt x="131" y="425"/>
                  </a:lnTo>
                  <a:lnTo>
                    <a:pt x="131" y="427"/>
                  </a:lnTo>
                  <a:lnTo>
                    <a:pt x="130" y="427"/>
                  </a:lnTo>
                  <a:lnTo>
                    <a:pt x="126" y="427"/>
                  </a:lnTo>
                  <a:lnTo>
                    <a:pt x="125" y="429"/>
                  </a:lnTo>
                  <a:lnTo>
                    <a:pt x="125" y="435"/>
                  </a:lnTo>
                  <a:lnTo>
                    <a:pt x="121" y="437"/>
                  </a:lnTo>
                  <a:lnTo>
                    <a:pt x="119" y="437"/>
                  </a:lnTo>
                  <a:lnTo>
                    <a:pt x="119" y="435"/>
                  </a:lnTo>
                  <a:lnTo>
                    <a:pt x="119" y="430"/>
                  </a:lnTo>
                  <a:lnTo>
                    <a:pt x="119" y="429"/>
                  </a:lnTo>
                  <a:lnTo>
                    <a:pt x="118" y="430"/>
                  </a:lnTo>
                  <a:lnTo>
                    <a:pt x="114" y="432"/>
                  </a:lnTo>
                  <a:lnTo>
                    <a:pt x="113" y="432"/>
                  </a:lnTo>
                  <a:lnTo>
                    <a:pt x="107" y="423"/>
                  </a:lnTo>
                  <a:lnTo>
                    <a:pt x="106" y="422"/>
                  </a:lnTo>
                  <a:lnTo>
                    <a:pt x="102" y="423"/>
                  </a:lnTo>
                  <a:lnTo>
                    <a:pt x="99" y="427"/>
                  </a:lnTo>
                  <a:lnTo>
                    <a:pt x="97" y="429"/>
                  </a:lnTo>
                  <a:lnTo>
                    <a:pt x="92" y="430"/>
                  </a:lnTo>
                  <a:lnTo>
                    <a:pt x="90" y="430"/>
                  </a:lnTo>
                  <a:lnTo>
                    <a:pt x="89" y="434"/>
                  </a:lnTo>
                  <a:lnTo>
                    <a:pt x="87" y="444"/>
                  </a:lnTo>
                  <a:lnTo>
                    <a:pt x="84" y="447"/>
                  </a:lnTo>
                  <a:lnTo>
                    <a:pt x="82" y="446"/>
                  </a:lnTo>
                  <a:lnTo>
                    <a:pt x="78" y="442"/>
                  </a:lnTo>
                  <a:lnTo>
                    <a:pt x="77" y="442"/>
                  </a:lnTo>
                  <a:lnTo>
                    <a:pt x="73" y="441"/>
                  </a:lnTo>
                  <a:lnTo>
                    <a:pt x="70" y="439"/>
                  </a:lnTo>
                  <a:lnTo>
                    <a:pt x="66" y="437"/>
                  </a:lnTo>
                  <a:lnTo>
                    <a:pt x="60" y="432"/>
                  </a:lnTo>
                  <a:lnTo>
                    <a:pt x="53" y="434"/>
                  </a:lnTo>
                  <a:lnTo>
                    <a:pt x="49" y="435"/>
                  </a:lnTo>
                  <a:lnTo>
                    <a:pt x="41" y="430"/>
                  </a:lnTo>
                  <a:lnTo>
                    <a:pt x="39" y="435"/>
                  </a:lnTo>
                  <a:lnTo>
                    <a:pt x="43" y="439"/>
                  </a:lnTo>
                  <a:lnTo>
                    <a:pt x="43" y="442"/>
                  </a:lnTo>
                  <a:lnTo>
                    <a:pt x="41" y="444"/>
                  </a:lnTo>
                  <a:lnTo>
                    <a:pt x="37" y="446"/>
                  </a:lnTo>
                  <a:lnTo>
                    <a:pt x="36" y="446"/>
                  </a:lnTo>
                  <a:lnTo>
                    <a:pt x="34" y="439"/>
                  </a:lnTo>
                  <a:lnTo>
                    <a:pt x="32" y="439"/>
                  </a:lnTo>
                  <a:lnTo>
                    <a:pt x="31" y="439"/>
                  </a:lnTo>
                  <a:lnTo>
                    <a:pt x="29" y="439"/>
                  </a:lnTo>
                  <a:lnTo>
                    <a:pt x="24" y="442"/>
                  </a:lnTo>
                  <a:lnTo>
                    <a:pt x="20" y="441"/>
                  </a:lnTo>
                  <a:lnTo>
                    <a:pt x="17" y="437"/>
                  </a:lnTo>
                  <a:lnTo>
                    <a:pt x="15" y="439"/>
                  </a:lnTo>
                  <a:lnTo>
                    <a:pt x="13" y="441"/>
                  </a:lnTo>
                  <a:lnTo>
                    <a:pt x="13" y="444"/>
                  </a:lnTo>
                  <a:lnTo>
                    <a:pt x="17" y="447"/>
                  </a:lnTo>
                  <a:lnTo>
                    <a:pt x="15" y="451"/>
                  </a:lnTo>
                  <a:lnTo>
                    <a:pt x="13" y="451"/>
                  </a:lnTo>
                  <a:lnTo>
                    <a:pt x="12" y="454"/>
                  </a:lnTo>
                  <a:lnTo>
                    <a:pt x="8" y="452"/>
                  </a:lnTo>
                  <a:lnTo>
                    <a:pt x="7" y="451"/>
                  </a:lnTo>
                  <a:lnTo>
                    <a:pt x="2" y="451"/>
                  </a:lnTo>
                  <a:lnTo>
                    <a:pt x="2" y="449"/>
                  </a:lnTo>
                  <a:lnTo>
                    <a:pt x="5" y="449"/>
                  </a:lnTo>
                  <a:lnTo>
                    <a:pt x="5" y="447"/>
                  </a:lnTo>
                  <a:lnTo>
                    <a:pt x="2" y="446"/>
                  </a:lnTo>
                  <a:lnTo>
                    <a:pt x="0" y="442"/>
                  </a:lnTo>
                  <a:lnTo>
                    <a:pt x="0" y="441"/>
                  </a:lnTo>
                  <a:lnTo>
                    <a:pt x="5" y="442"/>
                  </a:lnTo>
                  <a:lnTo>
                    <a:pt x="5" y="441"/>
                  </a:lnTo>
                  <a:lnTo>
                    <a:pt x="5" y="439"/>
                  </a:lnTo>
                  <a:lnTo>
                    <a:pt x="2" y="439"/>
                  </a:lnTo>
                  <a:lnTo>
                    <a:pt x="2" y="437"/>
                  </a:lnTo>
                  <a:lnTo>
                    <a:pt x="2" y="439"/>
                  </a:lnTo>
                  <a:lnTo>
                    <a:pt x="5" y="437"/>
                  </a:lnTo>
                  <a:lnTo>
                    <a:pt x="3" y="435"/>
                  </a:lnTo>
                  <a:lnTo>
                    <a:pt x="5" y="434"/>
                  </a:lnTo>
                  <a:lnTo>
                    <a:pt x="5" y="430"/>
                  </a:lnTo>
                  <a:lnTo>
                    <a:pt x="5" y="427"/>
                  </a:lnTo>
                  <a:lnTo>
                    <a:pt x="3" y="427"/>
                  </a:lnTo>
                  <a:lnTo>
                    <a:pt x="3" y="425"/>
                  </a:lnTo>
                  <a:lnTo>
                    <a:pt x="3" y="425"/>
                  </a:lnTo>
                  <a:lnTo>
                    <a:pt x="8" y="422"/>
                  </a:lnTo>
                  <a:lnTo>
                    <a:pt x="8" y="420"/>
                  </a:lnTo>
                  <a:lnTo>
                    <a:pt x="5" y="420"/>
                  </a:lnTo>
                  <a:lnTo>
                    <a:pt x="5" y="420"/>
                  </a:lnTo>
                  <a:lnTo>
                    <a:pt x="8" y="417"/>
                  </a:lnTo>
                  <a:lnTo>
                    <a:pt x="10" y="415"/>
                  </a:lnTo>
                  <a:lnTo>
                    <a:pt x="12" y="413"/>
                  </a:lnTo>
                  <a:lnTo>
                    <a:pt x="12" y="411"/>
                  </a:lnTo>
                  <a:lnTo>
                    <a:pt x="7" y="408"/>
                  </a:lnTo>
                  <a:lnTo>
                    <a:pt x="7" y="405"/>
                  </a:lnTo>
                  <a:lnTo>
                    <a:pt x="7" y="405"/>
                  </a:lnTo>
                  <a:lnTo>
                    <a:pt x="10" y="396"/>
                  </a:lnTo>
                  <a:lnTo>
                    <a:pt x="12" y="398"/>
                  </a:lnTo>
                  <a:lnTo>
                    <a:pt x="12" y="400"/>
                  </a:lnTo>
                  <a:lnTo>
                    <a:pt x="13" y="398"/>
                  </a:lnTo>
                  <a:lnTo>
                    <a:pt x="13" y="396"/>
                  </a:lnTo>
                  <a:lnTo>
                    <a:pt x="15" y="394"/>
                  </a:lnTo>
                  <a:lnTo>
                    <a:pt x="15" y="398"/>
                  </a:lnTo>
                  <a:lnTo>
                    <a:pt x="17" y="398"/>
                  </a:lnTo>
                  <a:lnTo>
                    <a:pt x="17" y="391"/>
                  </a:lnTo>
                  <a:lnTo>
                    <a:pt x="22" y="388"/>
                  </a:lnTo>
                  <a:lnTo>
                    <a:pt x="24" y="384"/>
                  </a:lnTo>
                  <a:lnTo>
                    <a:pt x="25" y="381"/>
                  </a:lnTo>
                  <a:lnTo>
                    <a:pt x="24" y="379"/>
                  </a:lnTo>
                  <a:lnTo>
                    <a:pt x="24" y="379"/>
                  </a:lnTo>
                  <a:lnTo>
                    <a:pt x="29" y="376"/>
                  </a:lnTo>
                  <a:lnTo>
                    <a:pt x="29" y="374"/>
                  </a:lnTo>
                  <a:lnTo>
                    <a:pt x="31" y="374"/>
                  </a:lnTo>
                  <a:lnTo>
                    <a:pt x="31" y="372"/>
                  </a:lnTo>
                  <a:lnTo>
                    <a:pt x="29" y="369"/>
                  </a:lnTo>
                  <a:lnTo>
                    <a:pt x="31" y="365"/>
                  </a:lnTo>
                  <a:lnTo>
                    <a:pt x="32" y="364"/>
                  </a:lnTo>
                  <a:lnTo>
                    <a:pt x="34" y="364"/>
                  </a:lnTo>
                  <a:lnTo>
                    <a:pt x="32" y="360"/>
                  </a:lnTo>
                  <a:lnTo>
                    <a:pt x="32" y="359"/>
                  </a:lnTo>
                  <a:lnTo>
                    <a:pt x="36" y="355"/>
                  </a:lnTo>
                  <a:lnTo>
                    <a:pt x="39" y="353"/>
                  </a:lnTo>
                  <a:lnTo>
                    <a:pt x="41" y="347"/>
                  </a:lnTo>
                  <a:lnTo>
                    <a:pt x="41" y="343"/>
                  </a:lnTo>
                  <a:lnTo>
                    <a:pt x="39" y="343"/>
                  </a:lnTo>
                  <a:lnTo>
                    <a:pt x="41" y="341"/>
                  </a:lnTo>
                  <a:lnTo>
                    <a:pt x="36" y="335"/>
                  </a:lnTo>
                  <a:lnTo>
                    <a:pt x="36" y="333"/>
                  </a:lnTo>
                  <a:lnTo>
                    <a:pt x="37" y="329"/>
                  </a:lnTo>
                  <a:lnTo>
                    <a:pt x="37" y="326"/>
                  </a:lnTo>
                  <a:lnTo>
                    <a:pt x="37" y="323"/>
                  </a:lnTo>
                  <a:lnTo>
                    <a:pt x="36" y="321"/>
                  </a:lnTo>
                  <a:lnTo>
                    <a:pt x="32" y="321"/>
                  </a:lnTo>
                  <a:lnTo>
                    <a:pt x="32" y="319"/>
                  </a:lnTo>
                  <a:lnTo>
                    <a:pt x="32" y="312"/>
                  </a:lnTo>
                  <a:lnTo>
                    <a:pt x="29" y="311"/>
                  </a:lnTo>
                  <a:lnTo>
                    <a:pt x="27" y="311"/>
                  </a:lnTo>
                  <a:lnTo>
                    <a:pt x="27" y="309"/>
                  </a:lnTo>
                  <a:lnTo>
                    <a:pt x="25" y="307"/>
                  </a:lnTo>
                  <a:lnTo>
                    <a:pt x="25" y="306"/>
                  </a:lnTo>
                  <a:lnTo>
                    <a:pt x="24" y="304"/>
                  </a:lnTo>
                  <a:lnTo>
                    <a:pt x="25" y="302"/>
                  </a:lnTo>
                  <a:lnTo>
                    <a:pt x="29" y="299"/>
                  </a:lnTo>
                  <a:lnTo>
                    <a:pt x="29" y="299"/>
                  </a:lnTo>
                  <a:lnTo>
                    <a:pt x="31" y="297"/>
                  </a:lnTo>
                  <a:lnTo>
                    <a:pt x="31" y="294"/>
                  </a:lnTo>
                  <a:lnTo>
                    <a:pt x="27" y="292"/>
                  </a:lnTo>
                  <a:lnTo>
                    <a:pt x="27" y="290"/>
                  </a:lnTo>
                  <a:lnTo>
                    <a:pt x="27" y="288"/>
                  </a:lnTo>
                  <a:lnTo>
                    <a:pt x="25" y="287"/>
                  </a:lnTo>
                  <a:lnTo>
                    <a:pt x="27" y="283"/>
                  </a:lnTo>
                  <a:lnTo>
                    <a:pt x="32" y="282"/>
                  </a:lnTo>
                  <a:lnTo>
                    <a:pt x="32" y="268"/>
                  </a:lnTo>
                  <a:lnTo>
                    <a:pt x="31" y="254"/>
                  </a:lnTo>
                  <a:lnTo>
                    <a:pt x="27" y="223"/>
                  </a:lnTo>
                  <a:lnTo>
                    <a:pt x="25" y="194"/>
                  </a:lnTo>
                  <a:lnTo>
                    <a:pt x="22" y="160"/>
                  </a:lnTo>
                  <a:lnTo>
                    <a:pt x="22" y="159"/>
                  </a:lnTo>
                  <a:lnTo>
                    <a:pt x="20" y="131"/>
                  </a:lnTo>
                  <a:lnTo>
                    <a:pt x="17" y="102"/>
                  </a:lnTo>
                  <a:lnTo>
                    <a:pt x="15" y="85"/>
                  </a:lnTo>
                  <a:lnTo>
                    <a:pt x="15" y="71"/>
                  </a:lnTo>
                  <a:lnTo>
                    <a:pt x="13" y="54"/>
                  </a:lnTo>
                  <a:lnTo>
                    <a:pt x="10" y="27"/>
                  </a:lnTo>
                  <a:lnTo>
                    <a:pt x="17" y="32"/>
                  </a:lnTo>
                  <a:lnTo>
                    <a:pt x="20" y="30"/>
                  </a:lnTo>
                  <a:lnTo>
                    <a:pt x="19" y="32"/>
                  </a:lnTo>
                  <a:lnTo>
                    <a:pt x="22" y="36"/>
                  </a:lnTo>
                  <a:lnTo>
                    <a:pt x="36" y="34"/>
                  </a:lnTo>
                  <a:lnTo>
                    <a:pt x="58" y="22"/>
                  </a:lnTo>
                  <a:lnTo>
                    <a:pt x="65" y="17"/>
                  </a:lnTo>
                  <a:lnTo>
                    <a:pt x="90" y="13"/>
                  </a:lnTo>
                  <a:lnTo>
                    <a:pt x="113" y="12"/>
                  </a:lnTo>
                  <a:lnTo>
                    <a:pt x="126" y="10"/>
                  </a:lnTo>
                  <a:lnTo>
                    <a:pt x="147" y="8"/>
                  </a:lnTo>
                  <a:lnTo>
                    <a:pt x="159" y="6"/>
                  </a:lnTo>
                  <a:lnTo>
                    <a:pt x="188" y="5"/>
                  </a:lnTo>
                  <a:lnTo>
                    <a:pt x="195" y="3"/>
                  </a:lnTo>
                  <a:lnTo>
                    <a:pt x="224" y="0"/>
                  </a:lnTo>
                  <a:lnTo>
                    <a:pt x="227" y="0"/>
                  </a:lnTo>
                  <a:lnTo>
                    <a:pt x="227" y="6"/>
                  </a:lnTo>
                  <a:lnTo>
                    <a:pt x="231" y="24"/>
                  </a:lnTo>
                  <a:lnTo>
                    <a:pt x="231" y="36"/>
                  </a:lnTo>
                  <a:lnTo>
                    <a:pt x="232" y="51"/>
                  </a:lnTo>
                  <a:lnTo>
                    <a:pt x="234" y="54"/>
                  </a:lnTo>
                  <a:lnTo>
                    <a:pt x="237" y="82"/>
                  </a:lnTo>
                  <a:lnTo>
                    <a:pt x="237" y="88"/>
                  </a:lnTo>
                  <a:lnTo>
                    <a:pt x="241" y="111"/>
                  </a:lnTo>
                  <a:lnTo>
                    <a:pt x="242" y="126"/>
                  </a:lnTo>
                  <a:lnTo>
                    <a:pt x="244" y="150"/>
                  </a:lnTo>
                  <a:lnTo>
                    <a:pt x="244" y="153"/>
                  </a:lnTo>
                  <a:lnTo>
                    <a:pt x="248" y="188"/>
                  </a:lnTo>
                  <a:lnTo>
                    <a:pt x="249" y="198"/>
                  </a:lnTo>
                  <a:lnTo>
                    <a:pt x="251" y="217"/>
                  </a:lnTo>
                  <a:lnTo>
                    <a:pt x="253" y="235"/>
                  </a:lnTo>
                  <a:lnTo>
                    <a:pt x="254" y="241"/>
                  </a:lnTo>
                  <a:lnTo>
                    <a:pt x="256" y="263"/>
                  </a:lnTo>
                  <a:lnTo>
                    <a:pt x="256" y="263"/>
                  </a:lnTo>
                  <a:lnTo>
                    <a:pt x="260" y="285"/>
                  </a:lnTo>
                  <a:lnTo>
                    <a:pt x="258" y="285"/>
                  </a:lnTo>
                  <a:lnTo>
                    <a:pt x="253" y="290"/>
                  </a:lnTo>
                  <a:lnTo>
                    <a:pt x="253" y="292"/>
                  </a:lnTo>
                  <a:lnTo>
                    <a:pt x="254" y="294"/>
                  </a:lnTo>
                  <a:lnTo>
                    <a:pt x="258" y="295"/>
                  </a:lnTo>
                  <a:lnTo>
                    <a:pt x="260" y="299"/>
                  </a:lnTo>
                  <a:lnTo>
                    <a:pt x="258" y="300"/>
                  </a:lnTo>
                  <a:lnTo>
                    <a:pt x="256" y="304"/>
                  </a:lnTo>
                  <a:lnTo>
                    <a:pt x="256" y="306"/>
                  </a:lnTo>
                  <a:lnTo>
                    <a:pt x="258" y="307"/>
                  </a:lnTo>
                  <a:lnTo>
                    <a:pt x="263" y="307"/>
                  </a:lnTo>
                  <a:lnTo>
                    <a:pt x="263" y="309"/>
                  </a:lnTo>
                  <a:lnTo>
                    <a:pt x="265" y="311"/>
                  </a:lnTo>
                  <a:lnTo>
                    <a:pt x="261" y="314"/>
                  </a:lnTo>
                  <a:lnTo>
                    <a:pt x="263" y="317"/>
                  </a:lnTo>
                  <a:lnTo>
                    <a:pt x="249" y="321"/>
                  </a:lnTo>
                  <a:lnTo>
                    <a:pt x="246" y="323"/>
                  </a:lnTo>
                  <a:lnTo>
                    <a:pt x="242" y="326"/>
                  </a:lnTo>
                  <a:lnTo>
                    <a:pt x="239" y="329"/>
                  </a:lnTo>
                  <a:lnTo>
                    <a:pt x="236" y="331"/>
                  </a:lnTo>
                  <a:lnTo>
                    <a:pt x="232" y="333"/>
                  </a:lnTo>
                  <a:lnTo>
                    <a:pt x="225" y="328"/>
                  </a:lnTo>
                  <a:lnTo>
                    <a:pt x="220" y="329"/>
                  </a:lnTo>
                  <a:lnTo>
                    <a:pt x="213" y="329"/>
                  </a:lnTo>
                  <a:lnTo>
                    <a:pt x="212" y="331"/>
                  </a:lnTo>
                  <a:lnTo>
                    <a:pt x="212" y="335"/>
                  </a:lnTo>
                  <a:lnTo>
                    <a:pt x="215" y="347"/>
                  </a:lnTo>
                  <a:lnTo>
                    <a:pt x="215" y="348"/>
                  </a:lnTo>
                  <a:lnTo>
                    <a:pt x="215" y="352"/>
                  </a:lnTo>
                  <a:lnTo>
                    <a:pt x="212" y="353"/>
                  </a:lnTo>
                  <a:lnTo>
                    <a:pt x="210" y="359"/>
                  </a:lnTo>
                  <a:lnTo>
                    <a:pt x="201" y="364"/>
                  </a:lnTo>
                  <a:lnTo>
                    <a:pt x="200" y="370"/>
                  </a:lnTo>
                  <a:lnTo>
                    <a:pt x="200" y="376"/>
                  </a:lnTo>
                  <a:lnTo>
                    <a:pt x="196" y="379"/>
                  </a:lnTo>
                  <a:lnTo>
                    <a:pt x="191" y="382"/>
                  </a:lnTo>
                  <a:lnTo>
                    <a:pt x="188" y="382"/>
                  </a:lnTo>
                  <a:lnTo>
                    <a:pt x="186" y="382"/>
                  </a:lnTo>
                  <a:lnTo>
                    <a:pt x="184" y="382"/>
                  </a:lnTo>
                  <a:lnTo>
                    <a:pt x="184" y="388"/>
                  </a:lnTo>
                  <a:lnTo>
                    <a:pt x="179" y="394"/>
                  </a:lnTo>
                  <a:lnTo>
                    <a:pt x="181" y="406"/>
                  </a:lnTo>
                  <a:lnTo>
                    <a:pt x="179" y="410"/>
                  </a:lnTo>
                  <a:lnTo>
                    <a:pt x="178" y="413"/>
                  </a:lnTo>
                  <a:lnTo>
                    <a:pt x="174" y="415"/>
                  </a:lnTo>
                  <a:lnTo>
                    <a:pt x="171" y="415"/>
                  </a:lnTo>
                  <a:lnTo>
                    <a:pt x="171" y="418"/>
                  </a:lnTo>
                  <a:lnTo>
                    <a:pt x="166" y="415"/>
                  </a:lnTo>
                  <a:lnTo>
                    <a:pt x="159" y="415"/>
                  </a:lnTo>
                  <a:lnTo>
                    <a:pt x="152" y="411"/>
                  </a:lnTo>
                  <a:lnTo>
                    <a:pt x="150" y="410"/>
                  </a:lnTo>
                  <a:lnTo>
                    <a:pt x="148" y="408"/>
                  </a:lnTo>
                  <a:lnTo>
                    <a:pt x="147" y="401"/>
                  </a:lnTo>
                  <a:lnTo>
                    <a:pt x="143" y="39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8" name="Freeform 27"/>
            <p:cNvSpPr>
              <a:spLocks/>
            </p:cNvSpPr>
            <p:nvPr/>
          </p:nvSpPr>
          <p:spPr bwMode="gray">
            <a:xfrm>
              <a:off x="2102460" y="2854410"/>
              <a:ext cx="872762" cy="1344569"/>
            </a:xfrm>
            <a:custGeom>
              <a:avLst/>
              <a:gdLst/>
              <a:ahLst/>
              <a:cxnLst>
                <a:cxn ang="0">
                  <a:pos x="41" y="376"/>
                </a:cxn>
                <a:cxn ang="0">
                  <a:pos x="7" y="323"/>
                </a:cxn>
                <a:cxn ang="0">
                  <a:pos x="2" y="306"/>
                </a:cxn>
                <a:cxn ang="0">
                  <a:pos x="3" y="297"/>
                </a:cxn>
                <a:cxn ang="0">
                  <a:pos x="12" y="266"/>
                </a:cxn>
                <a:cxn ang="0">
                  <a:pos x="58" y="85"/>
                </a:cxn>
                <a:cxn ang="0">
                  <a:pos x="130" y="13"/>
                </a:cxn>
                <a:cxn ang="0">
                  <a:pos x="220" y="34"/>
                </a:cxn>
                <a:cxn ang="0">
                  <a:pos x="313" y="56"/>
                </a:cxn>
                <a:cxn ang="0">
                  <a:pos x="465" y="89"/>
                </a:cxn>
                <a:cxn ang="0">
                  <a:pos x="542" y="104"/>
                </a:cxn>
                <a:cxn ang="0">
                  <a:pos x="502" y="304"/>
                </a:cxn>
                <a:cxn ang="0">
                  <a:pos x="492" y="364"/>
                </a:cxn>
                <a:cxn ang="0">
                  <a:pos x="472" y="466"/>
                </a:cxn>
                <a:cxn ang="0">
                  <a:pos x="451" y="571"/>
                </a:cxn>
                <a:cxn ang="0">
                  <a:pos x="436" y="651"/>
                </a:cxn>
                <a:cxn ang="0">
                  <a:pos x="422" y="719"/>
                </a:cxn>
                <a:cxn ang="0">
                  <a:pos x="412" y="733"/>
                </a:cxn>
                <a:cxn ang="0">
                  <a:pos x="403" y="735"/>
                </a:cxn>
                <a:cxn ang="0">
                  <a:pos x="398" y="726"/>
                </a:cxn>
                <a:cxn ang="0">
                  <a:pos x="396" y="719"/>
                </a:cxn>
                <a:cxn ang="0">
                  <a:pos x="388" y="719"/>
                </a:cxn>
                <a:cxn ang="0">
                  <a:pos x="381" y="716"/>
                </a:cxn>
                <a:cxn ang="0">
                  <a:pos x="372" y="714"/>
                </a:cxn>
                <a:cxn ang="0">
                  <a:pos x="362" y="719"/>
                </a:cxn>
                <a:cxn ang="0">
                  <a:pos x="362" y="724"/>
                </a:cxn>
                <a:cxn ang="0">
                  <a:pos x="362" y="738"/>
                </a:cxn>
                <a:cxn ang="0">
                  <a:pos x="364" y="743"/>
                </a:cxn>
                <a:cxn ang="0">
                  <a:pos x="361" y="753"/>
                </a:cxn>
                <a:cxn ang="0">
                  <a:pos x="361" y="762"/>
                </a:cxn>
                <a:cxn ang="0">
                  <a:pos x="361" y="767"/>
                </a:cxn>
                <a:cxn ang="0">
                  <a:pos x="359" y="774"/>
                </a:cxn>
                <a:cxn ang="0">
                  <a:pos x="355" y="781"/>
                </a:cxn>
                <a:cxn ang="0">
                  <a:pos x="359" y="798"/>
                </a:cxn>
                <a:cxn ang="0">
                  <a:pos x="359" y="813"/>
                </a:cxn>
                <a:cxn ang="0">
                  <a:pos x="355" y="822"/>
                </a:cxn>
                <a:cxn ang="0">
                  <a:pos x="352" y="822"/>
                </a:cxn>
                <a:cxn ang="0">
                  <a:pos x="352" y="829"/>
                </a:cxn>
                <a:cxn ang="0">
                  <a:pos x="349" y="835"/>
                </a:cxn>
                <a:cxn ang="0">
                  <a:pos x="263" y="707"/>
                </a:cxn>
                <a:cxn ang="0">
                  <a:pos x="135" y="518"/>
                </a:cxn>
                <a:cxn ang="0">
                  <a:pos x="51" y="391"/>
                </a:cxn>
              </a:cxnLst>
              <a:rect l="0" t="0" r="r" b="b"/>
              <a:pathLst>
                <a:path w="542" h="835">
                  <a:moveTo>
                    <a:pt x="51" y="391"/>
                  </a:moveTo>
                  <a:lnTo>
                    <a:pt x="41" y="376"/>
                  </a:lnTo>
                  <a:lnTo>
                    <a:pt x="26" y="353"/>
                  </a:lnTo>
                  <a:lnTo>
                    <a:pt x="7" y="323"/>
                  </a:lnTo>
                  <a:lnTo>
                    <a:pt x="0" y="314"/>
                  </a:lnTo>
                  <a:lnTo>
                    <a:pt x="2" y="306"/>
                  </a:lnTo>
                  <a:lnTo>
                    <a:pt x="3" y="302"/>
                  </a:lnTo>
                  <a:lnTo>
                    <a:pt x="3" y="297"/>
                  </a:lnTo>
                  <a:lnTo>
                    <a:pt x="8" y="280"/>
                  </a:lnTo>
                  <a:lnTo>
                    <a:pt x="12" y="266"/>
                  </a:lnTo>
                  <a:lnTo>
                    <a:pt x="19" y="237"/>
                  </a:lnTo>
                  <a:lnTo>
                    <a:pt x="58" y="85"/>
                  </a:lnTo>
                  <a:lnTo>
                    <a:pt x="80" y="0"/>
                  </a:lnTo>
                  <a:lnTo>
                    <a:pt x="130" y="13"/>
                  </a:lnTo>
                  <a:lnTo>
                    <a:pt x="133" y="13"/>
                  </a:lnTo>
                  <a:lnTo>
                    <a:pt x="220" y="34"/>
                  </a:lnTo>
                  <a:lnTo>
                    <a:pt x="309" y="56"/>
                  </a:lnTo>
                  <a:lnTo>
                    <a:pt x="313" y="56"/>
                  </a:lnTo>
                  <a:lnTo>
                    <a:pt x="393" y="73"/>
                  </a:lnTo>
                  <a:lnTo>
                    <a:pt x="465" y="89"/>
                  </a:lnTo>
                  <a:lnTo>
                    <a:pt x="523" y="101"/>
                  </a:lnTo>
                  <a:lnTo>
                    <a:pt x="542" y="104"/>
                  </a:lnTo>
                  <a:lnTo>
                    <a:pt x="521" y="210"/>
                  </a:lnTo>
                  <a:lnTo>
                    <a:pt x="502" y="304"/>
                  </a:lnTo>
                  <a:lnTo>
                    <a:pt x="499" y="324"/>
                  </a:lnTo>
                  <a:lnTo>
                    <a:pt x="492" y="364"/>
                  </a:lnTo>
                  <a:lnTo>
                    <a:pt x="473" y="454"/>
                  </a:lnTo>
                  <a:lnTo>
                    <a:pt x="472" y="466"/>
                  </a:lnTo>
                  <a:lnTo>
                    <a:pt x="461" y="512"/>
                  </a:lnTo>
                  <a:lnTo>
                    <a:pt x="451" y="571"/>
                  </a:lnTo>
                  <a:lnTo>
                    <a:pt x="439" y="634"/>
                  </a:lnTo>
                  <a:lnTo>
                    <a:pt x="436" y="651"/>
                  </a:lnTo>
                  <a:lnTo>
                    <a:pt x="424" y="716"/>
                  </a:lnTo>
                  <a:lnTo>
                    <a:pt x="422" y="719"/>
                  </a:lnTo>
                  <a:lnTo>
                    <a:pt x="415" y="726"/>
                  </a:lnTo>
                  <a:lnTo>
                    <a:pt x="412" y="733"/>
                  </a:lnTo>
                  <a:lnTo>
                    <a:pt x="405" y="735"/>
                  </a:lnTo>
                  <a:lnTo>
                    <a:pt x="403" y="735"/>
                  </a:lnTo>
                  <a:lnTo>
                    <a:pt x="398" y="728"/>
                  </a:lnTo>
                  <a:lnTo>
                    <a:pt x="398" y="726"/>
                  </a:lnTo>
                  <a:lnTo>
                    <a:pt x="398" y="723"/>
                  </a:lnTo>
                  <a:lnTo>
                    <a:pt x="396" y="719"/>
                  </a:lnTo>
                  <a:lnTo>
                    <a:pt x="393" y="717"/>
                  </a:lnTo>
                  <a:lnTo>
                    <a:pt x="388" y="719"/>
                  </a:lnTo>
                  <a:lnTo>
                    <a:pt x="386" y="719"/>
                  </a:lnTo>
                  <a:lnTo>
                    <a:pt x="381" y="716"/>
                  </a:lnTo>
                  <a:lnTo>
                    <a:pt x="374" y="716"/>
                  </a:lnTo>
                  <a:lnTo>
                    <a:pt x="372" y="714"/>
                  </a:lnTo>
                  <a:lnTo>
                    <a:pt x="364" y="717"/>
                  </a:lnTo>
                  <a:lnTo>
                    <a:pt x="362" y="719"/>
                  </a:lnTo>
                  <a:lnTo>
                    <a:pt x="362" y="723"/>
                  </a:lnTo>
                  <a:lnTo>
                    <a:pt x="362" y="724"/>
                  </a:lnTo>
                  <a:lnTo>
                    <a:pt x="361" y="729"/>
                  </a:lnTo>
                  <a:lnTo>
                    <a:pt x="362" y="738"/>
                  </a:lnTo>
                  <a:lnTo>
                    <a:pt x="364" y="741"/>
                  </a:lnTo>
                  <a:lnTo>
                    <a:pt x="364" y="743"/>
                  </a:lnTo>
                  <a:lnTo>
                    <a:pt x="361" y="745"/>
                  </a:lnTo>
                  <a:lnTo>
                    <a:pt x="361" y="753"/>
                  </a:lnTo>
                  <a:lnTo>
                    <a:pt x="359" y="757"/>
                  </a:lnTo>
                  <a:lnTo>
                    <a:pt x="361" y="762"/>
                  </a:lnTo>
                  <a:lnTo>
                    <a:pt x="359" y="765"/>
                  </a:lnTo>
                  <a:lnTo>
                    <a:pt x="361" y="767"/>
                  </a:lnTo>
                  <a:lnTo>
                    <a:pt x="361" y="770"/>
                  </a:lnTo>
                  <a:lnTo>
                    <a:pt x="359" y="774"/>
                  </a:lnTo>
                  <a:lnTo>
                    <a:pt x="359" y="777"/>
                  </a:lnTo>
                  <a:lnTo>
                    <a:pt x="355" y="781"/>
                  </a:lnTo>
                  <a:lnTo>
                    <a:pt x="357" y="788"/>
                  </a:lnTo>
                  <a:lnTo>
                    <a:pt x="359" y="798"/>
                  </a:lnTo>
                  <a:lnTo>
                    <a:pt x="359" y="805"/>
                  </a:lnTo>
                  <a:lnTo>
                    <a:pt x="359" y="813"/>
                  </a:lnTo>
                  <a:lnTo>
                    <a:pt x="357" y="818"/>
                  </a:lnTo>
                  <a:lnTo>
                    <a:pt x="355" y="822"/>
                  </a:lnTo>
                  <a:lnTo>
                    <a:pt x="355" y="822"/>
                  </a:lnTo>
                  <a:lnTo>
                    <a:pt x="352" y="822"/>
                  </a:lnTo>
                  <a:lnTo>
                    <a:pt x="350" y="823"/>
                  </a:lnTo>
                  <a:lnTo>
                    <a:pt x="352" y="829"/>
                  </a:lnTo>
                  <a:lnTo>
                    <a:pt x="349" y="830"/>
                  </a:lnTo>
                  <a:lnTo>
                    <a:pt x="349" y="835"/>
                  </a:lnTo>
                  <a:lnTo>
                    <a:pt x="280" y="735"/>
                  </a:lnTo>
                  <a:lnTo>
                    <a:pt x="263" y="707"/>
                  </a:lnTo>
                  <a:lnTo>
                    <a:pt x="179" y="582"/>
                  </a:lnTo>
                  <a:lnTo>
                    <a:pt x="135" y="518"/>
                  </a:lnTo>
                  <a:lnTo>
                    <a:pt x="99" y="461"/>
                  </a:lnTo>
                  <a:lnTo>
                    <a:pt x="51" y="39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29" name="Freeform 28"/>
            <p:cNvSpPr>
              <a:spLocks/>
            </p:cNvSpPr>
            <p:nvPr/>
          </p:nvSpPr>
          <p:spPr bwMode="gray">
            <a:xfrm>
              <a:off x="2809365" y="3021878"/>
              <a:ext cx="771316" cy="962936"/>
            </a:xfrm>
            <a:custGeom>
              <a:avLst/>
              <a:gdLst/>
              <a:ahLst/>
              <a:cxnLst>
                <a:cxn ang="0">
                  <a:pos x="22" y="408"/>
                </a:cxn>
                <a:cxn ang="0">
                  <a:pos x="33" y="362"/>
                </a:cxn>
                <a:cxn ang="0">
                  <a:pos x="34" y="350"/>
                </a:cxn>
                <a:cxn ang="0">
                  <a:pos x="53" y="260"/>
                </a:cxn>
                <a:cxn ang="0">
                  <a:pos x="60" y="220"/>
                </a:cxn>
                <a:cxn ang="0">
                  <a:pos x="63" y="200"/>
                </a:cxn>
                <a:cxn ang="0">
                  <a:pos x="82" y="106"/>
                </a:cxn>
                <a:cxn ang="0">
                  <a:pos x="103" y="0"/>
                </a:cxn>
                <a:cxn ang="0">
                  <a:pos x="185" y="14"/>
                </a:cxn>
                <a:cxn ang="0">
                  <a:pos x="250" y="26"/>
                </a:cxn>
                <a:cxn ang="0">
                  <a:pos x="253" y="26"/>
                </a:cxn>
                <a:cxn ang="0">
                  <a:pos x="301" y="34"/>
                </a:cxn>
                <a:cxn ang="0">
                  <a:pos x="337" y="41"/>
                </a:cxn>
                <a:cxn ang="0">
                  <a:pos x="328" y="85"/>
                </a:cxn>
                <a:cxn ang="0">
                  <a:pos x="323" y="120"/>
                </a:cxn>
                <a:cxn ang="0">
                  <a:pos x="320" y="147"/>
                </a:cxn>
                <a:cxn ang="0">
                  <a:pos x="397" y="159"/>
                </a:cxn>
                <a:cxn ang="0">
                  <a:pos x="402" y="159"/>
                </a:cxn>
                <a:cxn ang="0">
                  <a:pos x="479" y="171"/>
                </a:cxn>
                <a:cxn ang="0">
                  <a:pos x="474" y="207"/>
                </a:cxn>
                <a:cxn ang="0">
                  <a:pos x="467" y="255"/>
                </a:cxn>
                <a:cxn ang="0">
                  <a:pos x="458" y="314"/>
                </a:cxn>
                <a:cxn ang="0">
                  <a:pos x="456" y="328"/>
                </a:cxn>
                <a:cxn ang="0">
                  <a:pos x="453" y="345"/>
                </a:cxn>
                <a:cxn ang="0">
                  <a:pos x="441" y="439"/>
                </a:cxn>
                <a:cxn ang="0">
                  <a:pos x="438" y="465"/>
                </a:cxn>
                <a:cxn ang="0">
                  <a:pos x="436" y="475"/>
                </a:cxn>
                <a:cxn ang="0">
                  <a:pos x="433" y="504"/>
                </a:cxn>
                <a:cxn ang="0">
                  <a:pos x="429" y="531"/>
                </a:cxn>
                <a:cxn ang="0">
                  <a:pos x="419" y="598"/>
                </a:cxn>
                <a:cxn ang="0">
                  <a:pos x="339" y="588"/>
                </a:cxn>
                <a:cxn ang="0">
                  <a:pos x="301" y="583"/>
                </a:cxn>
                <a:cxn ang="0">
                  <a:pos x="299" y="581"/>
                </a:cxn>
                <a:cxn ang="0">
                  <a:pos x="277" y="578"/>
                </a:cxn>
                <a:cxn ang="0">
                  <a:pos x="226" y="569"/>
                </a:cxn>
                <a:cxn ang="0">
                  <a:pos x="151" y="557"/>
                </a:cxn>
                <a:cxn ang="0">
                  <a:pos x="125" y="552"/>
                </a:cxn>
                <a:cxn ang="0">
                  <a:pos x="96" y="547"/>
                </a:cxn>
                <a:cxn ang="0">
                  <a:pos x="0" y="530"/>
                </a:cxn>
                <a:cxn ang="0">
                  <a:pos x="12" y="467"/>
                </a:cxn>
                <a:cxn ang="0">
                  <a:pos x="22" y="408"/>
                </a:cxn>
              </a:cxnLst>
              <a:rect l="0" t="0" r="r" b="b"/>
              <a:pathLst>
                <a:path w="479" h="598">
                  <a:moveTo>
                    <a:pt x="22" y="408"/>
                  </a:moveTo>
                  <a:lnTo>
                    <a:pt x="33" y="362"/>
                  </a:lnTo>
                  <a:lnTo>
                    <a:pt x="34" y="350"/>
                  </a:lnTo>
                  <a:lnTo>
                    <a:pt x="53" y="260"/>
                  </a:lnTo>
                  <a:lnTo>
                    <a:pt x="60" y="220"/>
                  </a:lnTo>
                  <a:lnTo>
                    <a:pt x="63" y="200"/>
                  </a:lnTo>
                  <a:lnTo>
                    <a:pt x="82" y="106"/>
                  </a:lnTo>
                  <a:lnTo>
                    <a:pt x="103" y="0"/>
                  </a:lnTo>
                  <a:lnTo>
                    <a:pt x="185" y="14"/>
                  </a:lnTo>
                  <a:lnTo>
                    <a:pt x="250" y="26"/>
                  </a:lnTo>
                  <a:lnTo>
                    <a:pt x="253" y="26"/>
                  </a:lnTo>
                  <a:lnTo>
                    <a:pt x="301" y="34"/>
                  </a:lnTo>
                  <a:lnTo>
                    <a:pt x="337" y="41"/>
                  </a:lnTo>
                  <a:lnTo>
                    <a:pt x="328" y="85"/>
                  </a:lnTo>
                  <a:lnTo>
                    <a:pt x="323" y="120"/>
                  </a:lnTo>
                  <a:lnTo>
                    <a:pt x="320" y="147"/>
                  </a:lnTo>
                  <a:lnTo>
                    <a:pt x="397" y="159"/>
                  </a:lnTo>
                  <a:lnTo>
                    <a:pt x="402" y="159"/>
                  </a:lnTo>
                  <a:lnTo>
                    <a:pt x="479" y="171"/>
                  </a:lnTo>
                  <a:lnTo>
                    <a:pt x="474" y="207"/>
                  </a:lnTo>
                  <a:lnTo>
                    <a:pt x="467" y="255"/>
                  </a:lnTo>
                  <a:lnTo>
                    <a:pt x="458" y="314"/>
                  </a:lnTo>
                  <a:lnTo>
                    <a:pt x="456" y="328"/>
                  </a:lnTo>
                  <a:lnTo>
                    <a:pt x="453" y="345"/>
                  </a:lnTo>
                  <a:lnTo>
                    <a:pt x="441" y="439"/>
                  </a:lnTo>
                  <a:lnTo>
                    <a:pt x="438" y="465"/>
                  </a:lnTo>
                  <a:lnTo>
                    <a:pt x="436" y="475"/>
                  </a:lnTo>
                  <a:lnTo>
                    <a:pt x="433" y="504"/>
                  </a:lnTo>
                  <a:lnTo>
                    <a:pt x="429" y="531"/>
                  </a:lnTo>
                  <a:lnTo>
                    <a:pt x="419" y="598"/>
                  </a:lnTo>
                  <a:lnTo>
                    <a:pt x="339" y="588"/>
                  </a:lnTo>
                  <a:lnTo>
                    <a:pt x="301" y="583"/>
                  </a:lnTo>
                  <a:lnTo>
                    <a:pt x="299" y="581"/>
                  </a:lnTo>
                  <a:lnTo>
                    <a:pt x="277" y="578"/>
                  </a:lnTo>
                  <a:lnTo>
                    <a:pt x="226" y="569"/>
                  </a:lnTo>
                  <a:lnTo>
                    <a:pt x="151" y="557"/>
                  </a:lnTo>
                  <a:lnTo>
                    <a:pt x="125" y="552"/>
                  </a:lnTo>
                  <a:lnTo>
                    <a:pt x="96" y="547"/>
                  </a:lnTo>
                  <a:lnTo>
                    <a:pt x="0" y="530"/>
                  </a:lnTo>
                  <a:lnTo>
                    <a:pt x="12" y="467"/>
                  </a:lnTo>
                  <a:lnTo>
                    <a:pt x="22" y="40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30" name="Freeform 29"/>
            <p:cNvSpPr>
              <a:spLocks noEditPoints="1"/>
            </p:cNvSpPr>
            <p:nvPr/>
          </p:nvSpPr>
          <p:spPr bwMode="gray">
            <a:xfrm>
              <a:off x="1609720" y="2707876"/>
              <a:ext cx="1098198" cy="1879176"/>
            </a:xfrm>
            <a:custGeom>
              <a:avLst/>
              <a:gdLst/>
              <a:ahLst/>
              <a:cxnLst>
                <a:cxn ang="0">
                  <a:pos x="99" y="453"/>
                </a:cxn>
                <a:cxn ang="0">
                  <a:pos x="97" y="448"/>
                </a:cxn>
                <a:cxn ang="0">
                  <a:pos x="80" y="444"/>
                </a:cxn>
                <a:cxn ang="0">
                  <a:pos x="70" y="472"/>
                </a:cxn>
                <a:cxn ang="0">
                  <a:pos x="39" y="444"/>
                </a:cxn>
                <a:cxn ang="0">
                  <a:pos x="39" y="395"/>
                </a:cxn>
                <a:cxn ang="0">
                  <a:pos x="12" y="284"/>
                </a:cxn>
                <a:cxn ang="0">
                  <a:pos x="14" y="198"/>
                </a:cxn>
                <a:cxn ang="0">
                  <a:pos x="43" y="91"/>
                </a:cxn>
                <a:cxn ang="0">
                  <a:pos x="60" y="16"/>
                </a:cxn>
                <a:cxn ang="0">
                  <a:pos x="212" y="43"/>
                </a:cxn>
                <a:cxn ang="0">
                  <a:pos x="325" y="328"/>
                </a:cxn>
                <a:cxn ang="0">
                  <a:pos x="308" y="397"/>
                </a:cxn>
                <a:cxn ang="0">
                  <a:pos x="357" y="482"/>
                </a:cxn>
                <a:cxn ang="0">
                  <a:pos x="586" y="826"/>
                </a:cxn>
                <a:cxn ang="0">
                  <a:pos x="651" y="940"/>
                </a:cxn>
                <a:cxn ang="0">
                  <a:pos x="663" y="961"/>
                </a:cxn>
                <a:cxn ang="0">
                  <a:pos x="665" y="986"/>
                </a:cxn>
                <a:cxn ang="0">
                  <a:pos x="673" y="996"/>
                </a:cxn>
                <a:cxn ang="0">
                  <a:pos x="680" y="1012"/>
                </a:cxn>
                <a:cxn ang="0">
                  <a:pos x="653" y="1027"/>
                </a:cxn>
                <a:cxn ang="0">
                  <a:pos x="639" y="1049"/>
                </a:cxn>
                <a:cxn ang="0">
                  <a:pos x="639" y="1065"/>
                </a:cxn>
                <a:cxn ang="0">
                  <a:pos x="632" y="1080"/>
                </a:cxn>
                <a:cxn ang="0">
                  <a:pos x="620" y="1094"/>
                </a:cxn>
                <a:cxn ang="0">
                  <a:pos x="612" y="1111"/>
                </a:cxn>
                <a:cxn ang="0">
                  <a:pos x="610" y="1133"/>
                </a:cxn>
                <a:cxn ang="0">
                  <a:pos x="622" y="1137"/>
                </a:cxn>
                <a:cxn ang="0">
                  <a:pos x="617" y="1162"/>
                </a:cxn>
                <a:cxn ang="0">
                  <a:pos x="614" y="1166"/>
                </a:cxn>
                <a:cxn ang="0">
                  <a:pos x="602" y="1164"/>
                </a:cxn>
                <a:cxn ang="0">
                  <a:pos x="381" y="1119"/>
                </a:cxn>
                <a:cxn ang="0">
                  <a:pos x="376" y="1104"/>
                </a:cxn>
                <a:cxn ang="0">
                  <a:pos x="326" y="993"/>
                </a:cxn>
                <a:cxn ang="0">
                  <a:pos x="304" y="981"/>
                </a:cxn>
                <a:cxn ang="0">
                  <a:pos x="241" y="928"/>
                </a:cxn>
                <a:cxn ang="0">
                  <a:pos x="181" y="879"/>
                </a:cxn>
                <a:cxn ang="0">
                  <a:pos x="138" y="839"/>
                </a:cxn>
                <a:cxn ang="0">
                  <a:pos x="147" y="802"/>
                </a:cxn>
                <a:cxn ang="0">
                  <a:pos x="135" y="759"/>
                </a:cxn>
                <a:cxn ang="0">
                  <a:pos x="101" y="699"/>
                </a:cxn>
                <a:cxn ang="0">
                  <a:pos x="87" y="614"/>
                </a:cxn>
                <a:cxn ang="0">
                  <a:pos x="80" y="573"/>
                </a:cxn>
                <a:cxn ang="0">
                  <a:pos x="65" y="509"/>
                </a:cxn>
                <a:cxn ang="0">
                  <a:pos x="80" y="485"/>
                </a:cxn>
                <a:cxn ang="0">
                  <a:pos x="94" y="515"/>
                </a:cxn>
                <a:cxn ang="0">
                  <a:pos x="85" y="460"/>
                </a:cxn>
                <a:cxn ang="0">
                  <a:pos x="154" y="465"/>
                </a:cxn>
                <a:cxn ang="0">
                  <a:pos x="147" y="463"/>
                </a:cxn>
                <a:cxn ang="0">
                  <a:pos x="212" y="933"/>
                </a:cxn>
                <a:cxn ang="0">
                  <a:pos x="183" y="926"/>
                </a:cxn>
                <a:cxn ang="0">
                  <a:pos x="167" y="921"/>
                </a:cxn>
                <a:cxn ang="0">
                  <a:pos x="296" y="1024"/>
                </a:cxn>
                <a:cxn ang="0">
                  <a:pos x="280" y="1017"/>
                </a:cxn>
                <a:cxn ang="0">
                  <a:pos x="265" y="1060"/>
                </a:cxn>
              </a:cxnLst>
              <a:rect l="0" t="0" r="r" b="b"/>
              <a:pathLst>
                <a:path w="682" h="1167">
                  <a:moveTo>
                    <a:pt x="149" y="455"/>
                  </a:moveTo>
                  <a:lnTo>
                    <a:pt x="137" y="463"/>
                  </a:lnTo>
                  <a:lnTo>
                    <a:pt x="126" y="460"/>
                  </a:lnTo>
                  <a:lnTo>
                    <a:pt x="121" y="451"/>
                  </a:lnTo>
                  <a:lnTo>
                    <a:pt x="99" y="453"/>
                  </a:lnTo>
                  <a:lnTo>
                    <a:pt x="99" y="443"/>
                  </a:lnTo>
                  <a:lnTo>
                    <a:pt x="97" y="436"/>
                  </a:lnTo>
                  <a:lnTo>
                    <a:pt x="94" y="438"/>
                  </a:lnTo>
                  <a:lnTo>
                    <a:pt x="97" y="443"/>
                  </a:lnTo>
                  <a:lnTo>
                    <a:pt x="97" y="448"/>
                  </a:lnTo>
                  <a:lnTo>
                    <a:pt x="89" y="439"/>
                  </a:lnTo>
                  <a:lnTo>
                    <a:pt x="85" y="443"/>
                  </a:lnTo>
                  <a:lnTo>
                    <a:pt x="80" y="443"/>
                  </a:lnTo>
                  <a:lnTo>
                    <a:pt x="79" y="438"/>
                  </a:lnTo>
                  <a:lnTo>
                    <a:pt x="80" y="444"/>
                  </a:lnTo>
                  <a:lnTo>
                    <a:pt x="77" y="451"/>
                  </a:lnTo>
                  <a:lnTo>
                    <a:pt x="80" y="456"/>
                  </a:lnTo>
                  <a:lnTo>
                    <a:pt x="75" y="462"/>
                  </a:lnTo>
                  <a:lnTo>
                    <a:pt x="75" y="472"/>
                  </a:lnTo>
                  <a:lnTo>
                    <a:pt x="70" y="472"/>
                  </a:lnTo>
                  <a:lnTo>
                    <a:pt x="60" y="460"/>
                  </a:lnTo>
                  <a:lnTo>
                    <a:pt x="58" y="460"/>
                  </a:lnTo>
                  <a:lnTo>
                    <a:pt x="50" y="444"/>
                  </a:lnTo>
                  <a:lnTo>
                    <a:pt x="43" y="441"/>
                  </a:lnTo>
                  <a:lnTo>
                    <a:pt x="39" y="444"/>
                  </a:lnTo>
                  <a:lnTo>
                    <a:pt x="34" y="443"/>
                  </a:lnTo>
                  <a:lnTo>
                    <a:pt x="44" y="427"/>
                  </a:lnTo>
                  <a:lnTo>
                    <a:pt x="44" y="412"/>
                  </a:lnTo>
                  <a:lnTo>
                    <a:pt x="41" y="410"/>
                  </a:lnTo>
                  <a:lnTo>
                    <a:pt x="39" y="395"/>
                  </a:lnTo>
                  <a:lnTo>
                    <a:pt x="29" y="378"/>
                  </a:lnTo>
                  <a:lnTo>
                    <a:pt x="17" y="350"/>
                  </a:lnTo>
                  <a:lnTo>
                    <a:pt x="7" y="328"/>
                  </a:lnTo>
                  <a:lnTo>
                    <a:pt x="14" y="318"/>
                  </a:lnTo>
                  <a:lnTo>
                    <a:pt x="12" y="284"/>
                  </a:lnTo>
                  <a:lnTo>
                    <a:pt x="24" y="263"/>
                  </a:lnTo>
                  <a:lnTo>
                    <a:pt x="26" y="248"/>
                  </a:lnTo>
                  <a:lnTo>
                    <a:pt x="26" y="233"/>
                  </a:lnTo>
                  <a:lnTo>
                    <a:pt x="17" y="210"/>
                  </a:lnTo>
                  <a:lnTo>
                    <a:pt x="14" y="198"/>
                  </a:lnTo>
                  <a:lnTo>
                    <a:pt x="0" y="176"/>
                  </a:lnTo>
                  <a:lnTo>
                    <a:pt x="2" y="169"/>
                  </a:lnTo>
                  <a:lnTo>
                    <a:pt x="2" y="157"/>
                  </a:lnTo>
                  <a:lnTo>
                    <a:pt x="41" y="108"/>
                  </a:lnTo>
                  <a:lnTo>
                    <a:pt x="43" y="91"/>
                  </a:lnTo>
                  <a:lnTo>
                    <a:pt x="55" y="74"/>
                  </a:lnTo>
                  <a:lnTo>
                    <a:pt x="60" y="60"/>
                  </a:lnTo>
                  <a:lnTo>
                    <a:pt x="62" y="29"/>
                  </a:lnTo>
                  <a:lnTo>
                    <a:pt x="55" y="22"/>
                  </a:lnTo>
                  <a:lnTo>
                    <a:pt x="60" y="16"/>
                  </a:lnTo>
                  <a:lnTo>
                    <a:pt x="65" y="0"/>
                  </a:lnTo>
                  <a:lnTo>
                    <a:pt x="94" y="9"/>
                  </a:lnTo>
                  <a:lnTo>
                    <a:pt x="118" y="16"/>
                  </a:lnTo>
                  <a:lnTo>
                    <a:pt x="140" y="22"/>
                  </a:lnTo>
                  <a:lnTo>
                    <a:pt x="212" y="43"/>
                  </a:lnTo>
                  <a:lnTo>
                    <a:pt x="275" y="62"/>
                  </a:lnTo>
                  <a:lnTo>
                    <a:pt x="320" y="74"/>
                  </a:lnTo>
                  <a:lnTo>
                    <a:pt x="386" y="91"/>
                  </a:lnTo>
                  <a:lnTo>
                    <a:pt x="364" y="176"/>
                  </a:lnTo>
                  <a:lnTo>
                    <a:pt x="325" y="328"/>
                  </a:lnTo>
                  <a:lnTo>
                    <a:pt x="318" y="357"/>
                  </a:lnTo>
                  <a:lnTo>
                    <a:pt x="314" y="371"/>
                  </a:lnTo>
                  <a:lnTo>
                    <a:pt x="309" y="388"/>
                  </a:lnTo>
                  <a:lnTo>
                    <a:pt x="309" y="393"/>
                  </a:lnTo>
                  <a:lnTo>
                    <a:pt x="308" y="397"/>
                  </a:lnTo>
                  <a:lnTo>
                    <a:pt x="306" y="405"/>
                  </a:lnTo>
                  <a:lnTo>
                    <a:pt x="313" y="414"/>
                  </a:lnTo>
                  <a:lnTo>
                    <a:pt x="332" y="444"/>
                  </a:lnTo>
                  <a:lnTo>
                    <a:pt x="347" y="467"/>
                  </a:lnTo>
                  <a:lnTo>
                    <a:pt x="357" y="482"/>
                  </a:lnTo>
                  <a:lnTo>
                    <a:pt x="405" y="552"/>
                  </a:lnTo>
                  <a:lnTo>
                    <a:pt x="441" y="609"/>
                  </a:lnTo>
                  <a:lnTo>
                    <a:pt x="485" y="673"/>
                  </a:lnTo>
                  <a:lnTo>
                    <a:pt x="569" y="798"/>
                  </a:lnTo>
                  <a:lnTo>
                    <a:pt x="586" y="826"/>
                  </a:lnTo>
                  <a:lnTo>
                    <a:pt x="655" y="926"/>
                  </a:lnTo>
                  <a:lnTo>
                    <a:pt x="655" y="926"/>
                  </a:lnTo>
                  <a:lnTo>
                    <a:pt x="655" y="933"/>
                  </a:lnTo>
                  <a:lnTo>
                    <a:pt x="653" y="935"/>
                  </a:lnTo>
                  <a:lnTo>
                    <a:pt x="651" y="940"/>
                  </a:lnTo>
                  <a:lnTo>
                    <a:pt x="656" y="945"/>
                  </a:lnTo>
                  <a:lnTo>
                    <a:pt x="656" y="954"/>
                  </a:lnTo>
                  <a:lnTo>
                    <a:pt x="658" y="955"/>
                  </a:lnTo>
                  <a:lnTo>
                    <a:pt x="660" y="955"/>
                  </a:lnTo>
                  <a:lnTo>
                    <a:pt x="663" y="961"/>
                  </a:lnTo>
                  <a:lnTo>
                    <a:pt x="665" y="971"/>
                  </a:lnTo>
                  <a:lnTo>
                    <a:pt x="663" y="973"/>
                  </a:lnTo>
                  <a:lnTo>
                    <a:pt x="665" y="974"/>
                  </a:lnTo>
                  <a:lnTo>
                    <a:pt x="667" y="979"/>
                  </a:lnTo>
                  <a:lnTo>
                    <a:pt x="665" y="986"/>
                  </a:lnTo>
                  <a:lnTo>
                    <a:pt x="665" y="988"/>
                  </a:lnTo>
                  <a:lnTo>
                    <a:pt x="668" y="990"/>
                  </a:lnTo>
                  <a:lnTo>
                    <a:pt x="670" y="991"/>
                  </a:lnTo>
                  <a:lnTo>
                    <a:pt x="672" y="995"/>
                  </a:lnTo>
                  <a:lnTo>
                    <a:pt x="673" y="996"/>
                  </a:lnTo>
                  <a:lnTo>
                    <a:pt x="680" y="1002"/>
                  </a:lnTo>
                  <a:lnTo>
                    <a:pt x="682" y="1005"/>
                  </a:lnTo>
                  <a:lnTo>
                    <a:pt x="682" y="1007"/>
                  </a:lnTo>
                  <a:lnTo>
                    <a:pt x="682" y="1012"/>
                  </a:lnTo>
                  <a:lnTo>
                    <a:pt x="680" y="1012"/>
                  </a:lnTo>
                  <a:lnTo>
                    <a:pt x="672" y="1019"/>
                  </a:lnTo>
                  <a:lnTo>
                    <a:pt x="667" y="1020"/>
                  </a:lnTo>
                  <a:lnTo>
                    <a:pt x="663" y="1022"/>
                  </a:lnTo>
                  <a:lnTo>
                    <a:pt x="655" y="1025"/>
                  </a:lnTo>
                  <a:lnTo>
                    <a:pt x="653" y="1027"/>
                  </a:lnTo>
                  <a:lnTo>
                    <a:pt x="651" y="1032"/>
                  </a:lnTo>
                  <a:lnTo>
                    <a:pt x="643" y="1037"/>
                  </a:lnTo>
                  <a:lnTo>
                    <a:pt x="641" y="1039"/>
                  </a:lnTo>
                  <a:lnTo>
                    <a:pt x="643" y="1043"/>
                  </a:lnTo>
                  <a:lnTo>
                    <a:pt x="639" y="1049"/>
                  </a:lnTo>
                  <a:lnTo>
                    <a:pt x="641" y="1051"/>
                  </a:lnTo>
                  <a:lnTo>
                    <a:pt x="639" y="1053"/>
                  </a:lnTo>
                  <a:lnTo>
                    <a:pt x="639" y="1058"/>
                  </a:lnTo>
                  <a:lnTo>
                    <a:pt x="637" y="1061"/>
                  </a:lnTo>
                  <a:lnTo>
                    <a:pt x="639" y="1065"/>
                  </a:lnTo>
                  <a:lnTo>
                    <a:pt x="634" y="1068"/>
                  </a:lnTo>
                  <a:lnTo>
                    <a:pt x="636" y="1070"/>
                  </a:lnTo>
                  <a:lnTo>
                    <a:pt x="634" y="1073"/>
                  </a:lnTo>
                  <a:lnTo>
                    <a:pt x="632" y="1078"/>
                  </a:lnTo>
                  <a:lnTo>
                    <a:pt x="632" y="1080"/>
                  </a:lnTo>
                  <a:lnTo>
                    <a:pt x="627" y="1085"/>
                  </a:lnTo>
                  <a:lnTo>
                    <a:pt x="626" y="1087"/>
                  </a:lnTo>
                  <a:lnTo>
                    <a:pt x="622" y="1089"/>
                  </a:lnTo>
                  <a:lnTo>
                    <a:pt x="622" y="1092"/>
                  </a:lnTo>
                  <a:lnTo>
                    <a:pt x="620" y="1094"/>
                  </a:lnTo>
                  <a:lnTo>
                    <a:pt x="612" y="1092"/>
                  </a:lnTo>
                  <a:lnTo>
                    <a:pt x="614" y="1099"/>
                  </a:lnTo>
                  <a:lnTo>
                    <a:pt x="610" y="1104"/>
                  </a:lnTo>
                  <a:lnTo>
                    <a:pt x="614" y="1109"/>
                  </a:lnTo>
                  <a:lnTo>
                    <a:pt x="612" y="1111"/>
                  </a:lnTo>
                  <a:lnTo>
                    <a:pt x="612" y="1113"/>
                  </a:lnTo>
                  <a:lnTo>
                    <a:pt x="612" y="1119"/>
                  </a:lnTo>
                  <a:lnTo>
                    <a:pt x="608" y="1123"/>
                  </a:lnTo>
                  <a:lnTo>
                    <a:pt x="607" y="1126"/>
                  </a:lnTo>
                  <a:lnTo>
                    <a:pt x="610" y="1133"/>
                  </a:lnTo>
                  <a:lnTo>
                    <a:pt x="612" y="1133"/>
                  </a:lnTo>
                  <a:lnTo>
                    <a:pt x="612" y="1135"/>
                  </a:lnTo>
                  <a:lnTo>
                    <a:pt x="615" y="1135"/>
                  </a:lnTo>
                  <a:lnTo>
                    <a:pt x="619" y="1135"/>
                  </a:lnTo>
                  <a:lnTo>
                    <a:pt x="622" y="1137"/>
                  </a:lnTo>
                  <a:lnTo>
                    <a:pt x="626" y="1143"/>
                  </a:lnTo>
                  <a:lnTo>
                    <a:pt x="624" y="1147"/>
                  </a:lnTo>
                  <a:lnTo>
                    <a:pt x="624" y="1157"/>
                  </a:lnTo>
                  <a:lnTo>
                    <a:pt x="617" y="1161"/>
                  </a:lnTo>
                  <a:lnTo>
                    <a:pt x="617" y="1162"/>
                  </a:lnTo>
                  <a:lnTo>
                    <a:pt x="617" y="1164"/>
                  </a:lnTo>
                  <a:lnTo>
                    <a:pt x="615" y="1164"/>
                  </a:lnTo>
                  <a:lnTo>
                    <a:pt x="615" y="1164"/>
                  </a:lnTo>
                  <a:lnTo>
                    <a:pt x="614" y="1164"/>
                  </a:lnTo>
                  <a:lnTo>
                    <a:pt x="614" y="1166"/>
                  </a:lnTo>
                  <a:lnTo>
                    <a:pt x="612" y="1166"/>
                  </a:lnTo>
                  <a:lnTo>
                    <a:pt x="612" y="1167"/>
                  </a:lnTo>
                  <a:lnTo>
                    <a:pt x="608" y="1166"/>
                  </a:lnTo>
                  <a:lnTo>
                    <a:pt x="608" y="1167"/>
                  </a:lnTo>
                  <a:lnTo>
                    <a:pt x="602" y="1164"/>
                  </a:lnTo>
                  <a:lnTo>
                    <a:pt x="600" y="1164"/>
                  </a:lnTo>
                  <a:lnTo>
                    <a:pt x="598" y="1166"/>
                  </a:lnTo>
                  <a:lnTo>
                    <a:pt x="473" y="1152"/>
                  </a:lnTo>
                  <a:lnTo>
                    <a:pt x="383" y="1140"/>
                  </a:lnTo>
                  <a:lnTo>
                    <a:pt x="381" y="1119"/>
                  </a:lnTo>
                  <a:lnTo>
                    <a:pt x="385" y="1133"/>
                  </a:lnTo>
                  <a:lnTo>
                    <a:pt x="386" y="1125"/>
                  </a:lnTo>
                  <a:lnTo>
                    <a:pt x="381" y="1118"/>
                  </a:lnTo>
                  <a:lnTo>
                    <a:pt x="376" y="1123"/>
                  </a:lnTo>
                  <a:lnTo>
                    <a:pt x="376" y="1104"/>
                  </a:lnTo>
                  <a:lnTo>
                    <a:pt x="379" y="1101"/>
                  </a:lnTo>
                  <a:lnTo>
                    <a:pt x="379" y="1075"/>
                  </a:lnTo>
                  <a:lnTo>
                    <a:pt x="374" y="1061"/>
                  </a:lnTo>
                  <a:lnTo>
                    <a:pt x="362" y="1041"/>
                  </a:lnTo>
                  <a:lnTo>
                    <a:pt x="326" y="993"/>
                  </a:lnTo>
                  <a:lnTo>
                    <a:pt x="314" y="988"/>
                  </a:lnTo>
                  <a:lnTo>
                    <a:pt x="309" y="995"/>
                  </a:lnTo>
                  <a:lnTo>
                    <a:pt x="301" y="988"/>
                  </a:lnTo>
                  <a:lnTo>
                    <a:pt x="299" y="984"/>
                  </a:lnTo>
                  <a:lnTo>
                    <a:pt x="304" y="981"/>
                  </a:lnTo>
                  <a:lnTo>
                    <a:pt x="304" y="973"/>
                  </a:lnTo>
                  <a:lnTo>
                    <a:pt x="296" y="954"/>
                  </a:lnTo>
                  <a:lnTo>
                    <a:pt x="275" y="950"/>
                  </a:lnTo>
                  <a:lnTo>
                    <a:pt x="263" y="945"/>
                  </a:lnTo>
                  <a:lnTo>
                    <a:pt x="241" y="928"/>
                  </a:lnTo>
                  <a:lnTo>
                    <a:pt x="239" y="918"/>
                  </a:lnTo>
                  <a:lnTo>
                    <a:pt x="224" y="899"/>
                  </a:lnTo>
                  <a:lnTo>
                    <a:pt x="215" y="892"/>
                  </a:lnTo>
                  <a:lnTo>
                    <a:pt x="193" y="887"/>
                  </a:lnTo>
                  <a:lnTo>
                    <a:pt x="181" y="879"/>
                  </a:lnTo>
                  <a:lnTo>
                    <a:pt x="171" y="875"/>
                  </a:lnTo>
                  <a:lnTo>
                    <a:pt x="144" y="870"/>
                  </a:lnTo>
                  <a:lnTo>
                    <a:pt x="142" y="861"/>
                  </a:lnTo>
                  <a:lnTo>
                    <a:pt x="132" y="853"/>
                  </a:lnTo>
                  <a:lnTo>
                    <a:pt x="138" y="839"/>
                  </a:lnTo>
                  <a:lnTo>
                    <a:pt x="137" y="834"/>
                  </a:lnTo>
                  <a:lnTo>
                    <a:pt x="142" y="824"/>
                  </a:lnTo>
                  <a:lnTo>
                    <a:pt x="138" y="817"/>
                  </a:lnTo>
                  <a:lnTo>
                    <a:pt x="142" y="810"/>
                  </a:lnTo>
                  <a:lnTo>
                    <a:pt x="147" y="802"/>
                  </a:lnTo>
                  <a:lnTo>
                    <a:pt x="147" y="793"/>
                  </a:lnTo>
                  <a:lnTo>
                    <a:pt x="130" y="781"/>
                  </a:lnTo>
                  <a:lnTo>
                    <a:pt x="130" y="776"/>
                  </a:lnTo>
                  <a:lnTo>
                    <a:pt x="135" y="766"/>
                  </a:lnTo>
                  <a:lnTo>
                    <a:pt x="135" y="759"/>
                  </a:lnTo>
                  <a:lnTo>
                    <a:pt x="126" y="752"/>
                  </a:lnTo>
                  <a:lnTo>
                    <a:pt x="118" y="732"/>
                  </a:lnTo>
                  <a:lnTo>
                    <a:pt x="109" y="725"/>
                  </a:lnTo>
                  <a:lnTo>
                    <a:pt x="108" y="709"/>
                  </a:lnTo>
                  <a:lnTo>
                    <a:pt x="101" y="699"/>
                  </a:lnTo>
                  <a:lnTo>
                    <a:pt x="89" y="662"/>
                  </a:lnTo>
                  <a:lnTo>
                    <a:pt x="77" y="644"/>
                  </a:lnTo>
                  <a:lnTo>
                    <a:pt x="79" y="614"/>
                  </a:lnTo>
                  <a:lnTo>
                    <a:pt x="84" y="609"/>
                  </a:lnTo>
                  <a:lnTo>
                    <a:pt x="87" y="614"/>
                  </a:lnTo>
                  <a:lnTo>
                    <a:pt x="92" y="610"/>
                  </a:lnTo>
                  <a:lnTo>
                    <a:pt x="101" y="593"/>
                  </a:lnTo>
                  <a:lnTo>
                    <a:pt x="99" y="590"/>
                  </a:lnTo>
                  <a:lnTo>
                    <a:pt x="96" y="576"/>
                  </a:lnTo>
                  <a:lnTo>
                    <a:pt x="80" y="573"/>
                  </a:lnTo>
                  <a:lnTo>
                    <a:pt x="73" y="566"/>
                  </a:lnTo>
                  <a:lnTo>
                    <a:pt x="68" y="552"/>
                  </a:lnTo>
                  <a:lnTo>
                    <a:pt x="60" y="535"/>
                  </a:lnTo>
                  <a:lnTo>
                    <a:pt x="65" y="523"/>
                  </a:lnTo>
                  <a:lnTo>
                    <a:pt x="65" y="509"/>
                  </a:lnTo>
                  <a:lnTo>
                    <a:pt x="62" y="503"/>
                  </a:lnTo>
                  <a:lnTo>
                    <a:pt x="67" y="485"/>
                  </a:lnTo>
                  <a:lnTo>
                    <a:pt x="70" y="477"/>
                  </a:lnTo>
                  <a:lnTo>
                    <a:pt x="79" y="475"/>
                  </a:lnTo>
                  <a:lnTo>
                    <a:pt x="80" y="485"/>
                  </a:lnTo>
                  <a:lnTo>
                    <a:pt x="79" y="487"/>
                  </a:lnTo>
                  <a:lnTo>
                    <a:pt x="75" y="497"/>
                  </a:lnTo>
                  <a:lnTo>
                    <a:pt x="92" y="520"/>
                  </a:lnTo>
                  <a:lnTo>
                    <a:pt x="103" y="521"/>
                  </a:lnTo>
                  <a:lnTo>
                    <a:pt x="94" y="515"/>
                  </a:lnTo>
                  <a:lnTo>
                    <a:pt x="92" y="487"/>
                  </a:lnTo>
                  <a:lnTo>
                    <a:pt x="85" y="480"/>
                  </a:lnTo>
                  <a:lnTo>
                    <a:pt x="89" y="470"/>
                  </a:lnTo>
                  <a:lnTo>
                    <a:pt x="84" y="467"/>
                  </a:lnTo>
                  <a:lnTo>
                    <a:pt x="85" y="460"/>
                  </a:lnTo>
                  <a:lnTo>
                    <a:pt x="92" y="456"/>
                  </a:lnTo>
                  <a:lnTo>
                    <a:pt x="118" y="460"/>
                  </a:lnTo>
                  <a:lnTo>
                    <a:pt x="142" y="470"/>
                  </a:lnTo>
                  <a:lnTo>
                    <a:pt x="147" y="463"/>
                  </a:lnTo>
                  <a:lnTo>
                    <a:pt x="154" y="465"/>
                  </a:lnTo>
                  <a:lnTo>
                    <a:pt x="154" y="468"/>
                  </a:lnTo>
                  <a:lnTo>
                    <a:pt x="156" y="468"/>
                  </a:lnTo>
                  <a:lnTo>
                    <a:pt x="154" y="463"/>
                  </a:lnTo>
                  <a:lnTo>
                    <a:pt x="156" y="462"/>
                  </a:lnTo>
                  <a:lnTo>
                    <a:pt x="147" y="463"/>
                  </a:lnTo>
                  <a:lnTo>
                    <a:pt x="149" y="455"/>
                  </a:lnTo>
                  <a:close/>
                  <a:moveTo>
                    <a:pt x="185" y="921"/>
                  </a:moveTo>
                  <a:lnTo>
                    <a:pt x="200" y="932"/>
                  </a:lnTo>
                  <a:lnTo>
                    <a:pt x="208" y="930"/>
                  </a:lnTo>
                  <a:lnTo>
                    <a:pt x="212" y="933"/>
                  </a:lnTo>
                  <a:lnTo>
                    <a:pt x="210" y="937"/>
                  </a:lnTo>
                  <a:lnTo>
                    <a:pt x="195" y="937"/>
                  </a:lnTo>
                  <a:lnTo>
                    <a:pt x="183" y="933"/>
                  </a:lnTo>
                  <a:lnTo>
                    <a:pt x="179" y="928"/>
                  </a:lnTo>
                  <a:lnTo>
                    <a:pt x="183" y="926"/>
                  </a:lnTo>
                  <a:lnTo>
                    <a:pt x="178" y="923"/>
                  </a:lnTo>
                  <a:lnTo>
                    <a:pt x="185" y="921"/>
                  </a:lnTo>
                  <a:close/>
                  <a:moveTo>
                    <a:pt x="154" y="932"/>
                  </a:moveTo>
                  <a:lnTo>
                    <a:pt x="150" y="920"/>
                  </a:lnTo>
                  <a:lnTo>
                    <a:pt x="167" y="921"/>
                  </a:lnTo>
                  <a:lnTo>
                    <a:pt x="173" y="933"/>
                  </a:lnTo>
                  <a:lnTo>
                    <a:pt x="159" y="935"/>
                  </a:lnTo>
                  <a:lnTo>
                    <a:pt x="154" y="932"/>
                  </a:lnTo>
                  <a:close/>
                  <a:moveTo>
                    <a:pt x="279" y="1012"/>
                  </a:moveTo>
                  <a:lnTo>
                    <a:pt x="296" y="1024"/>
                  </a:lnTo>
                  <a:lnTo>
                    <a:pt x="301" y="1032"/>
                  </a:lnTo>
                  <a:lnTo>
                    <a:pt x="299" y="1036"/>
                  </a:lnTo>
                  <a:lnTo>
                    <a:pt x="285" y="1031"/>
                  </a:lnTo>
                  <a:lnTo>
                    <a:pt x="285" y="1020"/>
                  </a:lnTo>
                  <a:lnTo>
                    <a:pt x="280" y="1017"/>
                  </a:lnTo>
                  <a:lnTo>
                    <a:pt x="279" y="1012"/>
                  </a:lnTo>
                  <a:close/>
                  <a:moveTo>
                    <a:pt x="282" y="1085"/>
                  </a:moveTo>
                  <a:lnTo>
                    <a:pt x="275" y="1085"/>
                  </a:lnTo>
                  <a:lnTo>
                    <a:pt x="270" y="1075"/>
                  </a:lnTo>
                  <a:lnTo>
                    <a:pt x="265" y="1060"/>
                  </a:lnTo>
                  <a:lnTo>
                    <a:pt x="268" y="1058"/>
                  </a:lnTo>
                  <a:lnTo>
                    <a:pt x="270" y="1063"/>
                  </a:lnTo>
                  <a:lnTo>
                    <a:pt x="282" y="108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31" name="Freeform 30"/>
            <p:cNvSpPr>
              <a:spLocks/>
            </p:cNvSpPr>
            <p:nvPr/>
          </p:nvSpPr>
          <p:spPr bwMode="gray">
            <a:xfrm>
              <a:off x="6698147" y="3079846"/>
              <a:ext cx="573253" cy="656987"/>
            </a:xfrm>
            <a:custGeom>
              <a:avLst/>
              <a:gdLst/>
              <a:ahLst/>
              <a:cxnLst>
                <a:cxn ang="0">
                  <a:pos x="161" y="395"/>
                </a:cxn>
                <a:cxn ang="0">
                  <a:pos x="145" y="388"/>
                </a:cxn>
                <a:cxn ang="0">
                  <a:pos x="135" y="395"/>
                </a:cxn>
                <a:cxn ang="0">
                  <a:pos x="123" y="395"/>
                </a:cxn>
                <a:cxn ang="0">
                  <a:pos x="111" y="384"/>
                </a:cxn>
                <a:cxn ang="0">
                  <a:pos x="89" y="384"/>
                </a:cxn>
                <a:cxn ang="0">
                  <a:pos x="77" y="369"/>
                </a:cxn>
                <a:cxn ang="0">
                  <a:pos x="65" y="359"/>
                </a:cxn>
                <a:cxn ang="0">
                  <a:pos x="57" y="355"/>
                </a:cxn>
                <a:cxn ang="0">
                  <a:pos x="38" y="352"/>
                </a:cxn>
                <a:cxn ang="0">
                  <a:pos x="29" y="335"/>
                </a:cxn>
                <a:cxn ang="0">
                  <a:pos x="22" y="270"/>
                </a:cxn>
                <a:cxn ang="0">
                  <a:pos x="15" y="198"/>
                </a:cxn>
                <a:cxn ang="0">
                  <a:pos x="7" y="126"/>
                </a:cxn>
                <a:cxn ang="0">
                  <a:pos x="0" y="78"/>
                </a:cxn>
                <a:cxn ang="0">
                  <a:pos x="82" y="67"/>
                </a:cxn>
                <a:cxn ang="0">
                  <a:pos x="161" y="75"/>
                </a:cxn>
                <a:cxn ang="0">
                  <a:pos x="168" y="84"/>
                </a:cxn>
                <a:cxn ang="0">
                  <a:pos x="227" y="70"/>
                </a:cxn>
                <a:cxn ang="0">
                  <a:pos x="297" y="20"/>
                </a:cxn>
                <a:cxn ang="0">
                  <a:pos x="342" y="53"/>
                </a:cxn>
                <a:cxn ang="0">
                  <a:pos x="356" y="143"/>
                </a:cxn>
                <a:cxn ang="0">
                  <a:pos x="345" y="152"/>
                </a:cxn>
                <a:cxn ang="0">
                  <a:pos x="352" y="162"/>
                </a:cxn>
                <a:cxn ang="0">
                  <a:pos x="356" y="179"/>
                </a:cxn>
                <a:cxn ang="0">
                  <a:pos x="350" y="196"/>
                </a:cxn>
                <a:cxn ang="0">
                  <a:pos x="349" y="220"/>
                </a:cxn>
                <a:cxn ang="0">
                  <a:pos x="345" y="224"/>
                </a:cxn>
                <a:cxn ang="0">
                  <a:pos x="345" y="232"/>
                </a:cxn>
                <a:cxn ang="0">
                  <a:pos x="347" y="246"/>
                </a:cxn>
                <a:cxn ang="0">
                  <a:pos x="345" y="256"/>
                </a:cxn>
                <a:cxn ang="0">
                  <a:pos x="333" y="266"/>
                </a:cxn>
                <a:cxn ang="0">
                  <a:pos x="323" y="280"/>
                </a:cxn>
                <a:cxn ang="0">
                  <a:pos x="316" y="287"/>
                </a:cxn>
                <a:cxn ang="0">
                  <a:pos x="303" y="287"/>
                </a:cxn>
                <a:cxn ang="0">
                  <a:pos x="294" y="304"/>
                </a:cxn>
                <a:cxn ang="0">
                  <a:pos x="284" y="311"/>
                </a:cxn>
                <a:cxn ang="0">
                  <a:pos x="280" y="326"/>
                </a:cxn>
                <a:cxn ang="0">
                  <a:pos x="282" y="333"/>
                </a:cxn>
                <a:cxn ang="0">
                  <a:pos x="279" y="340"/>
                </a:cxn>
                <a:cxn ang="0">
                  <a:pos x="274" y="348"/>
                </a:cxn>
                <a:cxn ang="0">
                  <a:pos x="268" y="338"/>
                </a:cxn>
                <a:cxn ang="0">
                  <a:pos x="260" y="340"/>
                </a:cxn>
                <a:cxn ang="0">
                  <a:pos x="255" y="357"/>
                </a:cxn>
                <a:cxn ang="0">
                  <a:pos x="253" y="374"/>
                </a:cxn>
                <a:cxn ang="0">
                  <a:pos x="248" y="384"/>
                </a:cxn>
                <a:cxn ang="0">
                  <a:pos x="241" y="403"/>
                </a:cxn>
                <a:cxn ang="0">
                  <a:pos x="226" y="408"/>
                </a:cxn>
                <a:cxn ang="0">
                  <a:pos x="214" y="395"/>
                </a:cxn>
                <a:cxn ang="0">
                  <a:pos x="200" y="389"/>
                </a:cxn>
                <a:cxn ang="0">
                  <a:pos x="195" y="376"/>
                </a:cxn>
                <a:cxn ang="0">
                  <a:pos x="181" y="383"/>
                </a:cxn>
                <a:cxn ang="0">
                  <a:pos x="168" y="391"/>
                </a:cxn>
              </a:cxnLst>
              <a:rect l="0" t="0" r="r" b="b"/>
              <a:pathLst>
                <a:path w="356" h="408">
                  <a:moveTo>
                    <a:pt x="166" y="395"/>
                  </a:moveTo>
                  <a:lnTo>
                    <a:pt x="164" y="395"/>
                  </a:lnTo>
                  <a:lnTo>
                    <a:pt x="162" y="396"/>
                  </a:lnTo>
                  <a:lnTo>
                    <a:pt x="161" y="395"/>
                  </a:lnTo>
                  <a:lnTo>
                    <a:pt x="161" y="391"/>
                  </a:lnTo>
                  <a:lnTo>
                    <a:pt x="157" y="389"/>
                  </a:lnTo>
                  <a:lnTo>
                    <a:pt x="151" y="389"/>
                  </a:lnTo>
                  <a:lnTo>
                    <a:pt x="145" y="388"/>
                  </a:lnTo>
                  <a:lnTo>
                    <a:pt x="144" y="388"/>
                  </a:lnTo>
                  <a:lnTo>
                    <a:pt x="135" y="389"/>
                  </a:lnTo>
                  <a:lnTo>
                    <a:pt x="135" y="391"/>
                  </a:lnTo>
                  <a:lnTo>
                    <a:pt x="135" y="395"/>
                  </a:lnTo>
                  <a:lnTo>
                    <a:pt x="133" y="396"/>
                  </a:lnTo>
                  <a:lnTo>
                    <a:pt x="132" y="396"/>
                  </a:lnTo>
                  <a:lnTo>
                    <a:pt x="128" y="396"/>
                  </a:lnTo>
                  <a:lnTo>
                    <a:pt x="123" y="395"/>
                  </a:lnTo>
                  <a:lnTo>
                    <a:pt x="121" y="391"/>
                  </a:lnTo>
                  <a:lnTo>
                    <a:pt x="118" y="389"/>
                  </a:lnTo>
                  <a:lnTo>
                    <a:pt x="115" y="386"/>
                  </a:lnTo>
                  <a:lnTo>
                    <a:pt x="111" y="384"/>
                  </a:lnTo>
                  <a:lnTo>
                    <a:pt x="106" y="383"/>
                  </a:lnTo>
                  <a:lnTo>
                    <a:pt x="99" y="386"/>
                  </a:lnTo>
                  <a:lnTo>
                    <a:pt x="96" y="386"/>
                  </a:lnTo>
                  <a:lnTo>
                    <a:pt x="89" y="384"/>
                  </a:lnTo>
                  <a:lnTo>
                    <a:pt x="84" y="383"/>
                  </a:lnTo>
                  <a:lnTo>
                    <a:pt x="82" y="376"/>
                  </a:lnTo>
                  <a:lnTo>
                    <a:pt x="80" y="371"/>
                  </a:lnTo>
                  <a:lnTo>
                    <a:pt x="77" y="369"/>
                  </a:lnTo>
                  <a:lnTo>
                    <a:pt x="74" y="362"/>
                  </a:lnTo>
                  <a:lnTo>
                    <a:pt x="72" y="359"/>
                  </a:lnTo>
                  <a:lnTo>
                    <a:pt x="67" y="360"/>
                  </a:lnTo>
                  <a:lnTo>
                    <a:pt x="65" y="359"/>
                  </a:lnTo>
                  <a:lnTo>
                    <a:pt x="63" y="355"/>
                  </a:lnTo>
                  <a:lnTo>
                    <a:pt x="62" y="352"/>
                  </a:lnTo>
                  <a:lnTo>
                    <a:pt x="58" y="354"/>
                  </a:lnTo>
                  <a:lnTo>
                    <a:pt x="57" y="355"/>
                  </a:lnTo>
                  <a:lnTo>
                    <a:pt x="50" y="359"/>
                  </a:lnTo>
                  <a:lnTo>
                    <a:pt x="48" y="359"/>
                  </a:lnTo>
                  <a:lnTo>
                    <a:pt x="45" y="357"/>
                  </a:lnTo>
                  <a:lnTo>
                    <a:pt x="38" y="352"/>
                  </a:lnTo>
                  <a:lnTo>
                    <a:pt x="34" y="357"/>
                  </a:lnTo>
                  <a:lnTo>
                    <a:pt x="33" y="357"/>
                  </a:lnTo>
                  <a:lnTo>
                    <a:pt x="29" y="335"/>
                  </a:lnTo>
                  <a:lnTo>
                    <a:pt x="29" y="335"/>
                  </a:lnTo>
                  <a:lnTo>
                    <a:pt x="27" y="313"/>
                  </a:lnTo>
                  <a:lnTo>
                    <a:pt x="26" y="307"/>
                  </a:lnTo>
                  <a:lnTo>
                    <a:pt x="24" y="289"/>
                  </a:lnTo>
                  <a:lnTo>
                    <a:pt x="22" y="270"/>
                  </a:lnTo>
                  <a:lnTo>
                    <a:pt x="21" y="260"/>
                  </a:lnTo>
                  <a:lnTo>
                    <a:pt x="17" y="225"/>
                  </a:lnTo>
                  <a:lnTo>
                    <a:pt x="17" y="222"/>
                  </a:lnTo>
                  <a:lnTo>
                    <a:pt x="15" y="198"/>
                  </a:lnTo>
                  <a:lnTo>
                    <a:pt x="14" y="183"/>
                  </a:lnTo>
                  <a:lnTo>
                    <a:pt x="10" y="160"/>
                  </a:lnTo>
                  <a:lnTo>
                    <a:pt x="10" y="154"/>
                  </a:lnTo>
                  <a:lnTo>
                    <a:pt x="7" y="126"/>
                  </a:lnTo>
                  <a:lnTo>
                    <a:pt x="5" y="123"/>
                  </a:lnTo>
                  <a:lnTo>
                    <a:pt x="4" y="108"/>
                  </a:lnTo>
                  <a:lnTo>
                    <a:pt x="4" y="96"/>
                  </a:lnTo>
                  <a:lnTo>
                    <a:pt x="0" y="78"/>
                  </a:lnTo>
                  <a:lnTo>
                    <a:pt x="33" y="73"/>
                  </a:lnTo>
                  <a:lnTo>
                    <a:pt x="34" y="73"/>
                  </a:lnTo>
                  <a:lnTo>
                    <a:pt x="74" y="68"/>
                  </a:lnTo>
                  <a:lnTo>
                    <a:pt x="82" y="67"/>
                  </a:lnTo>
                  <a:lnTo>
                    <a:pt x="104" y="63"/>
                  </a:lnTo>
                  <a:lnTo>
                    <a:pt x="132" y="70"/>
                  </a:lnTo>
                  <a:lnTo>
                    <a:pt x="144" y="77"/>
                  </a:lnTo>
                  <a:lnTo>
                    <a:pt x="161" y="75"/>
                  </a:lnTo>
                  <a:lnTo>
                    <a:pt x="162" y="78"/>
                  </a:lnTo>
                  <a:lnTo>
                    <a:pt x="140" y="87"/>
                  </a:lnTo>
                  <a:lnTo>
                    <a:pt x="154" y="89"/>
                  </a:lnTo>
                  <a:lnTo>
                    <a:pt x="168" y="84"/>
                  </a:lnTo>
                  <a:lnTo>
                    <a:pt x="183" y="89"/>
                  </a:lnTo>
                  <a:lnTo>
                    <a:pt x="198" y="82"/>
                  </a:lnTo>
                  <a:lnTo>
                    <a:pt x="222" y="68"/>
                  </a:lnTo>
                  <a:lnTo>
                    <a:pt x="227" y="70"/>
                  </a:lnTo>
                  <a:lnTo>
                    <a:pt x="245" y="68"/>
                  </a:lnTo>
                  <a:lnTo>
                    <a:pt x="263" y="49"/>
                  </a:lnTo>
                  <a:lnTo>
                    <a:pt x="270" y="39"/>
                  </a:lnTo>
                  <a:lnTo>
                    <a:pt x="297" y="20"/>
                  </a:lnTo>
                  <a:lnTo>
                    <a:pt x="333" y="0"/>
                  </a:lnTo>
                  <a:lnTo>
                    <a:pt x="335" y="15"/>
                  </a:lnTo>
                  <a:lnTo>
                    <a:pt x="340" y="53"/>
                  </a:lnTo>
                  <a:lnTo>
                    <a:pt x="342" y="53"/>
                  </a:lnTo>
                  <a:lnTo>
                    <a:pt x="347" y="92"/>
                  </a:lnTo>
                  <a:lnTo>
                    <a:pt x="352" y="116"/>
                  </a:lnTo>
                  <a:lnTo>
                    <a:pt x="352" y="121"/>
                  </a:lnTo>
                  <a:lnTo>
                    <a:pt x="356" y="143"/>
                  </a:lnTo>
                  <a:lnTo>
                    <a:pt x="352" y="147"/>
                  </a:lnTo>
                  <a:lnTo>
                    <a:pt x="349" y="147"/>
                  </a:lnTo>
                  <a:lnTo>
                    <a:pt x="347" y="149"/>
                  </a:lnTo>
                  <a:lnTo>
                    <a:pt x="345" y="152"/>
                  </a:lnTo>
                  <a:lnTo>
                    <a:pt x="345" y="154"/>
                  </a:lnTo>
                  <a:lnTo>
                    <a:pt x="349" y="155"/>
                  </a:lnTo>
                  <a:lnTo>
                    <a:pt x="350" y="159"/>
                  </a:lnTo>
                  <a:lnTo>
                    <a:pt x="352" y="162"/>
                  </a:lnTo>
                  <a:lnTo>
                    <a:pt x="352" y="171"/>
                  </a:lnTo>
                  <a:lnTo>
                    <a:pt x="352" y="172"/>
                  </a:lnTo>
                  <a:lnTo>
                    <a:pt x="354" y="172"/>
                  </a:lnTo>
                  <a:lnTo>
                    <a:pt x="356" y="179"/>
                  </a:lnTo>
                  <a:lnTo>
                    <a:pt x="356" y="183"/>
                  </a:lnTo>
                  <a:lnTo>
                    <a:pt x="352" y="188"/>
                  </a:lnTo>
                  <a:lnTo>
                    <a:pt x="350" y="193"/>
                  </a:lnTo>
                  <a:lnTo>
                    <a:pt x="350" y="196"/>
                  </a:lnTo>
                  <a:lnTo>
                    <a:pt x="350" y="198"/>
                  </a:lnTo>
                  <a:lnTo>
                    <a:pt x="349" y="210"/>
                  </a:lnTo>
                  <a:lnTo>
                    <a:pt x="350" y="217"/>
                  </a:lnTo>
                  <a:lnTo>
                    <a:pt x="349" y="220"/>
                  </a:lnTo>
                  <a:lnTo>
                    <a:pt x="349" y="224"/>
                  </a:lnTo>
                  <a:lnTo>
                    <a:pt x="349" y="224"/>
                  </a:lnTo>
                  <a:lnTo>
                    <a:pt x="347" y="224"/>
                  </a:lnTo>
                  <a:lnTo>
                    <a:pt x="345" y="224"/>
                  </a:lnTo>
                  <a:lnTo>
                    <a:pt x="345" y="225"/>
                  </a:lnTo>
                  <a:lnTo>
                    <a:pt x="347" y="229"/>
                  </a:lnTo>
                  <a:lnTo>
                    <a:pt x="347" y="231"/>
                  </a:lnTo>
                  <a:lnTo>
                    <a:pt x="345" y="232"/>
                  </a:lnTo>
                  <a:lnTo>
                    <a:pt x="347" y="236"/>
                  </a:lnTo>
                  <a:lnTo>
                    <a:pt x="344" y="243"/>
                  </a:lnTo>
                  <a:lnTo>
                    <a:pt x="345" y="244"/>
                  </a:lnTo>
                  <a:lnTo>
                    <a:pt x="347" y="246"/>
                  </a:lnTo>
                  <a:lnTo>
                    <a:pt x="347" y="248"/>
                  </a:lnTo>
                  <a:lnTo>
                    <a:pt x="345" y="251"/>
                  </a:lnTo>
                  <a:lnTo>
                    <a:pt x="345" y="253"/>
                  </a:lnTo>
                  <a:lnTo>
                    <a:pt x="345" y="256"/>
                  </a:lnTo>
                  <a:lnTo>
                    <a:pt x="342" y="258"/>
                  </a:lnTo>
                  <a:lnTo>
                    <a:pt x="340" y="260"/>
                  </a:lnTo>
                  <a:lnTo>
                    <a:pt x="337" y="263"/>
                  </a:lnTo>
                  <a:lnTo>
                    <a:pt x="333" y="266"/>
                  </a:lnTo>
                  <a:lnTo>
                    <a:pt x="333" y="268"/>
                  </a:lnTo>
                  <a:lnTo>
                    <a:pt x="330" y="273"/>
                  </a:lnTo>
                  <a:lnTo>
                    <a:pt x="328" y="277"/>
                  </a:lnTo>
                  <a:lnTo>
                    <a:pt x="323" y="280"/>
                  </a:lnTo>
                  <a:lnTo>
                    <a:pt x="323" y="284"/>
                  </a:lnTo>
                  <a:lnTo>
                    <a:pt x="320" y="284"/>
                  </a:lnTo>
                  <a:lnTo>
                    <a:pt x="320" y="287"/>
                  </a:lnTo>
                  <a:lnTo>
                    <a:pt x="316" y="287"/>
                  </a:lnTo>
                  <a:lnTo>
                    <a:pt x="313" y="292"/>
                  </a:lnTo>
                  <a:lnTo>
                    <a:pt x="309" y="292"/>
                  </a:lnTo>
                  <a:lnTo>
                    <a:pt x="304" y="287"/>
                  </a:lnTo>
                  <a:lnTo>
                    <a:pt x="303" y="287"/>
                  </a:lnTo>
                  <a:lnTo>
                    <a:pt x="301" y="287"/>
                  </a:lnTo>
                  <a:lnTo>
                    <a:pt x="296" y="294"/>
                  </a:lnTo>
                  <a:lnTo>
                    <a:pt x="294" y="295"/>
                  </a:lnTo>
                  <a:lnTo>
                    <a:pt x="294" y="304"/>
                  </a:lnTo>
                  <a:lnTo>
                    <a:pt x="287" y="304"/>
                  </a:lnTo>
                  <a:lnTo>
                    <a:pt x="286" y="306"/>
                  </a:lnTo>
                  <a:lnTo>
                    <a:pt x="286" y="309"/>
                  </a:lnTo>
                  <a:lnTo>
                    <a:pt x="284" y="311"/>
                  </a:lnTo>
                  <a:lnTo>
                    <a:pt x="280" y="316"/>
                  </a:lnTo>
                  <a:lnTo>
                    <a:pt x="282" y="321"/>
                  </a:lnTo>
                  <a:lnTo>
                    <a:pt x="282" y="325"/>
                  </a:lnTo>
                  <a:lnTo>
                    <a:pt x="280" y="326"/>
                  </a:lnTo>
                  <a:lnTo>
                    <a:pt x="277" y="326"/>
                  </a:lnTo>
                  <a:lnTo>
                    <a:pt x="277" y="328"/>
                  </a:lnTo>
                  <a:lnTo>
                    <a:pt x="279" y="330"/>
                  </a:lnTo>
                  <a:lnTo>
                    <a:pt x="282" y="333"/>
                  </a:lnTo>
                  <a:lnTo>
                    <a:pt x="282" y="338"/>
                  </a:lnTo>
                  <a:lnTo>
                    <a:pt x="284" y="342"/>
                  </a:lnTo>
                  <a:lnTo>
                    <a:pt x="282" y="343"/>
                  </a:lnTo>
                  <a:lnTo>
                    <a:pt x="279" y="340"/>
                  </a:lnTo>
                  <a:lnTo>
                    <a:pt x="279" y="342"/>
                  </a:lnTo>
                  <a:lnTo>
                    <a:pt x="277" y="348"/>
                  </a:lnTo>
                  <a:lnTo>
                    <a:pt x="275" y="350"/>
                  </a:lnTo>
                  <a:lnTo>
                    <a:pt x="274" y="348"/>
                  </a:lnTo>
                  <a:lnTo>
                    <a:pt x="272" y="348"/>
                  </a:lnTo>
                  <a:lnTo>
                    <a:pt x="274" y="343"/>
                  </a:lnTo>
                  <a:lnTo>
                    <a:pt x="270" y="338"/>
                  </a:lnTo>
                  <a:lnTo>
                    <a:pt x="268" y="338"/>
                  </a:lnTo>
                  <a:lnTo>
                    <a:pt x="267" y="338"/>
                  </a:lnTo>
                  <a:lnTo>
                    <a:pt x="263" y="335"/>
                  </a:lnTo>
                  <a:lnTo>
                    <a:pt x="260" y="337"/>
                  </a:lnTo>
                  <a:lnTo>
                    <a:pt x="260" y="340"/>
                  </a:lnTo>
                  <a:lnTo>
                    <a:pt x="258" y="340"/>
                  </a:lnTo>
                  <a:lnTo>
                    <a:pt x="256" y="343"/>
                  </a:lnTo>
                  <a:lnTo>
                    <a:pt x="255" y="350"/>
                  </a:lnTo>
                  <a:lnTo>
                    <a:pt x="255" y="357"/>
                  </a:lnTo>
                  <a:lnTo>
                    <a:pt x="251" y="360"/>
                  </a:lnTo>
                  <a:lnTo>
                    <a:pt x="250" y="364"/>
                  </a:lnTo>
                  <a:lnTo>
                    <a:pt x="253" y="371"/>
                  </a:lnTo>
                  <a:lnTo>
                    <a:pt x="253" y="374"/>
                  </a:lnTo>
                  <a:lnTo>
                    <a:pt x="255" y="379"/>
                  </a:lnTo>
                  <a:lnTo>
                    <a:pt x="255" y="383"/>
                  </a:lnTo>
                  <a:lnTo>
                    <a:pt x="253" y="384"/>
                  </a:lnTo>
                  <a:lnTo>
                    <a:pt x="248" y="384"/>
                  </a:lnTo>
                  <a:lnTo>
                    <a:pt x="246" y="386"/>
                  </a:lnTo>
                  <a:lnTo>
                    <a:pt x="246" y="398"/>
                  </a:lnTo>
                  <a:lnTo>
                    <a:pt x="246" y="401"/>
                  </a:lnTo>
                  <a:lnTo>
                    <a:pt x="241" y="403"/>
                  </a:lnTo>
                  <a:lnTo>
                    <a:pt x="239" y="403"/>
                  </a:lnTo>
                  <a:lnTo>
                    <a:pt x="233" y="407"/>
                  </a:lnTo>
                  <a:lnTo>
                    <a:pt x="229" y="408"/>
                  </a:lnTo>
                  <a:lnTo>
                    <a:pt x="226" y="408"/>
                  </a:lnTo>
                  <a:lnTo>
                    <a:pt x="226" y="407"/>
                  </a:lnTo>
                  <a:lnTo>
                    <a:pt x="222" y="401"/>
                  </a:lnTo>
                  <a:lnTo>
                    <a:pt x="217" y="398"/>
                  </a:lnTo>
                  <a:lnTo>
                    <a:pt x="214" y="395"/>
                  </a:lnTo>
                  <a:lnTo>
                    <a:pt x="210" y="395"/>
                  </a:lnTo>
                  <a:lnTo>
                    <a:pt x="205" y="395"/>
                  </a:lnTo>
                  <a:lnTo>
                    <a:pt x="203" y="393"/>
                  </a:lnTo>
                  <a:lnTo>
                    <a:pt x="200" y="389"/>
                  </a:lnTo>
                  <a:lnTo>
                    <a:pt x="198" y="384"/>
                  </a:lnTo>
                  <a:lnTo>
                    <a:pt x="197" y="381"/>
                  </a:lnTo>
                  <a:lnTo>
                    <a:pt x="197" y="378"/>
                  </a:lnTo>
                  <a:lnTo>
                    <a:pt x="195" y="376"/>
                  </a:lnTo>
                  <a:lnTo>
                    <a:pt x="192" y="376"/>
                  </a:lnTo>
                  <a:lnTo>
                    <a:pt x="188" y="379"/>
                  </a:lnTo>
                  <a:lnTo>
                    <a:pt x="185" y="379"/>
                  </a:lnTo>
                  <a:lnTo>
                    <a:pt x="181" y="383"/>
                  </a:lnTo>
                  <a:lnTo>
                    <a:pt x="178" y="386"/>
                  </a:lnTo>
                  <a:lnTo>
                    <a:pt x="176" y="391"/>
                  </a:lnTo>
                  <a:lnTo>
                    <a:pt x="173" y="393"/>
                  </a:lnTo>
                  <a:lnTo>
                    <a:pt x="168" y="391"/>
                  </a:lnTo>
                  <a:lnTo>
                    <a:pt x="166" y="395"/>
                  </a:lnTo>
                  <a:close/>
                </a:path>
              </a:pathLst>
            </a:custGeom>
            <a:grpFill/>
            <a:ln w="28575">
              <a:solidFill>
                <a:sysClr val="window" lastClr="FFFFFF"/>
              </a:solidFill>
              <a:round/>
              <a:headEnd/>
              <a:tailEnd/>
            </a:ln>
          </p:spPr>
          <p:txBody>
            <a:bodyPr vert="horz" wrap="square" lIns="44450" tIns="44450" rIns="44450" bIns="44450" numCol="1" anchor="t" anchorCtr="0" compatLnSpc="1">
              <a:prstTxWarp prst="textNoShape">
                <a:avLst/>
              </a:prstTxWarp>
            </a:bodyPr>
            <a:lstStyle/>
            <a:p>
              <a:pPr>
                <a:defRPr/>
              </a:pPr>
              <a:endParaRPr lang="en-US" kern="0" dirty="0">
                <a:solidFill>
                  <a:srgbClr val="53565A"/>
                </a:solidFill>
                <a:latin typeface="Calibri" panose="020F0502020204030204"/>
              </a:endParaRPr>
            </a:p>
          </p:txBody>
        </p:sp>
        <p:sp>
          <p:nvSpPr>
            <p:cNvPr id="32" name="Freeform 31"/>
            <p:cNvSpPr>
              <a:spLocks/>
            </p:cNvSpPr>
            <p:nvPr/>
          </p:nvSpPr>
          <p:spPr bwMode="gray">
            <a:xfrm>
              <a:off x="5852759" y="3110443"/>
              <a:ext cx="545879" cy="964547"/>
            </a:xfrm>
            <a:custGeom>
              <a:avLst/>
              <a:gdLst/>
              <a:ahLst/>
              <a:cxnLst>
                <a:cxn ang="0">
                  <a:pos x="270" y="552"/>
                </a:cxn>
                <a:cxn ang="0">
                  <a:pos x="274" y="586"/>
                </a:cxn>
                <a:cxn ang="0">
                  <a:pos x="250" y="581"/>
                </a:cxn>
                <a:cxn ang="0">
                  <a:pos x="219" y="586"/>
                </a:cxn>
                <a:cxn ang="0">
                  <a:pos x="212" y="599"/>
                </a:cxn>
                <a:cxn ang="0">
                  <a:pos x="202" y="593"/>
                </a:cxn>
                <a:cxn ang="0">
                  <a:pos x="197" y="589"/>
                </a:cxn>
                <a:cxn ang="0">
                  <a:pos x="183" y="570"/>
                </a:cxn>
                <a:cxn ang="0">
                  <a:pos x="188" y="552"/>
                </a:cxn>
                <a:cxn ang="0">
                  <a:pos x="180" y="526"/>
                </a:cxn>
                <a:cxn ang="0">
                  <a:pos x="151" y="505"/>
                </a:cxn>
                <a:cxn ang="0">
                  <a:pos x="142" y="499"/>
                </a:cxn>
                <a:cxn ang="0">
                  <a:pos x="115" y="483"/>
                </a:cxn>
                <a:cxn ang="0">
                  <a:pos x="106" y="456"/>
                </a:cxn>
                <a:cxn ang="0">
                  <a:pos x="118" y="425"/>
                </a:cxn>
                <a:cxn ang="0">
                  <a:pos x="123" y="406"/>
                </a:cxn>
                <a:cxn ang="0">
                  <a:pos x="93" y="394"/>
                </a:cxn>
                <a:cxn ang="0">
                  <a:pos x="72" y="384"/>
                </a:cxn>
                <a:cxn ang="0">
                  <a:pos x="65" y="360"/>
                </a:cxn>
                <a:cxn ang="0">
                  <a:pos x="33" y="333"/>
                </a:cxn>
                <a:cxn ang="0">
                  <a:pos x="7" y="300"/>
                </a:cxn>
                <a:cxn ang="0">
                  <a:pos x="0" y="280"/>
                </a:cxn>
                <a:cxn ang="0">
                  <a:pos x="7" y="244"/>
                </a:cxn>
                <a:cxn ang="0">
                  <a:pos x="6" y="227"/>
                </a:cxn>
                <a:cxn ang="0">
                  <a:pos x="28" y="212"/>
                </a:cxn>
                <a:cxn ang="0">
                  <a:pos x="40" y="183"/>
                </a:cxn>
                <a:cxn ang="0">
                  <a:pos x="28" y="152"/>
                </a:cxn>
                <a:cxn ang="0">
                  <a:pos x="38" y="131"/>
                </a:cxn>
                <a:cxn ang="0">
                  <a:pos x="70" y="118"/>
                </a:cxn>
                <a:cxn ang="0">
                  <a:pos x="86" y="104"/>
                </a:cxn>
                <a:cxn ang="0">
                  <a:pos x="100" y="66"/>
                </a:cxn>
                <a:cxn ang="0">
                  <a:pos x="91" y="48"/>
                </a:cxn>
                <a:cxn ang="0">
                  <a:pos x="74" y="27"/>
                </a:cxn>
                <a:cxn ang="0">
                  <a:pos x="57" y="13"/>
                </a:cxn>
                <a:cxn ang="0">
                  <a:pos x="190" y="6"/>
                </a:cxn>
                <a:cxn ang="0">
                  <a:pos x="279" y="18"/>
                </a:cxn>
                <a:cxn ang="0">
                  <a:pos x="313" y="124"/>
                </a:cxn>
                <a:cxn ang="0">
                  <a:pos x="323" y="247"/>
                </a:cxn>
                <a:cxn ang="0">
                  <a:pos x="323" y="340"/>
                </a:cxn>
                <a:cxn ang="0">
                  <a:pos x="327" y="352"/>
                </a:cxn>
                <a:cxn ang="0">
                  <a:pos x="325" y="362"/>
                </a:cxn>
                <a:cxn ang="0">
                  <a:pos x="334" y="374"/>
                </a:cxn>
                <a:cxn ang="0">
                  <a:pos x="339" y="394"/>
                </a:cxn>
                <a:cxn ang="0">
                  <a:pos x="330" y="412"/>
                </a:cxn>
                <a:cxn ang="0">
                  <a:pos x="329" y="425"/>
                </a:cxn>
                <a:cxn ang="0">
                  <a:pos x="323" y="434"/>
                </a:cxn>
                <a:cxn ang="0">
                  <a:pos x="313" y="447"/>
                </a:cxn>
                <a:cxn ang="0">
                  <a:pos x="305" y="458"/>
                </a:cxn>
                <a:cxn ang="0">
                  <a:pos x="306" y="470"/>
                </a:cxn>
                <a:cxn ang="0">
                  <a:pos x="301" y="478"/>
                </a:cxn>
                <a:cxn ang="0">
                  <a:pos x="303" y="490"/>
                </a:cxn>
                <a:cxn ang="0">
                  <a:pos x="303" y="495"/>
                </a:cxn>
                <a:cxn ang="0">
                  <a:pos x="300" y="502"/>
                </a:cxn>
                <a:cxn ang="0">
                  <a:pos x="294" y="524"/>
                </a:cxn>
              </a:cxnLst>
              <a:rect l="0" t="0" r="r" b="b"/>
              <a:pathLst>
                <a:path w="339" h="599">
                  <a:moveTo>
                    <a:pt x="303" y="536"/>
                  </a:moveTo>
                  <a:lnTo>
                    <a:pt x="303" y="540"/>
                  </a:lnTo>
                  <a:lnTo>
                    <a:pt x="284" y="545"/>
                  </a:lnTo>
                  <a:lnTo>
                    <a:pt x="281" y="550"/>
                  </a:lnTo>
                  <a:lnTo>
                    <a:pt x="276" y="548"/>
                  </a:lnTo>
                  <a:lnTo>
                    <a:pt x="270" y="552"/>
                  </a:lnTo>
                  <a:lnTo>
                    <a:pt x="269" y="562"/>
                  </a:lnTo>
                  <a:lnTo>
                    <a:pt x="269" y="567"/>
                  </a:lnTo>
                  <a:lnTo>
                    <a:pt x="274" y="572"/>
                  </a:lnTo>
                  <a:lnTo>
                    <a:pt x="277" y="577"/>
                  </a:lnTo>
                  <a:lnTo>
                    <a:pt x="276" y="584"/>
                  </a:lnTo>
                  <a:lnTo>
                    <a:pt x="274" y="586"/>
                  </a:lnTo>
                  <a:lnTo>
                    <a:pt x="272" y="588"/>
                  </a:lnTo>
                  <a:lnTo>
                    <a:pt x="270" y="588"/>
                  </a:lnTo>
                  <a:lnTo>
                    <a:pt x="265" y="588"/>
                  </a:lnTo>
                  <a:lnTo>
                    <a:pt x="262" y="584"/>
                  </a:lnTo>
                  <a:lnTo>
                    <a:pt x="255" y="581"/>
                  </a:lnTo>
                  <a:lnTo>
                    <a:pt x="250" y="581"/>
                  </a:lnTo>
                  <a:lnTo>
                    <a:pt x="250" y="579"/>
                  </a:lnTo>
                  <a:lnTo>
                    <a:pt x="240" y="576"/>
                  </a:lnTo>
                  <a:lnTo>
                    <a:pt x="233" y="574"/>
                  </a:lnTo>
                  <a:lnTo>
                    <a:pt x="228" y="574"/>
                  </a:lnTo>
                  <a:lnTo>
                    <a:pt x="223" y="577"/>
                  </a:lnTo>
                  <a:lnTo>
                    <a:pt x="219" y="586"/>
                  </a:lnTo>
                  <a:lnTo>
                    <a:pt x="216" y="589"/>
                  </a:lnTo>
                  <a:lnTo>
                    <a:pt x="214" y="591"/>
                  </a:lnTo>
                  <a:lnTo>
                    <a:pt x="214" y="596"/>
                  </a:lnTo>
                  <a:lnTo>
                    <a:pt x="217" y="599"/>
                  </a:lnTo>
                  <a:lnTo>
                    <a:pt x="219" y="599"/>
                  </a:lnTo>
                  <a:lnTo>
                    <a:pt x="212" y="599"/>
                  </a:lnTo>
                  <a:lnTo>
                    <a:pt x="211" y="596"/>
                  </a:lnTo>
                  <a:lnTo>
                    <a:pt x="209" y="594"/>
                  </a:lnTo>
                  <a:lnTo>
                    <a:pt x="206" y="589"/>
                  </a:lnTo>
                  <a:lnTo>
                    <a:pt x="204" y="589"/>
                  </a:lnTo>
                  <a:lnTo>
                    <a:pt x="204" y="591"/>
                  </a:lnTo>
                  <a:lnTo>
                    <a:pt x="202" y="593"/>
                  </a:lnTo>
                  <a:lnTo>
                    <a:pt x="207" y="596"/>
                  </a:lnTo>
                  <a:lnTo>
                    <a:pt x="207" y="598"/>
                  </a:lnTo>
                  <a:lnTo>
                    <a:pt x="206" y="599"/>
                  </a:lnTo>
                  <a:lnTo>
                    <a:pt x="204" y="598"/>
                  </a:lnTo>
                  <a:lnTo>
                    <a:pt x="197" y="594"/>
                  </a:lnTo>
                  <a:lnTo>
                    <a:pt x="197" y="589"/>
                  </a:lnTo>
                  <a:lnTo>
                    <a:pt x="192" y="586"/>
                  </a:lnTo>
                  <a:lnTo>
                    <a:pt x="190" y="582"/>
                  </a:lnTo>
                  <a:lnTo>
                    <a:pt x="188" y="576"/>
                  </a:lnTo>
                  <a:lnTo>
                    <a:pt x="188" y="574"/>
                  </a:lnTo>
                  <a:lnTo>
                    <a:pt x="187" y="572"/>
                  </a:lnTo>
                  <a:lnTo>
                    <a:pt x="183" y="570"/>
                  </a:lnTo>
                  <a:lnTo>
                    <a:pt x="183" y="567"/>
                  </a:lnTo>
                  <a:lnTo>
                    <a:pt x="185" y="565"/>
                  </a:lnTo>
                  <a:lnTo>
                    <a:pt x="187" y="564"/>
                  </a:lnTo>
                  <a:lnTo>
                    <a:pt x="190" y="562"/>
                  </a:lnTo>
                  <a:lnTo>
                    <a:pt x="190" y="555"/>
                  </a:lnTo>
                  <a:lnTo>
                    <a:pt x="188" y="552"/>
                  </a:lnTo>
                  <a:lnTo>
                    <a:pt x="183" y="548"/>
                  </a:lnTo>
                  <a:lnTo>
                    <a:pt x="180" y="540"/>
                  </a:lnTo>
                  <a:lnTo>
                    <a:pt x="182" y="535"/>
                  </a:lnTo>
                  <a:lnTo>
                    <a:pt x="180" y="531"/>
                  </a:lnTo>
                  <a:lnTo>
                    <a:pt x="182" y="528"/>
                  </a:lnTo>
                  <a:lnTo>
                    <a:pt x="180" y="526"/>
                  </a:lnTo>
                  <a:lnTo>
                    <a:pt x="175" y="524"/>
                  </a:lnTo>
                  <a:lnTo>
                    <a:pt x="168" y="521"/>
                  </a:lnTo>
                  <a:lnTo>
                    <a:pt x="166" y="517"/>
                  </a:lnTo>
                  <a:lnTo>
                    <a:pt x="164" y="516"/>
                  </a:lnTo>
                  <a:lnTo>
                    <a:pt x="161" y="511"/>
                  </a:lnTo>
                  <a:lnTo>
                    <a:pt x="151" y="505"/>
                  </a:lnTo>
                  <a:lnTo>
                    <a:pt x="151" y="505"/>
                  </a:lnTo>
                  <a:lnTo>
                    <a:pt x="149" y="507"/>
                  </a:lnTo>
                  <a:lnTo>
                    <a:pt x="147" y="509"/>
                  </a:lnTo>
                  <a:lnTo>
                    <a:pt x="144" y="509"/>
                  </a:lnTo>
                  <a:lnTo>
                    <a:pt x="141" y="505"/>
                  </a:lnTo>
                  <a:lnTo>
                    <a:pt x="142" y="499"/>
                  </a:lnTo>
                  <a:lnTo>
                    <a:pt x="137" y="499"/>
                  </a:lnTo>
                  <a:lnTo>
                    <a:pt x="134" y="497"/>
                  </a:lnTo>
                  <a:lnTo>
                    <a:pt x="127" y="494"/>
                  </a:lnTo>
                  <a:lnTo>
                    <a:pt x="127" y="490"/>
                  </a:lnTo>
                  <a:lnTo>
                    <a:pt x="120" y="487"/>
                  </a:lnTo>
                  <a:lnTo>
                    <a:pt x="115" y="483"/>
                  </a:lnTo>
                  <a:lnTo>
                    <a:pt x="113" y="480"/>
                  </a:lnTo>
                  <a:lnTo>
                    <a:pt x="108" y="476"/>
                  </a:lnTo>
                  <a:lnTo>
                    <a:pt x="106" y="471"/>
                  </a:lnTo>
                  <a:lnTo>
                    <a:pt x="105" y="463"/>
                  </a:lnTo>
                  <a:lnTo>
                    <a:pt x="105" y="458"/>
                  </a:lnTo>
                  <a:lnTo>
                    <a:pt x="106" y="456"/>
                  </a:lnTo>
                  <a:lnTo>
                    <a:pt x="110" y="451"/>
                  </a:lnTo>
                  <a:lnTo>
                    <a:pt x="112" y="441"/>
                  </a:lnTo>
                  <a:lnTo>
                    <a:pt x="113" y="439"/>
                  </a:lnTo>
                  <a:lnTo>
                    <a:pt x="113" y="435"/>
                  </a:lnTo>
                  <a:lnTo>
                    <a:pt x="118" y="430"/>
                  </a:lnTo>
                  <a:lnTo>
                    <a:pt x="118" y="425"/>
                  </a:lnTo>
                  <a:lnTo>
                    <a:pt x="117" y="422"/>
                  </a:lnTo>
                  <a:lnTo>
                    <a:pt x="117" y="418"/>
                  </a:lnTo>
                  <a:lnTo>
                    <a:pt x="118" y="413"/>
                  </a:lnTo>
                  <a:lnTo>
                    <a:pt x="122" y="412"/>
                  </a:lnTo>
                  <a:lnTo>
                    <a:pt x="122" y="410"/>
                  </a:lnTo>
                  <a:lnTo>
                    <a:pt x="123" y="406"/>
                  </a:lnTo>
                  <a:lnTo>
                    <a:pt x="122" y="405"/>
                  </a:lnTo>
                  <a:lnTo>
                    <a:pt x="112" y="398"/>
                  </a:lnTo>
                  <a:lnTo>
                    <a:pt x="108" y="398"/>
                  </a:lnTo>
                  <a:lnTo>
                    <a:pt x="105" y="398"/>
                  </a:lnTo>
                  <a:lnTo>
                    <a:pt x="98" y="394"/>
                  </a:lnTo>
                  <a:lnTo>
                    <a:pt x="93" y="394"/>
                  </a:lnTo>
                  <a:lnTo>
                    <a:pt x="88" y="401"/>
                  </a:lnTo>
                  <a:lnTo>
                    <a:pt x="84" y="405"/>
                  </a:lnTo>
                  <a:lnTo>
                    <a:pt x="81" y="403"/>
                  </a:lnTo>
                  <a:lnTo>
                    <a:pt x="76" y="398"/>
                  </a:lnTo>
                  <a:lnTo>
                    <a:pt x="72" y="388"/>
                  </a:lnTo>
                  <a:lnTo>
                    <a:pt x="72" y="384"/>
                  </a:lnTo>
                  <a:lnTo>
                    <a:pt x="74" y="381"/>
                  </a:lnTo>
                  <a:lnTo>
                    <a:pt x="70" y="376"/>
                  </a:lnTo>
                  <a:lnTo>
                    <a:pt x="70" y="370"/>
                  </a:lnTo>
                  <a:lnTo>
                    <a:pt x="69" y="367"/>
                  </a:lnTo>
                  <a:lnTo>
                    <a:pt x="69" y="365"/>
                  </a:lnTo>
                  <a:lnTo>
                    <a:pt x="65" y="360"/>
                  </a:lnTo>
                  <a:lnTo>
                    <a:pt x="59" y="353"/>
                  </a:lnTo>
                  <a:lnTo>
                    <a:pt x="50" y="348"/>
                  </a:lnTo>
                  <a:lnTo>
                    <a:pt x="43" y="345"/>
                  </a:lnTo>
                  <a:lnTo>
                    <a:pt x="40" y="341"/>
                  </a:lnTo>
                  <a:lnTo>
                    <a:pt x="38" y="336"/>
                  </a:lnTo>
                  <a:lnTo>
                    <a:pt x="33" y="333"/>
                  </a:lnTo>
                  <a:lnTo>
                    <a:pt x="28" y="328"/>
                  </a:lnTo>
                  <a:lnTo>
                    <a:pt x="19" y="319"/>
                  </a:lnTo>
                  <a:lnTo>
                    <a:pt x="14" y="316"/>
                  </a:lnTo>
                  <a:lnTo>
                    <a:pt x="14" y="312"/>
                  </a:lnTo>
                  <a:lnTo>
                    <a:pt x="12" y="307"/>
                  </a:lnTo>
                  <a:lnTo>
                    <a:pt x="7" y="300"/>
                  </a:lnTo>
                  <a:lnTo>
                    <a:pt x="7" y="299"/>
                  </a:lnTo>
                  <a:lnTo>
                    <a:pt x="7" y="297"/>
                  </a:lnTo>
                  <a:lnTo>
                    <a:pt x="7" y="295"/>
                  </a:lnTo>
                  <a:lnTo>
                    <a:pt x="7" y="292"/>
                  </a:lnTo>
                  <a:lnTo>
                    <a:pt x="2" y="287"/>
                  </a:lnTo>
                  <a:lnTo>
                    <a:pt x="0" y="280"/>
                  </a:lnTo>
                  <a:lnTo>
                    <a:pt x="0" y="271"/>
                  </a:lnTo>
                  <a:lnTo>
                    <a:pt x="0" y="265"/>
                  </a:lnTo>
                  <a:lnTo>
                    <a:pt x="0" y="259"/>
                  </a:lnTo>
                  <a:lnTo>
                    <a:pt x="2" y="253"/>
                  </a:lnTo>
                  <a:lnTo>
                    <a:pt x="4" y="246"/>
                  </a:lnTo>
                  <a:lnTo>
                    <a:pt x="7" y="244"/>
                  </a:lnTo>
                  <a:lnTo>
                    <a:pt x="9" y="244"/>
                  </a:lnTo>
                  <a:lnTo>
                    <a:pt x="11" y="242"/>
                  </a:lnTo>
                  <a:lnTo>
                    <a:pt x="9" y="237"/>
                  </a:lnTo>
                  <a:lnTo>
                    <a:pt x="9" y="232"/>
                  </a:lnTo>
                  <a:lnTo>
                    <a:pt x="9" y="229"/>
                  </a:lnTo>
                  <a:lnTo>
                    <a:pt x="6" y="227"/>
                  </a:lnTo>
                  <a:lnTo>
                    <a:pt x="6" y="225"/>
                  </a:lnTo>
                  <a:lnTo>
                    <a:pt x="9" y="222"/>
                  </a:lnTo>
                  <a:lnTo>
                    <a:pt x="18" y="217"/>
                  </a:lnTo>
                  <a:lnTo>
                    <a:pt x="21" y="217"/>
                  </a:lnTo>
                  <a:lnTo>
                    <a:pt x="26" y="215"/>
                  </a:lnTo>
                  <a:lnTo>
                    <a:pt x="28" y="212"/>
                  </a:lnTo>
                  <a:lnTo>
                    <a:pt x="29" y="210"/>
                  </a:lnTo>
                  <a:lnTo>
                    <a:pt x="31" y="203"/>
                  </a:lnTo>
                  <a:lnTo>
                    <a:pt x="31" y="194"/>
                  </a:lnTo>
                  <a:lnTo>
                    <a:pt x="33" y="189"/>
                  </a:lnTo>
                  <a:lnTo>
                    <a:pt x="38" y="184"/>
                  </a:lnTo>
                  <a:lnTo>
                    <a:pt x="40" y="183"/>
                  </a:lnTo>
                  <a:lnTo>
                    <a:pt x="40" y="169"/>
                  </a:lnTo>
                  <a:lnTo>
                    <a:pt x="40" y="165"/>
                  </a:lnTo>
                  <a:lnTo>
                    <a:pt x="36" y="160"/>
                  </a:lnTo>
                  <a:lnTo>
                    <a:pt x="35" y="159"/>
                  </a:lnTo>
                  <a:lnTo>
                    <a:pt x="31" y="159"/>
                  </a:lnTo>
                  <a:lnTo>
                    <a:pt x="28" y="152"/>
                  </a:lnTo>
                  <a:lnTo>
                    <a:pt x="28" y="148"/>
                  </a:lnTo>
                  <a:lnTo>
                    <a:pt x="29" y="141"/>
                  </a:lnTo>
                  <a:lnTo>
                    <a:pt x="29" y="133"/>
                  </a:lnTo>
                  <a:lnTo>
                    <a:pt x="33" y="131"/>
                  </a:lnTo>
                  <a:lnTo>
                    <a:pt x="35" y="130"/>
                  </a:lnTo>
                  <a:lnTo>
                    <a:pt x="38" y="131"/>
                  </a:lnTo>
                  <a:lnTo>
                    <a:pt x="47" y="128"/>
                  </a:lnTo>
                  <a:lnTo>
                    <a:pt x="52" y="128"/>
                  </a:lnTo>
                  <a:lnTo>
                    <a:pt x="59" y="126"/>
                  </a:lnTo>
                  <a:lnTo>
                    <a:pt x="62" y="126"/>
                  </a:lnTo>
                  <a:lnTo>
                    <a:pt x="65" y="119"/>
                  </a:lnTo>
                  <a:lnTo>
                    <a:pt x="70" y="118"/>
                  </a:lnTo>
                  <a:lnTo>
                    <a:pt x="77" y="118"/>
                  </a:lnTo>
                  <a:lnTo>
                    <a:pt x="79" y="116"/>
                  </a:lnTo>
                  <a:lnTo>
                    <a:pt x="79" y="112"/>
                  </a:lnTo>
                  <a:lnTo>
                    <a:pt x="86" y="111"/>
                  </a:lnTo>
                  <a:lnTo>
                    <a:pt x="86" y="109"/>
                  </a:lnTo>
                  <a:lnTo>
                    <a:pt x="86" y="104"/>
                  </a:lnTo>
                  <a:lnTo>
                    <a:pt x="86" y="95"/>
                  </a:lnTo>
                  <a:lnTo>
                    <a:pt x="88" y="92"/>
                  </a:lnTo>
                  <a:lnTo>
                    <a:pt x="91" y="89"/>
                  </a:lnTo>
                  <a:lnTo>
                    <a:pt x="96" y="87"/>
                  </a:lnTo>
                  <a:lnTo>
                    <a:pt x="100" y="73"/>
                  </a:lnTo>
                  <a:lnTo>
                    <a:pt x="100" y="66"/>
                  </a:lnTo>
                  <a:lnTo>
                    <a:pt x="98" y="61"/>
                  </a:lnTo>
                  <a:lnTo>
                    <a:pt x="96" y="59"/>
                  </a:lnTo>
                  <a:lnTo>
                    <a:pt x="96" y="54"/>
                  </a:lnTo>
                  <a:lnTo>
                    <a:pt x="96" y="53"/>
                  </a:lnTo>
                  <a:lnTo>
                    <a:pt x="94" y="53"/>
                  </a:lnTo>
                  <a:lnTo>
                    <a:pt x="91" y="48"/>
                  </a:lnTo>
                  <a:lnTo>
                    <a:pt x="84" y="44"/>
                  </a:lnTo>
                  <a:lnTo>
                    <a:pt x="81" y="44"/>
                  </a:lnTo>
                  <a:lnTo>
                    <a:pt x="77" y="41"/>
                  </a:lnTo>
                  <a:lnTo>
                    <a:pt x="76" y="37"/>
                  </a:lnTo>
                  <a:lnTo>
                    <a:pt x="74" y="30"/>
                  </a:lnTo>
                  <a:lnTo>
                    <a:pt x="74" y="27"/>
                  </a:lnTo>
                  <a:lnTo>
                    <a:pt x="69" y="25"/>
                  </a:lnTo>
                  <a:lnTo>
                    <a:pt x="64" y="22"/>
                  </a:lnTo>
                  <a:lnTo>
                    <a:pt x="60" y="18"/>
                  </a:lnTo>
                  <a:lnTo>
                    <a:pt x="57" y="17"/>
                  </a:lnTo>
                  <a:lnTo>
                    <a:pt x="55" y="15"/>
                  </a:lnTo>
                  <a:lnTo>
                    <a:pt x="57" y="13"/>
                  </a:lnTo>
                  <a:lnTo>
                    <a:pt x="74" y="12"/>
                  </a:lnTo>
                  <a:lnTo>
                    <a:pt x="113" y="10"/>
                  </a:lnTo>
                  <a:lnTo>
                    <a:pt x="120" y="10"/>
                  </a:lnTo>
                  <a:lnTo>
                    <a:pt x="154" y="8"/>
                  </a:lnTo>
                  <a:lnTo>
                    <a:pt x="158" y="8"/>
                  </a:lnTo>
                  <a:lnTo>
                    <a:pt x="190" y="6"/>
                  </a:lnTo>
                  <a:lnTo>
                    <a:pt x="204" y="5"/>
                  </a:lnTo>
                  <a:lnTo>
                    <a:pt x="209" y="5"/>
                  </a:lnTo>
                  <a:lnTo>
                    <a:pt x="241" y="1"/>
                  </a:lnTo>
                  <a:lnTo>
                    <a:pt x="248" y="1"/>
                  </a:lnTo>
                  <a:lnTo>
                    <a:pt x="281" y="0"/>
                  </a:lnTo>
                  <a:lnTo>
                    <a:pt x="279" y="18"/>
                  </a:lnTo>
                  <a:lnTo>
                    <a:pt x="286" y="34"/>
                  </a:lnTo>
                  <a:lnTo>
                    <a:pt x="294" y="44"/>
                  </a:lnTo>
                  <a:lnTo>
                    <a:pt x="301" y="66"/>
                  </a:lnTo>
                  <a:lnTo>
                    <a:pt x="308" y="80"/>
                  </a:lnTo>
                  <a:lnTo>
                    <a:pt x="311" y="107"/>
                  </a:lnTo>
                  <a:lnTo>
                    <a:pt x="313" y="124"/>
                  </a:lnTo>
                  <a:lnTo>
                    <a:pt x="313" y="138"/>
                  </a:lnTo>
                  <a:lnTo>
                    <a:pt x="315" y="155"/>
                  </a:lnTo>
                  <a:lnTo>
                    <a:pt x="318" y="184"/>
                  </a:lnTo>
                  <a:lnTo>
                    <a:pt x="320" y="212"/>
                  </a:lnTo>
                  <a:lnTo>
                    <a:pt x="320" y="213"/>
                  </a:lnTo>
                  <a:lnTo>
                    <a:pt x="323" y="247"/>
                  </a:lnTo>
                  <a:lnTo>
                    <a:pt x="325" y="276"/>
                  </a:lnTo>
                  <a:lnTo>
                    <a:pt x="329" y="307"/>
                  </a:lnTo>
                  <a:lnTo>
                    <a:pt x="330" y="321"/>
                  </a:lnTo>
                  <a:lnTo>
                    <a:pt x="330" y="335"/>
                  </a:lnTo>
                  <a:lnTo>
                    <a:pt x="325" y="336"/>
                  </a:lnTo>
                  <a:lnTo>
                    <a:pt x="323" y="340"/>
                  </a:lnTo>
                  <a:lnTo>
                    <a:pt x="325" y="341"/>
                  </a:lnTo>
                  <a:lnTo>
                    <a:pt x="325" y="343"/>
                  </a:lnTo>
                  <a:lnTo>
                    <a:pt x="325" y="345"/>
                  </a:lnTo>
                  <a:lnTo>
                    <a:pt x="329" y="347"/>
                  </a:lnTo>
                  <a:lnTo>
                    <a:pt x="329" y="350"/>
                  </a:lnTo>
                  <a:lnTo>
                    <a:pt x="327" y="352"/>
                  </a:lnTo>
                  <a:lnTo>
                    <a:pt x="327" y="352"/>
                  </a:lnTo>
                  <a:lnTo>
                    <a:pt x="323" y="355"/>
                  </a:lnTo>
                  <a:lnTo>
                    <a:pt x="322" y="357"/>
                  </a:lnTo>
                  <a:lnTo>
                    <a:pt x="323" y="359"/>
                  </a:lnTo>
                  <a:lnTo>
                    <a:pt x="323" y="360"/>
                  </a:lnTo>
                  <a:lnTo>
                    <a:pt x="325" y="362"/>
                  </a:lnTo>
                  <a:lnTo>
                    <a:pt x="325" y="364"/>
                  </a:lnTo>
                  <a:lnTo>
                    <a:pt x="327" y="364"/>
                  </a:lnTo>
                  <a:lnTo>
                    <a:pt x="330" y="365"/>
                  </a:lnTo>
                  <a:lnTo>
                    <a:pt x="330" y="372"/>
                  </a:lnTo>
                  <a:lnTo>
                    <a:pt x="330" y="374"/>
                  </a:lnTo>
                  <a:lnTo>
                    <a:pt x="334" y="374"/>
                  </a:lnTo>
                  <a:lnTo>
                    <a:pt x="335" y="376"/>
                  </a:lnTo>
                  <a:lnTo>
                    <a:pt x="335" y="379"/>
                  </a:lnTo>
                  <a:lnTo>
                    <a:pt x="335" y="382"/>
                  </a:lnTo>
                  <a:lnTo>
                    <a:pt x="334" y="386"/>
                  </a:lnTo>
                  <a:lnTo>
                    <a:pt x="334" y="388"/>
                  </a:lnTo>
                  <a:lnTo>
                    <a:pt x="339" y="394"/>
                  </a:lnTo>
                  <a:lnTo>
                    <a:pt x="337" y="396"/>
                  </a:lnTo>
                  <a:lnTo>
                    <a:pt x="339" y="396"/>
                  </a:lnTo>
                  <a:lnTo>
                    <a:pt x="339" y="400"/>
                  </a:lnTo>
                  <a:lnTo>
                    <a:pt x="337" y="406"/>
                  </a:lnTo>
                  <a:lnTo>
                    <a:pt x="334" y="408"/>
                  </a:lnTo>
                  <a:lnTo>
                    <a:pt x="330" y="412"/>
                  </a:lnTo>
                  <a:lnTo>
                    <a:pt x="330" y="413"/>
                  </a:lnTo>
                  <a:lnTo>
                    <a:pt x="332" y="417"/>
                  </a:lnTo>
                  <a:lnTo>
                    <a:pt x="330" y="417"/>
                  </a:lnTo>
                  <a:lnTo>
                    <a:pt x="329" y="418"/>
                  </a:lnTo>
                  <a:lnTo>
                    <a:pt x="327" y="422"/>
                  </a:lnTo>
                  <a:lnTo>
                    <a:pt x="329" y="425"/>
                  </a:lnTo>
                  <a:lnTo>
                    <a:pt x="329" y="427"/>
                  </a:lnTo>
                  <a:lnTo>
                    <a:pt x="327" y="427"/>
                  </a:lnTo>
                  <a:lnTo>
                    <a:pt x="327" y="429"/>
                  </a:lnTo>
                  <a:lnTo>
                    <a:pt x="322" y="432"/>
                  </a:lnTo>
                  <a:lnTo>
                    <a:pt x="322" y="432"/>
                  </a:lnTo>
                  <a:lnTo>
                    <a:pt x="323" y="434"/>
                  </a:lnTo>
                  <a:lnTo>
                    <a:pt x="322" y="437"/>
                  </a:lnTo>
                  <a:lnTo>
                    <a:pt x="320" y="441"/>
                  </a:lnTo>
                  <a:lnTo>
                    <a:pt x="315" y="444"/>
                  </a:lnTo>
                  <a:lnTo>
                    <a:pt x="315" y="451"/>
                  </a:lnTo>
                  <a:lnTo>
                    <a:pt x="313" y="451"/>
                  </a:lnTo>
                  <a:lnTo>
                    <a:pt x="313" y="447"/>
                  </a:lnTo>
                  <a:lnTo>
                    <a:pt x="311" y="449"/>
                  </a:lnTo>
                  <a:lnTo>
                    <a:pt x="311" y="451"/>
                  </a:lnTo>
                  <a:lnTo>
                    <a:pt x="310" y="453"/>
                  </a:lnTo>
                  <a:lnTo>
                    <a:pt x="310" y="451"/>
                  </a:lnTo>
                  <a:lnTo>
                    <a:pt x="308" y="449"/>
                  </a:lnTo>
                  <a:lnTo>
                    <a:pt x="305" y="458"/>
                  </a:lnTo>
                  <a:lnTo>
                    <a:pt x="305" y="458"/>
                  </a:lnTo>
                  <a:lnTo>
                    <a:pt x="305" y="461"/>
                  </a:lnTo>
                  <a:lnTo>
                    <a:pt x="310" y="464"/>
                  </a:lnTo>
                  <a:lnTo>
                    <a:pt x="310" y="466"/>
                  </a:lnTo>
                  <a:lnTo>
                    <a:pt x="308" y="468"/>
                  </a:lnTo>
                  <a:lnTo>
                    <a:pt x="306" y="470"/>
                  </a:lnTo>
                  <a:lnTo>
                    <a:pt x="303" y="473"/>
                  </a:lnTo>
                  <a:lnTo>
                    <a:pt x="303" y="473"/>
                  </a:lnTo>
                  <a:lnTo>
                    <a:pt x="306" y="473"/>
                  </a:lnTo>
                  <a:lnTo>
                    <a:pt x="306" y="475"/>
                  </a:lnTo>
                  <a:lnTo>
                    <a:pt x="301" y="478"/>
                  </a:lnTo>
                  <a:lnTo>
                    <a:pt x="301" y="478"/>
                  </a:lnTo>
                  <a:lnTo>
                    <a:pt x="301" y="480"/>
                  </a:lnTo>
                  <a:lnTo>
                    <a:pt x="303" y="480"/>
                  </a:lnTo>
                  <a:lnTo>
                    <a:pt x="303" y="483"/>
                  </a:lnTo>
                  <a:lnTo>
                    <a:pt x="303" y="487"/>
                  </a:lnTo>
                  <a:lnTo>
                    <a:pt x="301" y="488"/>
                  </a:lnTo>
                  <a:lnTo>
                    <a:pt x="303" y="490"/>
                  </a:lnTo>
                  <a:lnTo>
                    <a:pt x="300" y="492"/>
                  </a:lnTo>
                  <a:lnTo>
                    <a:pt x="300" y="490"/>
                  </a:lnTo>
                  <a:lnTo>
                    <a:pt x="300" y="492"/>
                  </a:lnTo>
                  <a:lnTo>
                    <a:pt x="303" y="492"/>
                  </a:lnTo>
                  <a:lnTo>
                    <a:pt x="303" y="494"/>
                  </a:lnTo>
                  <a:lnTo>
                    <a:pt x="303" y="495"/>
                  </a:lnTo>
                  <a:lnTo>
                    <a:pt x="298" y="494"/>
                  </a:lnTo>
                  <a:lnTo>
                    <a:pt x="298" y="495"/>
                  </a:lnTo>
                  <a:lnTo>
                    <a:pt x="300" y="499"/>
                  </a:lnTo>
                  <a:lnTo>
                    <a:pt x="303" y="500"/>
                  </a:lnTo>
                  <a:lnTo>
                    <a:pt x="303" y="502"/>
                  </a:lnTo>
                  <a:lnTo>
                    <a:pt x="300" y="502"/>
                  </a:lnTo>
                  <a:lnTo>
                    <a:pt x="300" y="504"/>
                  </a:lnTo>
                  <a:lnTo>
                    <a:pt x="305" y="504"/>
                  </a:lnTo>
                  <a:lnTo>
                    <a:pt x="301" y="512"/>
                  </a:lnTo>
                  <a:lnTo>
                    <a:pt x="296" y="516"/>
                  </a:lnTo>
                  <a:lnTo>
                    <a:pt x="294" y="521"/>
                  </a:lnTo>
                  <a:lnTo>
                    <a:pt x="294" y="524"/>
                  </a:lnTo>
                  <a:lnTo>
                    <a:pt x="298" y="529"/>
                  </a:lnTo>
                  <a:lnTo>
                    <a:pt x="303" y="53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33" name="Freeform 32"/>
            <p:cNvSpPr>
              <a:spLocks/>
            </p:cNvSpPr>
            <p:nvPr/>
          </p:nvSpPr>
          <p:spPr bwMode="gray">
            <a:xfrm>
              <a:off x="7765749" y="3508177"/>
              <a:ext cx="27375" cy="37037"/>
            </a:xfrm>
            <a:custGeom>
              <a:avLst/>
              <a:gdLst/>
              <a:ahLst/>
              <a:cxnLst>
                <a:cxn ang="0">
                  <a:pos x="9" y="4"/>
                </a:cxn>
                <a:cxn ang="0">
                  <a:pos x="17" y="11"/>
                </a:cxn>
                <a:cxn ang="0">
                  <a:pos x="9" y="23"/>
                </a:cxn>
                <a:cxn ang="0">
                  <a:pos x="9" y="19"/>
                </a:cxn>
                <a:cxn ang="0">
                  <a:pos x="9" y="19"/>
                </a:cxn>
                <a:cxn ang="0">
                  <a:pos x="9" y="18"/>
                </a:cxn>
                <a:cxn ang="0">
                  <a:pos x="9" y="14"/>
                </a:cxn>
                <a:cxn ang="0">
                  <a:pos x="5" y="12"/>
                </a:cxn>
                <a:cxn ang="0">
                  <a:pos x="4" y="11"/>
                </a:cxn>
                <a:cxn ang="0">
                  <a:pos x="0" y="9"/>
                </a:cxn>
                <a:cxn ang="0">
                  <a:pos x="5" y="0"/>
                </a:cxn>
                <a:cxn ang="0">
                  <a:pos x="9" y="4"/>
                </a:cxn>
              </a:cxnLst>
              <a:rect l="0" t="0" r="r" b="b"/>
              <a:pathLst>
                <a:path w="17" h="23">
                  <a:moveTo>
                    <a:pt x="9" y="4"/>
                  </a:moveTo>
                  <a:lnTo>
                    <a:pt x="17" y="11"/>
                  </a:lnTo>
                  <a:lnTo>
                    <a:pt x="9" y="23"/>
                  </a:lnTo>
                  <a:lnTo>
                    <a:pt x="9" y="19"/>
                  </a:lnTo>
                  <a:lnTo>
                    <a:pt x="9" y="19"/>
                  </a:lnTo>
                  <a:lnTo>
                    <a:pt x="9" y="18"/>
                  </a:lnTo>
                  <a:lnTo>
                    <a:pt x="9" y="14"/>
                  </a:lnTo>
                  <a:lnTo>
                    <a:pt x="5" y="12"/>
                  </a:lnTo>
                  <a:lnTo>
                    <a:pt x="4" y="11"/>
                  </a:lnTo>
                  <a:lnTo>
                    <a:pt x="0" y="9"/>
                  </a:lnTo>
                  <a:lnTo>
                    <a:pt x="5" y="0"/>
                  </a:lnTo>
                  <a:lnTo>
                    <a:pt x="9" y="4"/>
                  </a:lnTo>
                  <a:close/>
                </a:path>
              </a:pathLst>
            </a:custGeom>
            <a:grpFill/>
            <a:ln w="28575">
              <a:solidFill>
                <a:srgbClr val="669933"/>
              </a:solidFill>
              <a:round/>
              <a:headEnd/>
              <a:tailEnd/>
            </a:ln>
          </p:spPr>
          <p:txBody>
            <a:bodyPr vert="horz" wrap="square" lIns="44450" tIns="44450" rIns="44450" bIns="44450" numCol="1" anchor="t" anchorCtr="0" compatLnSpc="1">
              <a:prstTxWarp prst="textNoShape">
                <a:avLst/>
              </a:prstTxWarp>
            </a:bodyPr>
            <a:lstStyle/>
            <a:p>
              <a:pPr>
                <a:defRPr/>
              </a:pPr>
              <a:endParaRPr lang="en-US" kern="0" dirty="0">
                <a:solidFill>
                  <a:srgbClr val="53565A"/>
                </a:solidFill>
                <a:latin typeface="Calibri" panose="020F0502020204030204"/>
              </a:endParaRPr>
            </a:p>
          </p:txBody>
        </p:sp>
        <p:sp>
          <p:nvSpPr>
            <p:cNvPr id="34" name="Freeform 33"/>
            <p:cNvSpPr>
              <a:spLocks/>
            </p:cNvSpPr>
            <p:nvPr/>
          </p:nvSpPr>
          <p:spPr bwMode="gray">
            <a:xfrm>
              <a:off x="7909064" y="3324607"/>
              <a:ext cx="146534" cy="239929"/>
            </a:xfrm>
            <a:custGeom>
              <a:avLst/>
              <a:gdLst/>
              <a:ahLst/>
              <a:cxnLst>
                <a:cxn ang="0">
                  <a:pos x="34" y="138"/>
                </a:cxn>
                <a:cxn ang="0">
                  <a:pos x="33" y="128"/>
                </a:cxn>
                <a:cxn ang="0">
                  <a:pos x="26" y="109"/>
                </a:cxn>
                <a:cxn ang="0">
                  <a:pos x="17" y="77"/>
                </a:cxn>
                <a:cxn ang="0">
                  <a:pos x="14" y="67"/>
                </a:cxn>
                <a:cxn ang="0">
                  <a:pos x="12" y="61"/>
                </a:cxn>
                <a:cxn ang="0">
                  <a:pos x="10" y="53"/>
                </a:cxn>
                <a:cxn ang="0">
                  <a:pos x="0" y="17"/>
                </a:cxn>
                <a:cxn ang="0">
                  <a:pos x="2" y="17"/>
                </a:cxn>
                <a:cxn ang="0">
                  <a:pos x="4" y="10"/>
                </a:cxn>
                <a:cxn ang="0">
                  <a:pos x="7" y="5"/>
                </a:cxn>
                <a:cxn ang="0">
                  <a:pos x="10" y="2"/>
                </a:cxn>
                <a:cxn ang="0">
                  <a:pos x="15" y="2"/>
                </a:cxn>
                <a:cxn ang="0">
                  <a:pos x="24" y="0"/>
                </a:cxn>
                <a:cxn ang="0">
                  <a:pos x="29" y="2"/>
                </a:cxn>
                <a:cxn ang="0">
                  <a:pos x="29" y="3"/>
                </a:cxn>
                <a:cxn ang="0">
                  <a:pos x="29" y="5"/>
                </a:cxn>
                <a:cxn ang="0">
                  <a:pos x="26" y="7"/>
                </a:cxn>
                <a:cxn ang="0">
                  <a:pos x="26" y="10"/>
                </a:cxn>
                <a:cxn ang="0">
                  <a:pos x="26" y="12"/>
                </a:cxn>
                <a:cxn ang="0">
                  <a:pos x="26" y="12"/>
                </a:cxn>
                <a:cxn ang="0">
                  <a:pos x="17" y="26"/>
                </a:cxn>
                <a:cxn ang="0">
                  <a:pos x="22" y="29"/>
                </a:cxn>
                <a:cxn ang="0">
                  <a:pos x="22" y="41"/>
                </a:cxn>
                <a:cxn ang="0">
                  <a:pos x="31" y="50"/>
                </a:cxn>
                <a:cxn ang="0">
                  <a:pos x="43" y="60"/>
                </a:cxn>
                <a:cxn ang="0">
                  <a:pos x="48" y="79"/>
                </a:cxn>
                <a:cxn ang="0">
                  <a:pos x="55" y="84"/>
                </a:cxn>
                <a:cxn ang="0">
                  <a:pos x="58" y="91"/>
                </a:cxn>
                <a:cxn ang="0">
                  <a:pos x="70" y="102"/>
                </a:cxn>
                <a:cxn ang="0">
                  <a:pos x="79" y="102"/>
                </a:cxn>
                <a:cxn ang="0">
                  <a:pos x="91" y="138"/>
                </a:cxn>
                <a:cxn ang="0">
                  <a:pos x="89" y="138"/>
                </a:cxn>
                <a:cxn ang="0">
                  <a:pos x="87" y="138"/>
                </a:cxn>
                <a:cxn ang="0">
                  <a:pos x="65" y="143"/>
                </a:cxn>
                <a:cxn ang="0">
                  <a:pos x="38" y="149"/>
                </a:cxn>
                <a:cxn ang="0">
                  <a:pos x="34" y="138"/>
                </a:cxn>
              </a:cxnLst>
              <a:rect l="0" t="0" r="r" b="b"/>
              <a:pathLst>
                <a:path w="91" h="149">
                  <a:moveTo>
                    <a:pt x="34" y="138"/>
                  </a:moveTo>
                  <a:lnTo>
                    <a:pt x="33" y="128"/>
                  </a:lnTo>
                  <a:lnTo>
                    <a:pt x="26" y="109"/>
                  </a:lnTo>
                  <a:lnTo>
                    <a:pt x="17" y="77"/>
                  </a:lnTo>
                  <a:lnTo>
                    <a:pt x="14" y="67"/>
                  </a:lnTo>
                  <a:lnTo>
                    <a:pt x="12" y="61"/>
                  </a:lnTo>
                  <a:lnTo>
                    <a:pt x="10" y="53"/>
                  </a:lnTo>
                  <a:lnTo>
                    <a:pt x="0" y="17"/>
                  </a:lnTo>
                  <a:lnTo>
                    <a:pt x="2" y="17"/>
                  </a:lnTo>
                  <a:lnTo>
                    <a:pt x="4" y="10"/>
                  </a:lnTo>
                  <a:lnTo>
                    <a:pt x="7" y="5"/>
                  </a:lnTo>
                  <a:lnTo>
                    <a:pt x="10" y="2"/>
                  </a:lnTo>
                  <a:lnTo>
                    <a:pt x="15" y="2"/>
                  </a:lnTo>
                  <a:lnTo>
                    <a:pt x="24" y="0"/>
                  </a:lnTo>
                  <a:lnTo>
                    <a:pt x="29" y="2"/>
                  </a:lnTo>
                  <a:lnTo>
                    <a:pt x="29" y="3"/>
                  </a:lnTo>
                  <a:lnTo>
                    <a:pt x="29" y="5"/>
                  </a:lnTo>
                  <a:lnTo>
                    <a:pt x="26" y="7"/>
                  </a:lnTo>
                  <a:lnTo>
                    <a:pt x="26" y="10"/>
                  </a:lnTo>
                  <a:lnTo>
                    <a:pt x="26" y="12"/>
                  </a:lnTo>
                  <a:lnTo>
                    <a:pt x="26" y="12"/>
                  </a:lnTo>
                  <a:lnTo>
                    <a:pt x="17" y="26"/>
                  </a:lnTo>
                  <a:lnTo>
                    <a:pt x="22" y="29"/>
                  </a:lnTo>
                  <a:lnTo>
                    <a:pt x="22" y="41"/>
                  </a:lnTo>
                  <a:lnTo>
                    <a:pt x="31" y="50"/>
                  </a:lnTo>
                  <a:lnTo>
                    <a:pt x="43" y="60"/>
                  </a:lnTo>
                  <a:lnTo>
                    <a:pt x="48" y="79"/>
                  </a:lnTo>
                  <a:lnTo>
                    <a:pt x="55" y="84"/>
                  </a:lnTo>
                  <a:lnTo>
                    <a:pt x="58" y="91"/>
                  </a:lnTo>
                  <a:lnTo>
                    <a:pt x="70" y="102"/>
                  </a:lnTo>
                  <a:lnTo>
                    <a:pt x="79" y="102"/>
                  </a:lnTo>
                  <a:lnTo>
                    <a:pt x="91" y="138"/>
                  </a:lnTo>
                  <a:lnTo>
                    <a:pt x="89" y="138"/>
                  </a:lnTo>
                  <a:lnTo>
                    <a:pt x="87" y="138"/>
                  </a:lnTo>
                  <a:lnTo>
                    <a:pt x="65" y="143"/>
                  </a:lnTo>
                  <a:lnTo>
                    <a:pt x="38" y="149"/>
                  </a:lnTo>
                  <a:lnTo>
                    <a:pt x="34" y="13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35" name="Freeform 34"/>
            <p:cNvSpPr>
              <a:spLocks/>
            </p:cNvSpPr>
            <p:nvPr/>
          </p:nvSpPr>
          <p:spPr bwMode="gray">
            <a:xfrm>
              <a:off x="7058845" y="3310114"/>
              <a:ext cx="613510" cy="613510"/>
            </a:xfrm>
            <a:custGeom>
              <a:avLst/>
              <a:gdLst/>
              <a:ahLst/>
              <a:cxnLst>
                <a:cxn ang="0">
                  <a:pos x="239" y="212"/>
                </a:cxn>
                <a:cxn ang="0">
                  <a:pos x="232" y="238"/>
                </a:cxn>
                <a:cxn ang="0">
                  <a:pos x="224" y="260"/>
                </a:cxn>
                <a:cxn ang="0">
                  <a:pos x="214" y="288"/>
                </a:cxn>
                <a:cxn ang="0">
                  <a:pos x="205" y="308"/>
                </a:cxn>
                <a:cxn ang="0">
                  <a:pos x="209" y="322"/>
                </a:cxn>
                <a:cxn ang="0">
                  <a:pos x="202" y="335"/>
                </a:cxn>
                <a:cxn ang="0">
                  <a:pos x="186" y="339"/>
                </a:cxn>
                <a:cxn ang="0">
                  <a:pos x="169" y="351"/>
                </a:cxn>
                <a:cxn ang="0">
                  <a:pos x="156" y="363"/>
                </a:cxn>
                <a:cxn ang="0">
                  <a:pos x="125" y="368"/>
                </a:cxn>
                <a:cxn ang="0">
                  <a:pos x="106" y="380"/>
                </a:cxn>
                <a:cxn ang="0">
                  <a:pos x="80" y="375"/>
                </a:cxn>
                <a:cxn ang="0">
                  <a:pos x="67" y="356"/>
                </a:cxn>
                <a:cxn ang="0">
                  <a:pos x="58" y="352"/>
                </a:cxn>
                <a:cxn ang="0">
                  <a:pos x="46" y="342"/>
                </a:cxn>
                <a:cxn ang="0">
                  <a:pos x="26" y="327"/>
                </a:cxn>
                <a:cxn ang="0">
                  <a:pos x="12" y="306"/>
                </a:cxn>
                <a:cxn ang="0">
                  <a:pos x="3" y="282"/>
                </a:cxn>
                <a:cxn ang="0">
                  <a:pos x="5" y="265"/>
                </a:cxn>
                <a:cxn ang="0">
                  <a:pos x="24" y="241"/>
                </a:cxn>
                <a:cxn ang="0">
                  <a:pos x="27" y="217"/>
                </a:cxn>
                <a:cxn ang="0">
                  <a:pos x="39" y="192"/>
                </a:cxn>
                <a:cxn ang="0">
                  <a:pos x="51" y="207"/>
                </a:cxn>
                <a:cxn ang="0">
                  <a:pos x="58" y="190"/>
                </a:cxn>
                <a:cxn ang="0">
                  <a:pos x="56" y="173"/>
                </a:cxn>
                <a:cxn ang="0">
                  <a:pos x="72" y="151"/>
                </a:cxn>
                <a:cxn ang="0">
                  <a:pos x="96" y="144"/>
                </a:cxn>
                <a:cxn ang="0">
                  <a:pos x="109" y="123"/>
                </a:cxn>
                <a:cxn ang="0">
                  <a:pos x="123" y="105"/>
                </a:cxn>
                <a:cxn ang="0">
                  <a:pos x="123" y="86"/>
                </a:cxn>
                <a:cxn ang="0">
                  <a:pos x="126" y="74"/>
                </a:cxn>
                <a:cxn ang="0">
                  <a:pos x="132" y="36"/>
                </a:cxn>
                <a:cxn ang="0">
                  <a:pos x="121" y="11"/>
                </a:cxn>
                <a:cxn ang="0">
                  <a:pos x="137" y="26"/>
                </a:cxn>
                <a:cxn ang="0">
                  <a:pos x="209" y="88"/>
                </a:cxn>
                <a:cxn ang="0">
                  <a:pos x="255" y="127"/>
                </a:cxn>
                <a:cxn ang="0">
                  <a:pos x="268" y="106"/>
                </a:cxn>
                <a:cxn ang="0">
                  <a:pos x="285" y="96"/>
                </a:cxn>
                <a:cxn ang="0">
                  <a:pos x="292" y="84"/>
                </a:cxn>
                <a:cxn ang="0">
                  <a:pos x="297" y="91"/>
                </a:cxn>
                <a:cxn ang="0">
                  <a:pos x="316" y="91"/>
                </a:cxn>
                <a:cxn ang="0">
                  <a:pos x="320" y="79"/>
                </a:cxn>
                <a:cxn ang="0">
                  <a:pos x="335" y="72"/>
                </a:cxn>
                <a:cxn ang="0">
                  <a:pos x="357" y="74"/>
                </a:cxn>
                <a:cxn ang="0">
                  <a:pos x="362" y="72"/>
                </a:cxn>
                <a:cxn ang="0">
                  <a:pos x="366" y="79"/>
                </a:cxn>
                <a:cxn ang="0">
                  <a:pos x="371" y="84"/>
                </a:cxn>
                <a:cxn ang="0">
                  <a:pos x="373" y="89"/>
                </a:cxn>
                <a:cxn ang="0">
                  <a:pos x="379" y="100"/>
                </a:cxn>
                <a:cxn ang="0">
                  <a:pos x="359" y="111"/>
                </a:cxn>
                <a:cxn ang="0">
                  <a:pos x="332" y="108"/>
                </a:cxn>
                <a:cxn ang="0">
                  <a:pos x="328" y="134"/>
                </a:cxn>
                <a:cxn ang="0">
                  <a:pos x="318" y="151"/>
                </a:cxn>
                <a:cxn ang="0">
                  <a:pos x="308" y="159"/>
                </a:cxn>
                <a:cxn ang="0">
                  <a:pos x="285" y="180"/>
                </a:cxn>
              </a:cxnLst>
              <a:rect l="0" t="0" r="r" b="b"/>
              <a:pathLst>
                <a:path w="381" h="381">
                  <a:moveTo>
                    <a:pt x="275" y="212"/>
                  </a:moveTo>
                  <a:lnTo>
                    <a:pt x="273" y="217"/>
                  </a:lnTo>
                  <a:lnTo>
                    <a:pt x="270" y="221"/>
                  </a:lnTo>
                  <a:lnTo>
                    <a:pt x="255" y="217"/>
                  </a:lnTo>
                  <a:lnTo>
                    <a:pt x="250" y="209"/>
                  </a:lnTo>
                  <a:lnTo>
                    <a:pt x="239" y="207"/>
                  </a:lnTo>
                  <a:lnTo>
                    <a:pt x="239" y="212"/>
                  </a:lnTo>
                  <a:lnTo>
                    <a:pt x="239" y="214"/>
                  </a:lnTo>
                  <a:lnTo>
                    <a:pt x="238" y="217"/>
                  </a:lnTo>
                  <a:lnTo>
                    <a:pt x="239" y="224"/>
                  </a:lnTo>
                  <a:lnTo>
                    <a:pt x="238" y="229"/>
                  </a:lnTo>
                  <a:lnTo>
                    <a:pt x="238" y="233"/>
                  </a:lnTo>
                  <a:lnTo>
                    <a:pt x="234" y="235"/>
                  </a:lnTo>
                  <a:lnTo>
                    <a:pt x="232" y="238"/>
                  </a:lnTo>
                  <a:lnTo>
                    <a:pt x="232" y="240"/>
                  </a:lnTo>
                  <a:lnTo>
                    <a:pt x="234" y="241"/>
                  </a:lnTo>
                  <a:lnTo>
                    <a:pt x="234" y="243"/>
                  </a:lnTo>
                  <a:lnTo>
                    <a:pt x="231" y="246"/>
                  </a:lnTo>
                  <a:lnTo>
                    <a:pt x="226" y="255"/>
                  </a:lnTo>
                  <a:lnTo>
                    <a:pt x="226" y="257"/>
                  </a:lnTo>
                  <a:lnTo>
                    <a:pt x="224" y="260"/>
                  </a:lnTo>
                  <a:lnTo>
                    <a:pt x="226" y="262"/>
                  </a:lnTo>
                  <a:lnTo>
                    <a:pt x="224" y="267"/>
                  </a:lnTo>
                  <a:lnTo>
                    <a:pt x="224" y="270"/>
                  </a:lnTo>
                  <a:lnTo>
                    <a:pt x="222" y="276"/>
                  </a:lnTo>
                  <a:lnTo>
                    <a:pt x="217" y="281"/>
                  </a:lnTo>
                  <a:lnTo>
                    <a:pt x="214" y="286"/>
                  </a:lnTo>
                  <a:lnTo>
                    <a:pt x="214" y="288"/>
                  </a:lnTo>
                  <a:lnTo>
                    <a:pt x="210" y="289"/>
                  </a:lnTo>
                  <a:lnTo>
                    <a:pt x="210" y="293"/>
                  </a:lnTo>
                  <a:lnTo>
                    <a:pt x="210" y="294"/>
                  </a:lnTo>
                  <a:lnTo>
                    <a:pt x="207" y="299"/>
                  </a:lnTo>
                  <a:lnTo>
                    <a:pt x="207" y="301"/>
                  </a:lnTo>
                  <a:lnTo>
                    <a:pt x="205" y="305"/>
                  </a:lnTo>
                  <a:lnTo>
                    <a:pt x="205" y="308"/>
                  </a:lnTo>
                  <a:lnTo>
                    <a:pt x="202" y="313"/>
                  </a:lnTo>
                  <a:lnTo>
                    <a:pt x="203" y="313"/>
                  </a:lnTo>
                  <a:lnTo>
                    <a:pt x="202" y="317"/>
                  </a:lnTo>
                  <a:lnTo>
                    <a:pt x="203" y="317"/>
                  </a:lnTo>
                  <a:lnTo>
                    <a:pt x="207" y="317"/>
                  </a:lnTo>
                  <a:lnTo>
                    <a:pt x="210" y="318"/>
                  </a:lnTo>
                  <a:lnTo>
                    <a:pt x="209" y="322"/>
                  </a:lnTo>
                  <a:lnTo>
                    <a:pt x="203" y="325"/>
                  </a:lnTo>
                  <a:lnTo>
                    <a:pt x="203" y="329"/>
                  </a:lnTo>
                  <a:lnTo>
                    <a:pt x="205" y="329"/>
                  </a:lnTo>
                  <a:lnTo>
                    <a:pt x="207" y="329"/>
                  </a:lnTo>
                  <a:lnTo>
                    <a:pt x="207" y="330"/>
                  </a:lnTo>
                  <a:lnTo>
                    <a:pt x="202" y="334"/>
                  </a:lnTo>
                  <a:lnTo>
                    <a:pt x="202" y="335"/>
                  </a:lnTo>
                  <a:lnTo>
                    <a:pt x="198" y="337"/>
                  </a:lnTo>
                  <a:lnTo>
                    <a:pt x="197" y="340"/>
                  </a:lnTo>
                  <a:lnTo>
                    <a:pt x="193" y="342"/>
                  </a:lnTo>
                  <a:lnTo>
                    <a:pt x="191" y="342"/>
                  </a:lnTo>
                  <a:lnTo>
                    <a:pt x="191" y="339"/>
                  </a:lnTo>
                  <a:lnTo>
                    <a:pt x="188" y="337"/>
                  </a:lnTo>
                  <a:lnTo>
                    <a:pt x="186" y="339"/>
                  </a:lnTo>
                  <a:lnTo>
                    <a:pt x="181" y="342"/>
                  </a:lnTo>
                  <a:lnTo>
                    <a:pt x="174" y="349"/>
                  </a:lnTo>
                  <a:lnTo>
                    <a:pt x="171" y="349"/>
                  </a:lnTo>
                  <a:lnTo>
                    <a:pt x="171" y="351"/>
                  </a:lnTo>
                  <a:lnTo>
                    <a:pt x="171" y="351"/>
                  </a:lnTo>
                  <a:lnTo>
                    <a:pt x="169" y="352"/>
                  </a:lnTo>
                  <a:lnTo>
                    <a:pt x="169" y="351"/>
                  </a:lnTo>
                  <a:lnTo>
                    <a:pt x="166" y="351"/>
                  </a:lnTo>
                  <a:lnTo>
                    <a:pt x="166" y="349"/>
                  </a:lnTo>
                  <a:lnTo>
                    <a:pt x="161" y="347"/>
                  </a:lnTo>
                  <a:lnTo>
                    <a:pt x="159" y="352"/>
                  </a:lnTo>
                  <a:lnTo>
                    <a:pt x="162" y="356"/>
                  </a:lnTo>
                  <a:lnTo>
                    <a:pt x="162" y="358"/>
                  </a:lnTo>
                  <a:lnTo>
                    <a:pt x="156" y="363"/>
                  </a:lnTo>
                  <a:lnTo>
                    <a:pt x="154" y="363"/>
                  </a:lnTo>
                  <a:lnTo>
                    <a:pt x="152" y="363"/>
                  </a:lnTo>
                  <a:lnTo>
                    <a:pt x="152" y="363"/>
                  </a:lnTo>
                  <a:lnTo>
                    <a:pt x="149" y="364"/>
                  </a:lnTo>
                  <a:lnTo>
                    <a:pt x="138" y="368"/>
                  </a:lnTo>
                  <a:lnTo>
                    <a:pt x="133" y="373"/>
                  </a:lnTo>
                  <a:lnTo>
                    <a:pt x="125" y="368"/>
                  </a:lnTo>
                  <a:lnTo>
                    <a:pt x="120" y="364"/>
                  </a:lnTo>
                  <a:lnTo>
                    <a:pt x="118" y="368"/>
                  </a:lnTo>
                  <a:lnTo>
                    <a:pt x="118" y="370"/>
                  </a:lnTo>
                  <a:lnTo>
                    <a:pt x="111" y="375"/>
                  </a:lnTo>
                  <a:lnTo>
                    <a:pt x="109" y="375"/>
                  </a:lnTo>
                  <a:lnTo>
                    <a:pt x="109" y="376"/>
                  </a:lnTo>
                  <a:lnTo>
                    <a:pt x="106" y="380"/>
                  </a:lnTo>
                  <a:lnTo>
                    <a:pt x="96" y="381"/>
                  </a:lnTo>
                  <a:lnTo>
                    <a:pt x="92" y="380"/>
                  </a:lnTo>
                  <a:lnTo>
                    <a:pt x="89" y="378"/>
                  </a:lnTo>
                  <a:lnTo>
                    <a:pt x="89" y="376"/>
                  </a:lnTo>
                  <a:lnTo>
                    <a:pt x="84" y="375"/>
                  </a:lnTo>
                  <a:lnTo>
                    <a:pt x="82" y="376"/>
                  </a:lnTo>
                  <a:lnTo>
                    <a:pt x="80" y="375"/>
                  </a:lnTo>
                  <a:lnTo>
                    <a:pt x="79" y="373"/>
                  </a:lnTo>
                  <a:lnTo>
                    <a:pt x="79" y="371"/>
                  </a:lnTo>
                  <a:lnTo>
                    <a:pt x="75" y="370"/>
                  </a:lnTo>
                  <a:lnTo>
                    <a:pt x="72" y="368"/>
                  </a:lnTo>
                  <a:lnTo>
                    <a:pt x="72" y="363"/>
                  </a:lnTo>
                  <a:lnTo>
                    <a:pt x="65" y="358"/>
                  </a:lnTo>
                  <a:lnTo>
                    <a:pt x="67" y="356"/>
                  </a:lnTo>
                  <a:lnTo>
                    <a:pt x="68" y="354"/>
                  </a:lnTo>
                  <a:lnTo>
                    <a:pt x="68" y="352"/>
                  </a:lnTo>
                  <a:lnTo>
                    <a:pt x="67" y="351"/>
                  </a:lnTo>
                  <a:lnTo>
                    <a:pt x="65" y="349"/>
                  </a:lnTo>
                  <a:lnTo>
                    <a:pt x="62" y="352"/>
                  </a:lnTo>
                  <a:lnTo>
                    <a:pt x="58" y="349"/>
                  </a:lnTo>
                  <a:lnTo>
                    <a:pt x="58" y="352"/>
                  </a:lnTo>
                  <a:lnTo>
                    <a:pt x="56" y="351"/>
                  </a:lnTo>
                  <a:lnTo>
                    <a:pt x="51" y="351"/>
                  </a:lnTo>
                  <a:lnTo>
                    <a:pt x="51" y="349"/>
                  </a:lnTo>
                  <a:lnTo>
                    <a:pt x="51" y="349"/>
                  </a:lnTo>
                  <a:lnTo>
                    <a:pt x="51" y="347"/>
                  </a:lnTo>
                  <a:lnTo>
                    <a:pt x="50" y="347"/>
                  </a:lnTo>
                  <a:lnTo>
                    <a:pt x="46" y="342"/>
                  </a:lnTo>
                  <a:lnTo>
                    <a:pt x="44" y="344"/>
                  </a:lnTo>
                  <a:lnTo>
                    <a:pt x="41" y="340"/>
                  </a:lnTo>
                  <a:lnTo>
                    <a:pt x="36" y="340"/>
                  </a:lnTo>
                  <a:lnTo>
                    <a:pt x="32" y="332"/>
                  </a:lnTo>
                  <a:lnTo>
                    <a:pt x="32" y="330"/>
                  </a:lnTo>
                  <a:lnTo>
                    <a:pt x="31" y="329"/>
                  </a:lnTo>
                  <a:lnTo>
                    <a:pt x="26" y="327"/>
                  </a:lnTo>
                  <a:lnTo>
                    <a:pt x="22" y="320"/>
                  </a:lnTo>
                  <a:lnTo>
                    <a:pt x="21" y="318"/>
                  </a:lnTo>
                  <a:lnTo>
                    <a:pt x="15" y="315"/>
                  </a:lnTo>
                  <a:lnTo>
                    <a:pt x="15" y="313"/>
                  </a:lnTo>
                  <a:lnTo>
                    <a:pt x="17" y="311"/>
                  </a:lnTo>
                  <a:lnTo>
                    <a:pt x="17" y="310"/>
                  </a:lnTo>
                  <a:lnTo>
                    <a:pt x="12" y="306"/>
                  </a:lnTo>
                  <a:lnTo>
                    <a:pt x="5" y="296"/>
                  </a:lnTo>
                  <a:lnTo>
                    <a:pt x="0" y="293"/>
                  </a:lnTo>
                  <a:lnTo>
                    <a:pt x="0" y="291"/>
                  </a:lnTo>
                  <a:lnTo>
                    <a:pt x="2" y="289"/>
                  </a:lnTo>
                  <a:lnTo>
                    <a:pt x="2" y="288"/>
                  </a:lnTo>
                  <a:lnTo>
                    <a:pt x="2" y="282"/>
                  </a:lnTo>
                  <a:lnTo>
                    <a:pt x="3" y="282"/>
                  </a:lnTo>
                  <a:lnTo>
                    <a:pt x="3" y="281"/>
                  </a:lnTo>
                  <a:lnTo>
                    <a:pt x="3" y="277"/>
                  </a:lnTo>
                  <a:lnTo>
                    <a:pt x="3" y="276"/>
                  </a:lnTo>
                  <a:lnTo>
                    <a:pt x="0" y="269"/>
                  </a:lnTo>
                  <a:lnTo>
                    <a:pt x="2" y="264"/>
                  </a:lnTo>
                  <a:lnTo>
                    <a:pt x="2" y="265"/>
                  </a:lnTo>
                  <a:lnTo>
                    <a:pt x="5" y="265"/>
                  </a:lnTo>
                  <a:lnTo>
                    <a:pt x="9" y="264"/>
                  </a:lnTo>
                  <a:lnTo>
                    <a:pt x="15" y="260"/>
                  </a:lnTo>
                  <a:lnTo>
                    <a:pt x="17" y="260"/>
                  </a:lnTo>
                  <a:lnTo>
                    <a:pt x="22" y="258"/>
                  </a:lnTo>
                  <a:lnTo>
                    <a:pt x="22" y="255"/>
                  </a:lnTo>
                  <a:lnTo>
                    <a:pt x="22" y="243"/>
                  </a:lnTo>
                  <a:lnTo>
                    <a:pt x="24" y="241"/>
                  </a:lnTo>
                  <a:lnTo>
                    <a:pt x="29" y="241"/>
                  </a:lnTo>
                  <a:lnTo>
                    <a:pt x="31" y="240"/>
                  </a:lnTo>
                  <a:lnTo>
                    <a:pt x="31" y="236"/>
                  </a:lnTo>
                  <a:lnTo>
                    <a:pt x="29" y="231"/>
                  </a:lnTo>
                  <a:lnTo>
                    <a:pt x="29" y="228"/>
                  </a:lnTo>
                  <a:lnTo>
                    <a:pt x="26" y="221"/>
                  </a:lnTo>
                  <a:lnTo>
                    <a:pt x="27" y="217"/>
                  </a:lnTo>
                  <a:lnTo>
                    <a:pt x="31" y="214"/>
                  </a:lnTo>
                  <a:lnTo>
                    <a:pt x="31" y="207"/>
                  </a:lnTo>
                  <a:lnTo>
                    <a:pt x="32" y="200"/>
                  </a:lnTo>
                  <a:lnTo>
                    <a:pt x="34" y="197"/>
                  </a:lnTo>
                  <a:lnTo>
                    <a:pt x="36" y="197"/>
                  </a:lnTo>
                  <a:lnTo>
                    <a:pt x="36" y="194"/>
                  </a:lnTo>
                  <a:lnTo>
                    <a:pt x="39" y="192"/>
                  </a:lnTo>
                  <a:lnTo>
                    <a:pt x="43" y="195"/>
                  </a:lnTo>
                  <a:lnTo>
                    <a:pt x="44" y="195"/>
                  </a:lnTo>
                  <a:lnTo>
                    <a:pt x="46" y="195"/>
                  </a:lnTo>
                  <a:lnTo>
                    <a:pt x="50" y="200"/>
                  </a:lnTo>
                  <a:lnTo>
                    <a:pt x="48" y="205"/>
                  </a:lnTo>
                  <a:lnTo>
                    <a:pt x="50" y="205"/>
                  </a:lnTo>
                  <a:lnTo>
                    <a:pt x="51" y="207"/>
                  </a:lnTo>
                  <a:lnTo>
                    <a:pt x="53" y="205"/>
                  </a:lnTo>
                  <a:lnTo>
                    <a:pt x="55" y="199"/>
                  </a:lnTo>
                  <a:lnTo>
                    <a:pt x="55" y="197"/>
                  </a:lnTo>
                  <a:lnTo>
                    <a:pt x="58" y="200"/>
                  </a:lnTo>
                  <a:lnTo>
                    <a:pt x="60" y="199"/>
                  </a:lnTo>
                  <a:lnTo>
                    <a:pt x="58" y="195"/>
                  </a:lnTo>
                  <a:lnTo>
                    <a:pt x="58" y="190"/>
                  </a:lnTo>
                  <a:lnTo>
                    <a:pt x="55" y="187"/>
                  </a:lnTo>
                  <a:lnTo>
                    <a:pt x="53" y="185"/>
                  </a:lnTo>
                  <a:lnTo>
                    <a:pt x="53" y="183"/>
                  </a:lnTo>
                  <a:lnTo>
                    <a:pt x="56" y="183"/>
                  </a:lnTo>
                  <a:lnTo>
                    <a:pt x="58" y="182"/>
                  </a:lnTo>
                  <a:lnTo>
                    <a:pt x="58" y="178"/>
                  </a:lnTo>
                  <a:lnTo>
                    <a:pt x="56" y="173"/>
                  </a:lnTo>
                  <a:lnTo>
                    <a:pt x="60" y="168"/>
                  </a:lnTo>
                  <a:lnTo>
                    <a:pt x="62" y="166"/>
                  </a:lnTo>
                  <a:lnTo>
                    <a:pt x="62" y="163"/>
                  </a:lnTo>
                  <a:lnTo>
                    <a:pt x="63" y="161"/>
                  </a:lnTo>
                  <a:lnTo>
                    <a:pt x="70" y="161"/>
                  </a:lnTo>
                  <a:lnTo>
                    <a:pt x="70" y="152"/>
                  </a:lnTo>
                  <a:lnTo>
                    <a:pt x="72" y="151"/>
                  </a:lnTo>
                  <a:lnTo>
                    <a:pt x="77" y="144"/>
                  </a:lnTo>
                  <a:lnTo>
                    <a:pt x="79" y="144"/>
                  </a:lnTo>
                  <a:lnTo>
                    <a:pt x="80" y="144"/>
                  </a:lnTo>
                  <a:lnTo>
                    <a:pt x="85" y="149"/>
                  </a:lnTo>
                  <a:lnTo>
                    <a:pt x="89" y="149"/>
                  </a:lnTo>
                  <a:lnTo>
                    <a:pt x="92" y="144"/>
                  </a:lnTo>
                  <a:lnTo>
                    <a:pt x="96" y="144"/>
                  </a:lnTo>
                  <a:lnTo>
                    <a:pt x="96" y="141"/>
                  </a:lnTo>
                  <a:lnTo>
                    <a:pt x="99" y="141"/>
                  </a:lnTo>
                  <a:lnTo>
                    <a:pt x="99" y="137"/>
                  </a:lnTo>
                  <a:lnTo>
                    <a:pt x="104" y="134"/>
                  </a:lnTo>
                  <a:lnTo>
                    <a:pt x="106" y="130"/>
                  </a:lnTo>
                  <a:lnTo>
                    <a:pt x="109" y="125"/>
                  </a:lnTo>
                  <a:lnTo>
                    <a:pt x="109" y="123"/>
                  </a:lnTo>
                  <a:lnTo>
                    <a:pt x="113" y="120"/>
                  </a:lnTo>
                  <a:lnTo>
                    <a:pt x="116" y="117"/>
                  </a:lnTo>
                  <a:lnTo>
                    <a:pt x="118" y="115"/>
                  </a:lnTo>
                  <a:lnTo>
                    <a:pt x="121" y="113"/>
                  </a:lnTo>
                  <a:lnTo>
                    <a:pt x="121" y="110"/>
                  </a:lnTo>
                  <a:lnTo>
                    <a:pt x="121" y="108"/>
                  </a:lnTo>
                  <a:lnTo>
                    <a:pt x="123" y="105"/>
                  </a:lnTo>
                  <a:lnTo>
                    <a:pt x="123" y="103"/>
                  </a:lnTo>
                  <a:lnTo>
                    <a:pt x="121" y="101"/>
                  </a:lnTo>
                  <a:lnTo>
                    <a:pt x="120" y="100"/>
                  </a:lnTo>
                  <a:lnTo>
                    <a:pt x="123" y="93"/>
                  </a:lnTo>
                  <a:lnTo>
                    <a:pt x="121" y="89"/>
                  </a:lnTo>
                  <a:lnTo>
                    <a:pt x="123" y="88"/>
                  </a:lnTo>
                  <a:lnTo>
                    <a:pt x="123" y="86"/>
                  </a:lnTo>
                  <a:lnTo>
                    <a:pt x="121" y="82"/>
                  </a:lnTo>
                  <a:lnTo>
                    <a:pt x="121" y="81"/>
                  </a:lnTo>
                  <a:lnTo>
                    <a:pt x="123" y="81"/>
                  </a:lnTo>
                  <a:lnTo>
                    <a:pt x="125" y="81"/>
                  </a:lnTo>
                  <a:lnTo>
                    <a:pt x="125" y="81"/>
                  </a:lnTo>
                  <a:lnTo>
                    <a:pt x="125" y="77"/>
                  </a:lnTo>
                  <a:lnTo>
                    <a:pt x="126" y="74"/>
                  </a:lnTo>
                  <a:lnTo>
                    <a:pt x="125" y="67"/>
                  </a:lnTo>
                  <a:lnTo>
                    <a:pt x="126" y="55"/>
                  </a:lnTo>
                  <a:lnTo>
                    <a:pt x="126" y="53"/>
                  </a:lnTo>
                  <a:lnTo>
                    <a:pt x="126" y="50"/>
                  </a:lnTo>
                  <a:lnTo>
                    <a:pt x="128" y="45"/>
                  </a:lnTo>
                  <a:lnTo>
                    <a:pt x="132" y="40"/>
                  </a:lnTo>
                  <a:lnTo>
                    <a:pt x="132" y="36"/>
                  </a:lnTo>
                  <a:lnTo>
                    <a:pt x="130" y="29"/>
                  </a:lnTo>
                  <a:lnTo>
                    <a:pt x="128" y="29"/>
                  </a:lnTo>
                  <a:lnTo>
                    <a:pt x="128" y="28"/>
                  </a:lnTo>
                  <a:lnTo>
                    <a:pt x="128" y="19"/>
                  </a:lnTo>
                  <a:lnTo>
                    <a:pt x="126" y="16"/>
                  </a:lnTo>
                  <a:lnTo>
                    <a:pt x="125" y="12"/>
                  </a:lnTo>
                  <a:lnTo>
                    <a:pt x="121" y="11"/>
                  </a:lnTo>
                  <a:lnTo>
                    <a:pt x="121" y="9"/>
                  </a:lnTo>
                  <a:lnTo>
                    <a:pt x="123" y="6"/>
                  </a:lnTo>
                  <a:lnTo>
                    <a:pt x="125" y="4"/>
                  </a:lnTo>
                  <a:lnTo>
                    <a:pt x="128" y="4"/>
                  </a:lnTo>
                  <a:lnTo>
                    <a:pt x="132" y="0"/>
                  </a:lnTo>
                  <a:lnTo>
                    <a:pt x="135" y="17"/>
                  </a:lnTo>
                  <a:lnTo>
                    <a:pt x="137" y="26"/>
                  </a:lnTo>
                  <a:lnTo>
                    <a:pt x="140" y="52"/>
                  </a:lnTo>
                  <a:lnTo>
                    <a:pt x="142" y="67"/>
                  </a:lnTo>
                  <a:lnTo>
                    <a:pt x="144" y="74"/>
                  </a:lnTo>
                  <a:lnTo>
                    <a:pt x="149" y="98"/>
                  </a:lnTo>
                  <a:lnTo>
                    <a:pt x="156" y="98"/>
                  </a:lnTo>
                  <a:lnTo>
                    <a:pt x="197" y="91"/>
                  </a:lnTo>
                  <a:lnTo>
                    <a:pt x="209" y="88"/>
                  </a:lnTo>
                  <a:lnTo>
                    <a:pt x="232" y="84"/>
                  </a:lnTo>
                  <a:lnTo>
                    <a:pt x="241" y="141"/>
                  </a:lnTo>
                  <a:lnTo>
                    <a:pt x="243" y="137"/>
                  </a:lnTo>
                  <a:lnTo>
                    <a:pt x="244" y="137"/>
                  </a:lnTo>
                  <a:lnTo>
                    <a:pt x="248" y="130"/>
                  </a:lnTo>
                  <a:lnTo>
                    <a:pt x="251" y="129"/>
                  </a:lnTo>
                  <a:lnTo>
                    <a:pt x="255" y="127"/>
                  </a:lnTo>
                  <a:lnTo>
                    <a:pt x="256" y="123"/>
                  </a:lnTo>
                  <a:lnTo>
                    <a:pt x="256" y="120"/>
                  </a:lnTo>
                  <a:lnTo>
                    <a:pt x="265" y="115"/>
                  </a:lnTo>
                  <a:lnTo>
                    <a:pt x="265" y="111"/>
                  </a:lnTo>
                  <a:lnTo>
                    <a:pt x="267" y="111"/>
                  </a:lnTo>
                  <a:lnTo>
                    <a:pt x="268" y="108"/>
                  </a:lnTo>
                  <a:lnTo>
                    <a:pt x="268" y="106"/>
                  </a:lnTo>
                  <a:lnTo>
                    <a:pt x="267" y="105"/>
                  </a:lnTo>
                  <a:lnTo>
                    <a:pt x="270" y="105"/>
                  </a:lnTo>
                  <a:lnTo>
                    <a:pt x="270" y="103"/>
                  </a:lnTo>
                  <a:lnTo>
                    <a:pt x="272" y="103"/>
                  </a:lnTo>
                  <a:lnTo>
                    <a:pt x="279" y="106"/>
                  </a:lnTo>
                  <a:lnTo>
                    <a:pt x="280" y="105"/>
                  </a:lnTo>
                  <a:lnTo>
                    <a:pt x="285" y="96"/>
                  </a:lnTo>
                  <a:lnTo>
                    <a:pt x="287" y="91"/>
                  </a:lnTo>
                  <a:lnTo>
                    <a:pt x="289" y="91"/>
                  </a:lnTo>
                  <a:lnTo>
                    <a:pt x="287" y="89"/>
                  </a:lnTo>
                  <a:lnTo>
                    <a:pt x="289" y="86"/>
                  </a:lnTo>
                  <a:lnTo>
                    <a:pt x="289" y="84"/>
                  </a:lnTo>
                  <a:lnTo>
                    <a:pt x="291" y="82"/>
                  </a:lnTo>
                  <a:lnTo>
                    <a:pt x="292" y="84"/>
                  </a:lnTo>
                  <a:lnTo>
                    <a:pt x="294" y="84"/>
                  </a:lnTo>
                  <a:lnTo>
                    <a:pt x="294" y="84"/>
                  </a:lnTo>
                  <a:lnTo>
                    <a:pt x="294" y="86"/>
                  </a:lnTo>
                  <a:lnTo>
                    <a:pt x="292" y="86"/>
                  </a:lnTo>
                  <a:lnTo>
                    <a:pt x="292" y="89"/>
                  </a:lnTo>
                  <a:lnTo>
                    <a:pt x="296" y="89"/>
                  </a:lnTo>
                  <a:lnTo>
                    <a:pt x="297" y="91"/>
                  </a:lnTo>
                  <a:lnTo>
                    <a:pt x="301" y="93"/>
                  </a:lnTo>
                  <a:lnTo>
                    <a:pt x="303" y="91"/>
                  </a:lnTo>
                  <a:lnTo>
                    <a:pt x="304" y="93"/>
                  </a:lnTo>
                  <a:lnTo>
                    <a:pt x="306" y="91"/>
                  </a:lnTo>
                  <a:lnTo>
                    <a:pt x="309" y="93"/>
                  </a:lnTo>
                  <a:lnTo>
                    <a:pt x="314" y="91"/>
                  </a:lnTo>
                  <a:lnTo>
                    <a:pt x="316" y="91"/>
                  </a:lnTo>
                  <a:lnTo>
                    <a:pt x="318" y="89"/>
                  </a:lnTo>
                  <a:lnTo>
                    <a:pt x="320" y="88"/>
                  </a:lnTo>
                  <a:lnTo>
                    <a:pt x="321" y="88"/>
                  </a:lnTo>
                  <a:lnTo>
                    <a:pt x="318" y="84"/>
                  </a:lnTo>
                  <a:lnTo>
                    <a:pt x="318" y="82"/>
                  </a:lnTo>
                  <a:lnTo>
                    <a:pt x="321" y="82"/>
                  </a:lnTo>
                  <a:lnTo>
                    <a:pt x="320" y="79"/>
                  </a:lnTo>
                  <a:lnTo>
                    <a:pt x="323" y="79"/>
                  </a:lnTo>
                  <a:lnTo>
                    <a:pt x="323" y="77"/>
                  </a:lnTo>
                  <a:lnTo>
                    <a:pt x="325" y="77"/>
                  </a:lnTo>
                  <a:lnTo>
                    <a:pt x="325" y="76"/>
                  </a:lnTo>
                  <a:lnTo>
                    <a:pt x="332" y="77"/>
                  </a:lnTo>
                  <a:lnTo>
                    <a:pt x="332" y="74"/>
                  </a:lnTo>
                  <a:lnTo>
                    <a:pt x="335" y="72"/>
                  </a:lnTo>
                  <a:lnTo>
                    <a:pt x="335" y="70"/>
                  </a:lnTo>
                  <a:lnTo>
                    <a:pt x="337" y="70"/>
                  </a:lnTo>
                  <a:lnTo>
                    <a:pt x="337" y="67"/>
                  </a:lnTo>
                  <a:lnTo>
                    <a:pt x="345" y="69"/>
                  </a:lnTo>
                  <a:lnTo>
                    <a:pt x="352" y="74"/>
                  </a:lnTo>
                  <a:lnTo>
                    <a:pt x="354" y="76"/>
                  </a:lnTo>
                  <a:lnTo>
                    <a:pt x="357" y="74"/>
                  </a:lnTo>
                  <a:lnTo>
                    <a:pt x="359" y="76"/>
                  </a:lnTo>
                  <a:lnTo>
                    <a:pt x="359" y="76"/>
                  </a:lnTo>
                  <a:lnTo>
                    <a:pt x="357" y="72"/>
                  </a:lnTo>
                  <a:lnTo>
                    <a:pt x="359" y="72"/>
                  </a:lnTo>
                  <a:lnTo>
                    <a:pt x="362" y="74"/>
                  </a:lnTo>
                  <a:lnTo>
                    <a:pt x="362" y="74"/>
                  </a:lnTo>
                  <a:lnTo>
                    <a:pt x="362" y="72"/>
                  </a:lnTo>
                  <a:lnTo>
                    <a:pt x="366" y="72"/>
                  </a:lnTo>
                  <a:lnTo>
                    <a:pt x="366" y="72"/>
                  </a:lnTo>
                  <a:lnTo>
                    <a:pt x="367" y="76"/>
                  </a:lnTo>
                  <a:lnTo>
                    <a:pt x="366" y="77"/>
                  </a:lnTo>
                  <a:lnTo>
                    <a:pt x="364" y="77"/>
                  </a:lnTo>
                  <a:lnTo>
                    <a:pt x="364" y="77"/>
                  </a:lnTo>
                  <a:lnTo>
                    <a:pt x="366" y="79"/>
                  </a:lnTo>
                  <a:lnTo>
                    <a:pt x="367" y="82"/>
                  </a:lnTo>
                  <a:lnTo>
                    <a:pt x="367" y="81"/>
                  </a:lnTo>
                  <a:lnTo>
                    <a:pt x="369" y="81"/>
                  </a:lnTo>
                  <a:lnTo>
                    <a:pt x="369" y="81"/>
                  </a:lnTo>
                  <a:lnTo>
                    <a:pt x="369" y="82"/>
                  </a:lnTo>
                  <a:lnTo>
                    <a:pt x="367" y="82"/>
                  </a:lnTo>
                  <a:lnTo>
                    <a:pt x="371" y="84"/>
                  </a:lnTo>
                  <a:lnTo>
                    <a:pt x="374" y="82"/>
                  </a:lnTo>
                  <a:lnTo>
                    <a:pt x="373" y="84"/>
                  </a:lnTo>
                  <a:lnTo>
                    <a:pt x="374" y="86"/>
                  </a:lnTo>
                  <a:lnTo>
                    <a:pt x="373" y="86"/>
                  </a:lnTo>
                  <a:lnTo>
                    <a:pt x="374" y="88"/>
                  </a:lnTo>
                  <a:lnTo>
                    <a:pt x="373" y="89"/>
                  </a:lnTo>
                  <a:lnTo>
                    <a:pt x="373" y="89"/>
                  </a:lnTo>
                  <a:lnTo>
                    <a:pt x="378" y="89"/>
                  </a:lnTo>
                  <a:lnTo>
                    <a:pt x="379" y="93"/>
                  </a:lnTo>
                  <a:lnTo>
                    <a:pt x="379" y="93"/>
                  </a:lnTo>
                  <a:lnTo>
                    <a:pt x="378" y="94"/>
                  </a:lnTo>
                  <a:lnTo>
                    <a:pt x="379" y="96"/>
                  </a:lnTo>
                  <a:lnTo>
                    <a:pt x="379" y="100"/>
                  </a:lnTo>
                  <a:lnTo>
                    <a:pt x="379" y="100"/>
                  </a:lnTo>
                  <a:lnTo>
                    <a:pt x="381" y="101"/>
                  </a:lnTo>
                  <a:lnTo>
                    <a:pt x="379" y="105"/>
                  </a:lnTo>
                  <a:lnTo>
                    <a:pt x="379" y="110"/>
                  </a:lnTo>
                  <a:lnTo>
                    <a:pt x="378" y="115"/>
                  </a:lnTo>
                  <a:lnTo>
                    <a:pt x="378" y="122"/>
                  </a:lnTo>
                  <a:lnTo>
                    <a:pt x="378" y="122"/>
                  </a:lnTo>
                  <a:lnTo>
                    <a:pt x="359" y="111"/>
                  </a:lnTo>
                  <a:lnTo>
                    <a:pt x="340" y="101"/>
                  </a:lnTo>
                  <a:lnTo>
                    <a:pt x="335" y="98"/>
                  </a:lnTo>
                  <a:lnTo>
                    <a:pt x="328" y="96"/>
                  </a:lnTo>
                  <a:lnTo>
                    <a:pt x="330" y="103"/>
                  </a:lnTo>
                  <a:lnTo>
                    <a:pt x="330" y="106"/>
                  </a:lnTo>
                  <a:lnTo>
                    <a:pt x="332" y="106"/>
                  </a:lnTo>
                  <a:lnTo>
                    <a:pt x="332" y="108"/>
                  </a:lnTo>
                  <a:lnTo>
                    <a:pt x="328" y="118"/>
                  </a:lnTo>
                  <a:lnTo>
                    <a:pt x="328" y="118"/>
                  </a:lnTo>
                  <a:lnTo>
                    <a:pt x="328" y="123"/>
                  </a:lnTo>
                  <a:lnTo>
                    <a:pt x="328" y="123"/>
                  </a:lnTo>
                  <a:lnTo>
                    <a:pt x="330" y="127"/>
                  </a:lnTo>
                  <a:lnTo>
                    <a:pt x="328" y="130"/>
                  </a:lnTo>
                  <a:lnTo>
                    <a:pt x="328" y="134"/>
                  </a:lnTo>
                  <a:lnTo>
                    <a:pt x="325" y="134"/>
                  </a:lnTo>
                  <a:lnTo>
                    <a:pt x="323" y="137"/>
                  </a:lnTo>
                  <a:lnTo>
                    <a:pt x="321" y="141"/>
                  </a:lnTo>
                  <a:lnTo>
                    <a:pt x="320" y="144"/>
                  </a:lnTo>
                  <a:lnTo>
                    <a:pt x="321" y="144"/>
                  </a:lnTo>
                  <a:lnTo>
                    <a:pt x="321" y="146"/>
                  </a:lnTo>
                  <a:lnTo>
                    <a:pt x="318" y="151"/>
                  </a:lnTo>
                  <a:lnTo>
                    <a:pt x="314" y="151"/>
                  </a:lnTo>
                  <a:lnTo>
                    <a:pt x="314" y="154"/>
                  </a:lnTo>
                  <a:lnTo>
                    <a:pt x="313" y="158"/>
                  </a:lnTo>
                  <a:lnTo>
                    <a:pt x="309" y="159"/>
                  </a:lnTo>
                  <a:lnTo>
                    <a:pt x="309" y="158"/>
                  </a:lnTo>
                  <a:lnTo>
                    <a:pt x="308" y="158"/>
                  </a:lnTo>
                  <a:lnTo>
                    <a:pt x="308" y="159"/>
                  </a:lnTo>
                  <a:lnTo>
                    <a:pt x="304" y="163"/>
                  </a:lnTo>
                  <a:lnTo>
                    <a:pt x="303" y="170"/>
                  </a:lnTo>
                  <a:lnTo>
                    <a:pt x="301" y="176"/>
                  </a:lnTo>
                  <a:lnTo>
                    <a:pt x="289" y="170"/>
                  </a:lnTo>
                  <a:lnTo>
                    <a:pt x="285" y="176"/>
                  </a:lnTo>
                  <a:lnTo>
                    <a:pt x="284" y="176"/>
                  </a:lnTo>
                  <a:lnTo>
                    <a:pt x="285" y="180"/>
                  </a:lnTo>
                  <a:lnTo>
                    <a:pt x="284" y="187"/>
                  </a:lnTo>
                  <a:lnTo>
                    <a:pt x="284" y="192"/>
                  </a:lnTo>
                  <a:lnTo>
                    <a:pt x="282" y="192"/>
                  </a:lnTo>
                  <a:lnTo>
                    <a:pt x="280" y="192"/>
                  </a:lnTo>
                  <a:lnTo>
                    <a:pt x="275" y="21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36" name="Freeform 35"/>
            <p:cNvSpPr>
              <a:spLocks noEditPoints="1"/>
            </p:cNvSpPr>
            <p:nvPr/>
          </p:nvSpPr>
          <p:spPr bwMode="gray">
            <a:xfrm>
              <a:off x="7432426" y="3351982"/>
              <a:ext cx="623172" cy="299509"/>
            </a:xfrm>
            <a:custGeom>
              <a:avLst/>
              <a:gdLst/>
              <a:ahLst/>
              <a:cxnLst>
                <a:cxn ang="0">
                  <a:pos x="383" y="121"/>
                </a:cxn>
                <a:cxn ang="0">
                  <a:pos x="370" y="173"/>
                </a:cxn>
                <a:cxn ang="0">
                  <a:pos x="323" y="166"/>
                </a:cxn>
                <a:cxn ang="0">
                  <a:pos x="322" y="145"/>
                </a:cxn>
                <a:cxn ang="0">
                  <a:pos x="308" y="159"/>
                </a:cxn>
                <a:cxn ang="0">
                  <a:pos x="303" y="126"/>
                </a:cxn>
                <a:cxn ang="0">
                  <a:pos x="289" y="113"/>
                </a:cxn>
                <a:cxn ang="0">
                  <a:pos x="277" y="103"/>
                </a:cxn>
                <a:cxn ang="0">
                  <a:pos x="291" y="92"/>
                </a:cxn>
                <a:cxn ang="0">
                  <a:pos x="276" y="74"/>
                </a:cxn>
                <a:cxn ang="0">
                  <a:pos x="300" y="38"/>
                </a:cxn>
                <a:cxn ang="0">
                  <a:pos x="277" y="24"/>
                </a:cxn>
                <a:cxn ang="0">
                  <a:pos x="248" y="63"/>
                </a:cxn>
                <a:cxn ang="0">
                  <a:pos x="245" y="74"/>
                </a:cxn>
                <a:cxn ang="0">
                  <a:pos x="260" y="120"/>
                </a:cxn>
                <a:cxn ang="0">
                  <a:pos x="272" y="159"/>
                </a:cxn>
                <a:cxn ang="0">
                  <a:pos x="267" y="173"/>
                </a:cxn>
                <a:cxn ang="0">
                  <a:pos x="228" y="157"/>
                </a:cxn>
                <a:cxn ang="0">
                  <a:pos x="212" y="133"/>
                </a:cxn>
                <a:cxn ang="0">
                  <a:pos x="216" y="120"/>
                </a:cxn>
                <a:cxn ang="0">
                  <a:pos x="204" y="103"/>
                </a:cxn>
                <a:cxn ang="0">
                  <a:pos x="178" y="97"/>
                </a:cxn>
                <a:cxn ang="0">
                  <a:pos x="173" y="85"/>
                </a:cxn>
                <a:cxn ang="0">
                  <a:pos x="163" y="74"/>
                </a:cxn>
                <a:cxn ang="0">
                  <a:pos x="147" y="74"/>
                </a:cxn>
                <a:cxn ang="0">
                  <a:pos x="146" y="63"/>
                </a:cxn>
                <a:cxn ang="0">
                  <a:pos x="142" y="60"/>
                </a:cxn>
                <a:cxn ang="0">
                  <a:pos x="137" y="56"/>
                </a:cxn>
                <a:cxn ang="0">
                  <a:pos x="134" y="53"/>
                </a:cxn>
                <a:cxn ang="0">
                  <a:pos x="134" y="46"/>
                </a:cxn>
                <a:cxn ang="0">
                  <a:pos x="127" y="46"/>
                </a:cxn>
                <a:cxn ang="0">
                  <a:pos x="122" y="50"/>
                </a:cxn>
                <a:cxn ang="0">
                  <a:pos x="103" y="44"/>
                </a:cxn>
                <a:cxn ang="0">
                  <a:pos x="93" y="51"/>
                </a:cxn>
                <a:cxn ang="0">
                  <a:pos x="86" y="56"/>
                </a:cxn>
                <a:cxn ang="0">
                  <a:pos x="84" y="65"/>
                </a:cxn>
                <a:cxn ang="0">
                  <a:pos x="71" y="65"/>
                </a:cxn>
                <a:cxn ang="0">
                  <a:pos x="60" y="60"/>
                </a:cxn>
                <a:cxn ang="0">
                  <a:pos x="59" y="56"/>
                </a:cxn>
                <a:cxn ang="0">
                  <a:pos x="55" y="65"/>
                </a:cxn>
                <a:cxn ang="0">
                  <a:pos x="38" y="77"/>
                </a:cxn>
                <a:cxn ang="0">
                  <a:pos x="35" y="85"/>
                </a:cxn>
                <a:cxn ang="0">
                  <a:pos x="23" y="101"/>
                </a:cxn>
                <a:cxn ang="0">
                  <a:pos x="9" y="115"/>
                </a:cxn>
                <a:cxn ang="0">
                  <a:pos x="89" y="41"/>
                </a:cxn>
                <a:cxn ang="0">
                  <a:pos x="182" y="24"/>
                </a:cxn>
                <a:cxn ang="0">
                  <a:pos x="269" y="5"/>
                </a:cxn>
                <a:cxn ang="0">
                  <a:pos x="313" y="60"/>
                </a:cxn>
                <a:cxn ang="0">
                  <a:pos x="270" y="91"/>
                </a:cxn>
                <a:cxn ang="0">
                  <a:pos x="269" y="103"/>
                </a:cxn>
                <a:cxn ang="0">
                  <a:pos x="276" y="91"/>
                </a:cxn>
                <a:cxn ang="0">
                  <a:pos x="385" y="121"/>
                </a:cxn>
                <a:cxn ang="0">
                  <a:pos x="385" y="135"/>
                </a:cxn>
              </a:cxnLst>
              <a:rect l="0" t="0" r="r" b="b"/>
              <a:pathLst>
                <a:path w="387" h="186">
                  <a:moveTo>
                    <a:pt x="329" y="111"/>
                  </a:moveTo>
                  <a:lnTo>
                    <a:pt x="330" y="121"/>
                  </a:lnTo>
                  <a:lnTo>
                    <a:pt x="334" y="132"/>
                  </a:lnTo>
                  <a:lnTo>
                    <a:pt x="361" y="126"/>
                  </a:lnTo>
                  <a:lnTo>
                    <a:pt x="383" y="121"/>
                  </a:lnTo>
                  <a:lnTo>
                    <a:pt x="380" y="132"/>
                  </a:lnTo>
                  <a:lnTo>
                    <a:pt x="382" y="142"/>
                  </a:lnTo>
                  <a:lnTo>
                    <a:pt x="375" y="150"/>
                  </a:lnTo>
                  <a:lnTo>
                    <a:pt x="368" y="168"/>
                  </a:lnTo>
                  <a:lnTo>
                    <a:pt x="370" y="173"/>
                  </a:lnTo>
                  <a:lnTo>
                    <a:pt x="349" y="179"/>
                  </a:lnTo>
                  <a:lnTo>
                    <a:pt x="349" y="183"/>
                  </a:lnTo>
                  <a:lnTo>
                    <a:pt x="330" y="185"/>
                  </a:lnTo>
                  <a:lnTo>
                    <a:pt x="335" y="171"/>
                  </a:lnTo>
                  <a:lnTo>
                    <a:pt x="323" y="166"/>
                  </a:lnTo>
                  <a:lnTo>
                    <a:pt x="327" y="159"/>
                  </a:lnTo>
                  <a:lnTo>
                    <a:pt x="325" y="157"/>
                  </a:lnTo>
                  <a:lnTo>
                    <a:pt x="330" y="154"/>
                  </a:lnTo>
                  <a:lnTo>
                    <a:pt x="322" y="156"/>
                  </a:lnTo>
                  <a:lnTo>
                    <a:pt x="322" y="145"/>
                  </a:lnTo>
                  <a:lnTo>
                    <a:pt x="320" y="144"/>
                  </a:lnTo>
                  <a:lnTo>
                    <a:pt x="317" y="156"/>
                  </a:lnTo>
                  <a:lnTo>
                    <a:pt x="313" y="156"/>
                  </a:lnTo>
                  <a:lnTo>
                    <a:pt x="310" y="152"/>
                  </a:lnTo>
                  <a:lnTo>
                    <a:pt x="308" y="159"/>
                  </a:lnTo>
                  <a:lnTo>
                    <a:pt x="286" y="145"/>
                  </a:lnTo>
                  <a:lnTo>
                    <a:pt x="284" y="140"/>
                  </a:lnTo>
                  <a:lnTo>
                    <a:pt x="291" y="132"/>
                  </a:lnTo>
                  <a:lnTo>
                    <a:pt x="286" y="126"/>
                  </a:lnTo>
                  <a:lnTo>
                    <a:pt x="303" y="126"/>
                  </a:lnTo>
                  <a:lnTo>
                    <a:pt x="303" y="120"/>
                  </a:lnTo>
                  <a:lnTo>
                    <a:pt x="301" y="123"/>
                  </a:lnTo>
                  <a:lnTo>
                    <a:pt x="300" y="123"/>
                  </a:lnTo>
                  <a:lnTo>
                    <a:pt x="293" y="113"/>
                  </a:lnTo>
                  <a:lnTo>
                    <a:pt x="289" y="113"/>
                  </a:lnTo>
                  <a:lnTo>
                    <a:pt x="284" y="109"/>
                  </a:lnTo>
                  <a:lnTo>
                    <a:pt x="281" y="109"/>
                  </a:lnTo>
                  <a:lnTo>
                    <a:pt x="276" y="120"/>
                  </a:lnTo>
                  <a:lnTo>
                    <a:pt x="274" y="118"/>
                  </a:lnTo>
                  <a:lnTo>
                    <a:pt x="277" y="103"/>
                  </a:lnTo>
                  <a:lnTo>
                    <a:pt x="286" y="108"/>
                  </a:lnTo>
                  <a:lnTo>
                    <a:pt x="288" y="104"/>
                  </a:lnTo>
                  <a:lnTo>
                    <a:pt x="289" y="94"/>
                  </a:lnTo>
                  <a:lnTo>
                    <a:pt x="293" y="92"/>
                  </a:lnTo>
                  <a:lnTo>
                    <a:pt x="291" y="92"/>
                  </a:lnTo>
                  <a:lnTo>
                    <a:pt x="289" y="87"/>
                  </a:lnTo>
                  <a:lnTo>
                    <a:pt x="289" y="91"/>
                  </a:lnTo>
                  <a:lnTo>
                    <a:pt x="281" y="85"/>
                  </a:lnTo>
                  <a:lnTo>
                    <a:pt x="284" y="70"/>
                  </a:lnTo>
                  <a:lnTo>
                    <a:pt x="276" y="74"/>
                  </a:lnTo>
                  <a:lnTo>
                    <a:pt x="274" y="70"/>
                  </a:lnTo>
                  <a:lnTo>
                    <a:pt x="274" y="62"/>
                  </a:lnTo>
                  <a:lnTo>
                    <a:pt x="281" y="48"/>
                  </a:lnTo>
                  <a:lnTo>
                    <a:pt x="286" y="43"/>
                  </a:lnTo>
                  <a:lnTo>
                    <a:pt x="300" y="38"/>
                  </a:lnTo>
                  <a:lnTo>
                    <a:pt x="289" y="38"/>
                  </a:lnTo>
                  <a:lnTo>
                    <a:pt x="289" y="29"/>
                  </a:lnTo>
                  <a:lnTo>
                    <a:pt x="286" y="24"/>
                  </a:lnTo>
                  <a:lnTo>
                    <a:pt x="281" y="21"/>
                  </a:lnTo>
                  <a:lnTo>
                    <a:pt x="277" y="24"/>
                  </a:lnTo>
                  <a:lnTo>
                    <a:pt x="276" y="39"/>
                  </a:lnTo>
                  <a:lnTo>
                    <a:pt x="270" y="44"/>
                  </a:lnTo>
                  <a:lnTo>
                    <a:pt x="259" y="44"/>
                  </a:lnTo>
                  <a:lnTo>
                    <a:pt x="259" y="62"/>
                  </a:lnTo>
                  <a:lnTo>
                    <a:pt x="248" y="63"/>
                  </a:lnTo>
                  <a:lnTo>
                    <a:pt x="241" y="63"/>
                  </a:lnTo>
                  <a:lnTo>
                    <a:pt x="245" y="65"/>
                  </a:lnTo>
                  <a:lnTo>
                    <a:pt x="245" y="68"/>
                  </a:lnTo>
                  <a:lnTo>
                    <a:pt x="243" y="72"/>
                  </a:lnTo>
                  <a:lnTo>
                    <a:pt x="245" y="74"/>
                  </a:lnTo>
                  <a:lnTo>
                    <a:pt x="247" y="68"/>
                  </a:lnTo>
                  <a:lnTo>
                    <a:pt x="260" y="75"/>
                  </a:lnTo>
                  <a:lnTo>
                    <a:pt x="260" y="97"/>
                  </a:lnTo>
                  <a:lnTo>
                    <a:pt x="257" y="115"/>
                  </a:lnTo>
                  <a:lnTo>
                    <a:pt x="260" y="120"/>
                  </a:lnTo>
                  <a:lnTo>
                    <a:pt x="265" y="138"/>
                  </a:lnTo>
                  <a:lnTo>
                    <a:pt x="279" y="150"/>
                  </a:lnTo>
                  <a:lnTo>
                    <a:pt x="277" y="156"/>
                  </a:lnTo>
                  <a:lnTo>
                    <a:pt x="277" y="159"/>
                  </a:lnTo>
                  <a:lnTo>
                    <a:pt x="272" y="159"/>
                  </a:lnTo>
                  <a:lnTo>
                    <a:pt x="267" y="150"/>
                  </a:lnTo>
                  <a:lnTo>
                    <a:pt x="257" y="149"/>
                  </a:lnTo>
                  <a:lnTo>
                    <a:pt x="286" y="169"/>
                  </a:lnTo>
                  <a:lnTo>
                    <a:pt x="291" y="186"/>
                  </a:lnTo>
                  <a:lnTo>
                    <a:pt x="267" y="173"/>
                  </a:lnTo>
                  <a:lnTo>
                    <a:pt x="252" y="174"/>
                  </a:lnTo>
                  <a:lnTo>
                    <a:pt x="240" y="159"/>
                  </a:lnTo>
                  <a:lnTo>
                    <a:pt x="238" y="169"/>
                  </a:lnTo>
                  <a:lnTo>
                    <a:pt x="231" y="168"/>
                  </a:lnTo>
                  <a:lnTo>
                    <a:pt x="228" y="157"/>
                  </a:lnTo>
                  <a:lnTo>
                    <a:pt x="211" y="164"/>
                  </a:lnTo>
                  <a:lnTo>
                    <a:pt x="207" y="162"/>
                  </a:lnTo>
                  <a:lnTo>
                    <a:pt x="204" y="156"/>
                  </a:lnTo>
                  <a:lnTo>
                    <a:pt x="212" y="137"/>
                  </a:lnTo>
                  <a:lnTo>
                    <a:pt x="212" y="133"/>
                  </a:lnTo>
                  <a:lnTo>
                    <a:pt x="214" y="130"/>
                  </a:lnTo>
                  <a:lnTo>
                    <a:pt x="214" y="128"/>
                  </a:lnTo>
                  <a:lnTo>
                    <a:pt x="217" y="128"/>
                  </a:lnTo>
                  <a:lnTo>
                    <a:pt x="217" y="126"/>
                  </a:lnTo>
                  <a:lnTo>
                    <a:pt x="216" y="120"/>
                  </a:lnTo>
                  <a:lnTo>
                    <a:pt x="224" y="108"/>
                  </a:lnTo>
                  <a:lnTo>
                    <a:pt x="216" y="101"/>
                  </a:lnTo>
                  <a:lnTo>
                    <a:pt x="212" y="97"/>
                  </a:lnTo>
                  <a:lnTo>
                    <a:pt x="207" y="106"/>
                  </a:lnTo>
                  <a:lnTo>
                    <a:pt x="204" y="103"/>
                  </a:lnTo>
                  <a:lnTo>
                    <a:pt x="197" y="103"/>
                  </a:lnTo>
                  <a:lnTo>
                    <a:pt x="194" y="97"/>
                  </a:lnTo>
                  <a:lnTo>
                    <a:pt x="188" y="96"/>
                  </a:lnTo>
                  <a:lnTo>
                    <a:pt x="185" y="96"/>
                  </a:lnTo>
                  <a:lnTo>
                    <a:pt x="178" y="97"/>
                  </a:lnTo>
                  <a:lnTo>
                    <a:pt x="176" y="96"/>
                  </a:lnTo>
                  <a:lnTo>
                    <a:pt x="175" y="94"/>
                  </a:lnTo>
                  <a:lnTo>
                    <a:pt x="171" y="92"/>
                  </a:lnTo>
                  <a:lnTo>
                    <a:pt x="170" y="89"/>
                  </a:lnTo>
                  <a:lnTo>
                    <a:pt x="173" y="85"/>
                  </a:lnTo>
                  <a:lnTo>
                    <a:pt x="173" y="80"/>
                  </a:lnTo>
                  <a:lnTo>
                    <a:pt x="173" y="80"/>
                  </a:lnTo>
                  <a:lnTo>
                    <a:pt x="170" y="79"/>
                  </a:lnTo>
                  <a:lnTo>
                    <a:pt x="166" y="77"/>
                  </a:lnTo>
                  <a:lnTo>
                    <a:pt x="163" y="74"/>
                  </a:lnTo>
                  <a:lnTo>
                    <a:pt x="159" y="75"/>
                  </a:lnTo>
                  <a:lnTo>
                    <a:pt x="154" y="74"/>
                  </a:lnTo>
                  <a:lnTo>
                    <a:pt x="149" y="75"/>
                  </a:lnTo>
                  <a:lnTo>
                    <a:pt x="147" y="74"/>
                  </a:lnTo>
                  <a:lnTo>
                    <a:pt x="147" y="74"/>
                  </a:lnTo>
                  <a:lnTo>
                    <a:pt x="147" y="70"/>
                  </a:lnTo>
                  <a:lnTo>
                    <a:pt x="146" y="68"/>
                  </a:lnTo>
                  <a:lnTo>
                    <a:pt x="147" y="67"/>
                  </a:lnTo>
                  <a:lnTo>
                    <a:pt x="147" y="67"/>
                  </a:lnTo>
                  <a:lnTo>
                    <a:pt x="146" y="63"/>
                  </a:lnTo>
                  <a:lnTo>
                    <a:pt x="141" y="63"/>
                  </a:lnTo>
                  <a:lnTo>
                    <a:pt x="141" y="63"/>
                  </a:lnTo>
                  <a:lnTo>
                    <a:pt x="142" y="62"/>
                  </a:lnTo>
                  <a:lnTo>
                    <a:pt x="141" y="60"/>
                  </a:lnTo>
                  <a:lnTo>
                    <a:pt x="142" y="60"/>
                  </a:lnTo>
                  <a:lnTo>
                    <a:pt x="141" y="58"/>
                  </a:lnTo>
                  <a:lnTo>
                    <a:pt x="142" y="56"/>
                  </a:lnTo>
                  <a:lnTo>
                    <a:pt x="139" y="58"/>
                  </a:lnTo>
                  <a:lnTo>
                    <a:pt x="135" y="56"/>
                  </a:lnTo>
                  <a:lnTo>
                    <a:pt x="137" y="56"/>
                  </a:lnTo>
                  <a:lnTo>
                    <a:pt x="137" y="55"/>
                  </a:lnTo>
                  <a:lnTo>
                    <a:pt x="137" y="55"/>
                  </a:lnTo>
                  <a:lnTo>
                    <a:pt x="135" y="55"/>
                  </a:lnTo>
                  <a:lnTo>
                    <a:pt x="135" y="56"/>
                  </a:lnTo>
                  <a:lnTo>
                    <a:pt x="134" y="53"/>
                  </a:lnTo>
                  <a:lnTo>
                    <a:pt x="132" y="51"/>
                  </a:lnTo>
                  <a:lnTo>
                    <a:pt x="132" y="51"/>
                  </a:lnTo>
                  <a:lnTo>
                    <a:pt x="134" y="51"/>
                  </a:lnTo>
                  <a:lnTo>
                    <a:pt x="135" y="50"/>
                  </a:lnTo>
                  <a:lnTo>
                    <a:pt x="134" y="46"/>
                  </a:lnTo>
                  <a:lnTo>
                    <a:pt x="134" y="46"/>
                  </a:lnTo>
                  <a:lnTo>
                    <a:pt x="130" y="46"/>
                  </a:lnTo>
                  <a:lnTo>
                    <a:pt x="130" y="48"/>
                  </a:lnTo>
                  <a:lnTo>
                    <a:pt x="130" y="48"/>
                  </a:lnTo>
                  <a:lnTo>
                    <a:pt x="127" y="46"/>
                  </a:lnTo>
                  <a:lnTo>
                    <a:pt x="125" y="46"/>
                  </a:lnTo>
                  <a:lnTo>
                    <a:pt x="127" y="50"/>
                  </a:lnTo>
                  <a:lnTo>
                    <a:pt x="127" y="50"/>
                  </a:lnTo>
                  <a:lnTo>
                    <a:pt x="125" y="48"/>
                  </a:lnTo>
                  <a:lnTo>
                    <a:pt x="122" y="50"/>
                  </a:lnTo>
                  <a:lnTo>
                    <a:pt x="120" y="48"/>
                  </a:lnTo>
                  <a:lnTo>
                    <a:pt x="113" y="43"/>
                  </a:lnTo>
                  <a:lnTo>
                    <a:pt x="105" y="41"/>
                  </a:lnTo>
                  <a:lnTo>
                    <a:pt x="105" y="44"/>
                  </a:lnTo>
                  <a:lnTo>
                    <a:pt x="103" y="44"/>
                  </a:lnTo>
                  <a:lnTo>
                    <a:pt x="103" y="46"/>
                  </a:lnTo>
                  <a:lnTo>
                    <a:pt x="100" y="48"/>
                  </a:lnTo>
                  <a:lnTo>
                    <a:pt x="100" y="51"/>
                  </a:lnTo>
                  <a:lnTo>
                    <a:pt x="93" y="50"/>
                  </a:lnTo>
                  <a:lnTo>
                    <a:pt x="93" y="51"/>
                  </a:lnTo>
                  <a:lnTo>
                    <a:pt x="91" y="51"/>
                  </a:lnTo>
                  <a:lnTo>
                    <a:pt x="91" y="53"/>
                  </a:lnTo>
                  <a:lnTo>
                    <a:pt x="88" y="53"/>
                  </a:lnTo>
                  <a:lnTo>
                    <a:pt x="89" y="56"/>
                  </a:lnTo>
                  <a:lnTo>
                    <a:pt x="86" y="56"/>
                  </a:lnTo>
                  <a:lnTo>
                    <a:pt x="86" y="58"/>
                  </a:lnTo>
                  <a:lnTo>
                    <a:pt x="89" y="62"/>
                  </a:lnTo>
                  <a:lnTo>
                    <a:pt x="88" y="62"/>
                  </a:lnTo>
                  <a:lnTo>
                    <a:pt x="86" y="63"/>
                  </a:lnTo>
                  <a:lnTo>
                    <a:pt x="84" y="65"/>
                  </a:lnTo>
                  <a:lnTo>
                    <a:pt x="82" y="65"/>
                  </a:lnTo>
                  <a:lnTo>
                    <a:pt x="77" y="67"/>
                  </a:lnTo>
                  <a:lnTo>
                    <a:pt x="74" y="65"/>
                  </a:lnTo>
                  <a:lnTo>
                    <a:pt x="72" y="67"/>
                  </a:lnTo>
                  <a:lnTo>
                    <a:pt x="71" y="65"/>
                  </a:lnTo>
                  <a:lnTo>
                    <a:pt x="69" y="67"/>
                  </a:lnTo>
                  <a:lnTo>
                    <a:pt x="65" y="65"/>
                  </a:lnTo>
                  <a:lnTo>
                    <a:pt x="64" y="63"/>
                  </a:lnTo>
                  <a:lnTo>
                    <a:pt x="60" y="63"/>
                  </a:lnTo>
                  <a:lnTo>
                    <a:pt x="60" y="60"/>
                  </a:lnTo>
                  <a:lnTo>
                    <a:pt x="62" y="60"/>
                  </a:lnTo>
                  <a:lnTo>
                    <a:pt x="62" y="58"/>
                  </a:lnTo>
                  <a:lnTo>
                    <a:pt x="62" y="58"/>
                  </a:lnTo>
                  <a:lnTo>
                    <a:pt x="60" y="58"/>
                  </a:lnTo>
                  <a:lnTo>
                    <a:pt x="59" y="56"/>
                  </a:lnTo>
                  <a:lnTo>
                    <a:pt x="57" y="58"/>
                  </a:lnTo>
                  <a:lnTo>
                    <a:pt x="57" y="60"/>
                  </a:lnTo>
                  <a:lnTo>
                    <a:pt x="55" y="63"/>
                  </a:lnTo>
                  <a:lnTo>
                    <a:pt x="57" y="65"/>
                  </a:lnTo>
                  <a:lnTo>
                    <a:pt x="55" y="65"/>
                  </a:lnTo>
                  <a:lnTo>
                    <a:pt x="53" y="70"/>
                  </a:lnTo>
                  <a:lnTo>
                    <a:pt x="48" y="79"/>
                  </a:lnTo>
                  <a:lnTo>
                    <a:pt x="47" y="80"/>
                  </a:lnTo>
                  <a:lnTo>
                    <a:pt x="40" y="77"/>
                  </a:lnTo>
                  <a:lnTo>
                    <a:pt x="38" y="77"/>
                  </a:lnTo>
                  <a:lnTo>
                    <a:pt x="38" y="79"/>
                  </a:lnTo>
                  <a:lnTo>
                    <a:pt x="35" y="79"/>
                  </a:lnTo>
                  <a:lnTo>
                    <a:pt x="36" y="80"/>
                  </a:lnTo>
                  <a:lnTo>
                    <a:pt x="36" y="82"/>
                  </a:lnTo>
                  <a:lnTo>
                    <a:pt x="35" y="85"/>
                  </a:lnTo>
                  <a:lnTo>
                    <a:pt x="33" y="85"/>
                  </a:lnTo>
                  <a:lnTo>
                    <a:pt x="33" y="89"/>
                  </a:lnTo>
                  <a:lnTo>
                    <a:pt x="24" y="94"/>
                  </a:lnTo>
                  <a:lnTo>
                    <a:pt x="24" y="97"/>
                  </a:lnTo>
                  <a:lnTo>
                    <a:pt x="23" y="101"/>
                  </a:lnTo>
                  <a:lnTo>
                    <a:pt x="19" y="103"/>
                  </a:lnTo>
                  <a:lnTo>
                    <a:pt x="16" y="104"/>
                  </a:lnTo>
                  <a:lnTo>
                    <a:pt x="12" y="111"/>
                  </a:lnTo>
                  <a:lnTo>
                    <a:pt x="11" y="111"/>
                  </a:lnTo>
                  <a:lnTo>
                    <a:pt x="9" y="115"/>
                  </a:lnTo>
                  <a:lnTo>
                    <a:pt x="0" y="58"/>
                  </a:lnTo>
                  <a:lnTo>
                    <a:pt x="7" y="56"/>
                  </a:lnTo>
                  <a:lnTo>
                    <a:pt x="45" y="50"/>
                  </a:lnTo>
                  <a:lnTo>
                    <a:pt x="53" y="48"/>
                  </a:lnTo>
                  <a:lnTo>
                    <a:pt x="89" y="41"/>
                  </a:lnTo>
                  <a:lnTo>
                    <a:pt x="93" y="41"/>
                  </a:lnTo>
                  <a:lnTo>
                    <a:pt x="112" y="38"/>
                  </a:lnTo>
                  <a:lnTo>
                    <a:pt x="161" y="27"/>
                  </a:lnTo>
                  <a:lnTo>
                    <a:pt x="163" y="27"/>
                  </a:lnTo>
                  <a:lnTo>
                    <a:pt x="182" y="24"/>
                  </a:lnTo>
                  <a:lnTo>
                    <a:pt x="200" y="21"/>
                  </a:lnTo>
                  <a:lnTo>
                    <a:pt x="217" y="17"/>
                  </a:lnTo>
                  <a:lnTo>
                    <a:pt x="235" y="14"/>
                  </a:lnTo>
                  <a:lnTo>
                    <a:pt x="262" y="7"/>
                  </a:lnTo>
                  <a:lnTo>
                    <a:pt x="269" y="5"/>
                  </a:lnTo>
                  <a:lnTo>
                    <a:pt x="296" y="0"/>
                  </a:lnTo>
                  <a:lnTo>
                    <a:pt x="306" y="36"/>
                  </a:lnTo>
                  <a:lnTo>
                    <a:pt x="308" y="44"/>
                  </a:lnTo>
                  <a:lnTo>
                    <a:pt x="310" y="50"/>
                  </a:lnTo>
                  <a:lnTo>
                    <a:pt x="313" y="60"/>
                  </a:lnTo>
                  <a:lnTo>
                    <a:pt x="322" y="92"/>
                  </a:lnTo>
                  <a:lnTo>
                    <a:pt x="329" y="111"/>
                  </a:lnTo>
                  <a:close/>
                  <a:moveTo>
                    <a:pt x="274" y="94"/>
                  </a:moveTo>
                  <a:lnTo>
                    <a:pt x="274" y="89"/>
                  </a:lnTo>
                  <a:lnTo>
                    <a:pt x="270" y="91"/>
                  </a:lnTo>
                  <a:lnTo>
                    <a:pt x="272" y="91"/>
                  </a:lnTo>
                  <a:lnTo>
                    <a:pt x="272" y="94"/>
                  </a:lnTo>
                  <a:lnTo>
                    <a:pt x="270" y="94"/>
                  </a:lnTo>
                  <a:lnTo>
                    <a:pt x="272" y="99"/>
                  </a:lnTo>
                  <a:lnTo>
                    <a:pt x="269" y="103"/>
                  </a:lnTo>
                  <a:lnTo>
                    <a:pt x="269" y="91"/>
                  </a:lnTo>
                  <a:lnTo>
                    <a:pt x="270" y="80"/>
                  </a:lnTo>
                  <a:lnTo>
                    <a:pt x="277" y="87"/>
                  </a:lnTo>
                  <a:lnTo>
                    <a:pt x="277" y="92"/>
                  </a:lnTo>
                  <a:lnTo>
                    <a:pt x="276" y="91"/>
                  </a:lnTo>
                  <a:lnTo>
                    <a:pt x="274" y="94"/>
                  </a:lnTo>
                  <a:close/>
                  <a:moveTo>
                    <a:pt x="385" y="121"/>
                  </a:moveTo>
                  <a:lnTo>
                    <a:pt x="387" y="121"/>
                  </a:lnTo>
                  <a:lnTo>
                    <a:pt x="387" y="135"/>
                  </a:lnTo>
                  <a:lnTo>
                    <a:pt x="385" y="121"/>
                  </a:lnTo>
                  <a:close/>
                  <a:moveTo>
                    <a:pt x="378" y="169"/>
                  </a:moveTo>
                  <a:lnTo>
                    <a:pt x="380" y="168"/>
                  </a:lnTo>
                  <a:lnTo>
                    <a:pt x="382" y="161"/>
                  </a:lnTo>
                  <a:lnTo>
                    <a:pt x="383" y="149"/>
                  </a:lnTo>
                  <a:lnTo>
                    <a:pt x="385" y="135"/>
                  </a:lnTo>
                  <a:lnTo>
                    <a:pt x="383" y="157"/>
                  </a:lnTo>
                  <a:lnTo>
                    <a:pt x="380" y="169"/>
                  </a:lnTo>
                  <a:lnTo>
                    <a:pt x="378" y="169"/>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37" name="Freeform 36"/>
            <p:cNvSpPr>
              <a:spLocks/>
            </p:cNvSpPr>
            <p:nvPr/>
          </p:nvSpPr>
          <p:spPr bwMode="gray">
            <a:xfrm>
              <a:off x="3484064" y="3297232"/>
              <a:ext cx="998362" cy="787418"/>
            </a:xfrm>
            <a:custGeom>
              <a:avLst/>
              <a:gdLst/>
              <a:ahLst/>
              <a:cxnLst>
                <a:cxn ang="0">
                  <a:pos x="596" y="419"/>
                </a:cxn>
                <a:cxn ang="0">
                  <a:pos x="595" y="446"/>
                </a:cxn>
                <a:cxn ang="0">
                  <a:pos x="593" y="489"/>
                </a:cxn>
                <a:cxn ang="0">
                  <a:pos x="511" y="482"/>
                </a:cxn>
                <a:cxn ang="0">
                  <a:pos x="504" y="482"/>
                </a:cxn>
                <a:cxn ang="0">
                  <a:pos x="427" y="475"/>
                </a:cxn>
                <a:cxn ang="0">
                  <a:pos x="330" y="466"/>
                </a:cxn>
                <a:cxn ang="0">
                  <a:pos x="325" y="466"/>
                </a:cxn>
                <a:cxn ang="0">
                  <a:pos x="282" y="461"/>
                </a:cxn>
                <a:cxn ang="0">
                  <a:pos x="258" y="460"/>
                </a:cxn>
                <a:cxn ang="0">
                  <a:pos x="217" y="456"/>
                </a:cxn>
                <a:cxn ang="0">
                  <a:pos x="184" y="453"/>
                </a:cxn>
                <a:cxn ang="0">
                  <a:pos x="183" y="451"/>
                </a:cxn>
                <a:cxn ang="0">
                  <a:pos x="138" y="446"/>
                </a:cxn>
                <a:cxn ang="0">
                  <a:pos x="133" y="444"/>
                </a:cxn>
                <a:cxn ang="0">
                  <a:pos x="56" y="436"/>
                </a:cxn>
                <a:cxn ang="0">
                  <a:pos x="0" y="427"/>
                </a:cxn>
                <a:cxn ang="0">
                  <a:pos x="10" y="360"/>
                </a:cxn>
                <a:cxn ang="0">
                  <a:pos x="14" y="333"/>
                </a:cxn>
                <a:cxn ang="0">
                  <a:pos x="17" y="304"/>
                </a:cxn>
                <a:cxn ang="0">
                  <a:pos x="19" y="294"/>
                </a:cxn>
                <a:cxn ang="0">
                  <a:pos x="22" y="268"/>
                </a:cxn>
                <a:cxn ang="0">
                  <a:pos x="34" y="174"/>
                </a:cxn>
                <a:cxn ang="0">
                  <a:pos x="37" y="157"/>
                </a:cxn>
                <a:cxn ang="0">
                  <a:pos x="39" y="143"/>
                </a:cxn>
                <a:cxn ang="0">
                  <a:pos x="48" y="84"/>
                </a:cxn>
                <a:cxn ang="0">
                  <a:pos x="55" y="36"/>
                </a:cxn>
                <a:cxn ang="0">
                  <a:pos x="60" y="0"/>
                </a:cxn>
                <a:cxn ang="0">
                  <a:pos x="150" y="10"/>
                </a:cxn>
                <a:cxn ang="0">
                  <a:pos x="198" y="17"/>
                </a:cxn>
                <a:cxn ang="0">
                  <a:pos x="234" y="22"/>
                </a:cxn>
                <a:cxn ang="0">
                  <a:pos x="277" y="25"/>
                </a:cxn>
                <a:cxn ang="0">
                  <a:pos x="287" y="27"/>
                </a:cxn>
                <a:cxn ang="0">
                  <a:pos x="360" y="36"/>
                </a:cxn>
                <a:cxn ang="0">
                  <a:pos x="388" y="37"/>
                </a:cxn>
                <a:cxn ang="0">
                  <a:pos x="460" y="44"/>
                </a:cxn>
                <a:cxn ang="0">
                  <a:pos x="497" y="48"/>
                </a:cxn>
                <a:cxn ang="0">
                  <a:pos x="513" y="48"/>
                </a:cxn>
                <a:cxn ang="0">
                  <a:pos x="571" y="53"/>
                </a:cxn>
                <a:cxn ang="0">
                  <a:pos x="574" y="53"/>
                </a:cxn>
                <a:cxn ang="0">
                  <a:pos x="620" y="56"/>
                </a:cxn>
                <a:cxn ang="0">
                  <a:pos x="619" y="84"/>
                </a:cxn>
                <a:cxn ang="0">
                  <a:pos x="617" y="89"/>
                </a:cxn>
                <a:cxn ang="0">
                  <a:pos x="615" y="118"/>
                </a:cxn>
                <a:cxn ang="0">
                  <a:pos x="615" y="126"/>
                </a:cxn>
                <a:cxn ang="0">
                  <a:pos x="612" y="164"/>
                </a:cxn>
                <a:cxn ang="0">
                  <a:pos x="610" y="210"/>
                </a:cxn>
                <a:cxn ang="0">
                  <a:pos x="610" y="210"/>
                </a:cxn>
                <a:cxn ang="0">
                  <a:pos x="607" y="258"/>
                </a:cxn>
                <a:cxn ang="0">
                  <a:pos x="607" y="268"/>
                </a:cxn>
                <a:cxn ang="0">
                  <a:pos x="603" y="304"/>
                </a:cxn>
                <a:cxn ang="0">
                  <a:pos x="603" y="313"/>
                </a:cxn>
                <a:cxn ang="0">
                  <a:pos x="601" y="350"/>
                </a:cxn>
                <a:cxn ang="0">
                  <a:pos x="601" y="352"/>
                </a:cxn>
                <a:cxn ang="0">
                  <a:pos x="598" y="408"/>
                </a:cxn>
                <a:cxn ang="0">
                  <a:pos x="596" y="419"/>
                </a:cxn>
              </a:cxnLst>
              <a:rect l="0" t="0" r="r" b="b"/>
              <a:pathLst>
                <a:path w="620" h="489">
                  <a:moveTo>
                    <a:pt x="596" y="419"/>
                  </a:moveTo>
                  <a:lnTo>
                    <a:pt x="595" y="446"/>
                  </a:lnTo>
                  <a:lnTo>
                    <a:pt x="593" y="489"/>
                  </a:lnTo>
                  <a:lnTo>
                    <a:pt x="511" y="482"/>
                  </a:lnTo>
                  <a:lnTo>
                    <a:pt x="504" y="482"/>
                  </a:lnTo>
                  <a:lnTo>
                    <a:pt x="427" y="475"/>
                  </a:lnTo>
                  <a:lnTo>
                    <a:pt x="330" y="466"/>
                  </a:lnTo>
                  <a:lnTo>
                    <a:pt x="325" y="466"/>
                  </a:lnTo>
                  <a:lnTo>
                    <a:pt x="282" y="461"/>
                  </a:lnTo>
                  <a:lnTo>
                    <a:pt x="258" y="460"/>
                  </a:lnTo>
                  <a:lnTo>
                    <a:pt x="217" y="456"/>
                  </a:lnTo>
                  <a:lnTo>
                    <a:pt x="184" y="453"/>
                  </a:lnTo>
                  <a:lnTo>
                    <a:pt x="183" y="451"/>
                  </a:lnTo>
                  <a:lnTo>
                    <a:pt x="138" y="446"/>
                  </a:lnTo>
                  <a:lnTo>
                    <a:pt x="133" y="444"/>
                  </a:lnTo>
                  <a:lnTo>
                    <a:pt x="56" y="436"/>
                  </a:lnTo>
                  <a:lnTo>
                    <a:pt x="0" y="427"/>
                  </a:lnTo>
                  <a:lnTo>
                    <a:pt x="10" y="360"/>
                  </a:lnTo>
                  <a:lnTo>
                    <a:pt x="14" y="333"/>
                  </a:lnTo>
                  <a:lnTo>
                    <a:pt x="17" y="304"/>
                  </a:lnTo>
                  <a:lnTo>
                    <a:pt x="19" y="294"/>
                  </a:lnTo>
                  <a:lnTo>
                    <a:pt x="22" y="268"/>
                  </a:lnTo>
                  <a:lnTo>
                    <a:pt x="34" y="174"/>
                  </a:lnTo>
                  <a:lnTo>
                    <a:pt x="37" y="157"/>
                  </a:lnTo>
                  <a:lnTo>
                    <a:pt x="39" y="143"/>
                  </a:lnTo>
                  <a:lnTo>
                    <a:pt x="48" y="84"/>
                  </a:lnTo>
                  <a:lnTo>
                    <a:pt x="55" y="36"/>
                  </a:lnTo>
                  <a:lnTo>
                    <a:pt x="60" y="0"/>
                  </a:lnTo>
                  <a:lnTo>
                    <a:pt x="150" y="10"/>
                  </a:lnTo>
                  <a:lnTo>
                    <a:pt x="198" y="17"/>
                  </a:lnTo>
                  <a:lnTo>
                    <a:pt x="234" y="22"/>
                  </a:lnTo>
                  <a:lnTo>
                    <a:pt x="277" y="25"/>
                  </a:lnTo>
                  <a:lnTo>
                    <a:pt x="287" y="27"/>
                  </a:lnTo>
                  <a:lnTo>
                    <a:pt x="360" y="36"/>
                  </a:lnTo>
                  <a:lnTo>
                    <a:pt x="388" y="37"/>
                  </a:lnTo>
                  <a:lnTo>
                    <a:pt x="460" y="44"/>
                  </a:lnTo>
                  <a:lnTo>
                    <a:pt x="497" y="48"/>
                  </a:lnTo>
                  <a:lnTo>
                    <a:pt x="513" y="48"/>
                  </a:lnTo>
                  <a:lnTo>
                    <a:pt x="571" y="53"/>
                  </a:lnTo>
                  <a:lnTo>
                    <a:pt x="574" y="53"/>
                  </a:lnTo>
                  <a:lnTo>
                    <a:pt x="620" y="56"/>
                  </a:lnTo>
                  <a:lnTo>
                    <a:pt x="619" y="84"/>
                  </a:lnTo>
                  <a:lnTo>
                    <a:pt x="617" y="89"/>
                  </a:lnTo>
                  <a:lnTo>
                    <a:pt x="615" y="118"/>
                  </a:lnTo>
                  <a:lnTo>
                    <a:pt x="615" y="126"/>
                  </a:lnTo>
                  <a:lnTo>
                    <a:pt x="612" y="164"/>
                  </a:lnTo>
                  <a:lnTo>
                    <a:pt x="610" y="210"/>
                  </a:lnTo>
                  <a:lnTo>
                    <a:pt x="610" y="210"/>
                  </a:lnTo>
                  <a:lnTo>
                    <a:pt x="607" y="258"/>
                  </a:lnTo>
                  <a:lnTo>
                    <a:pt x="607" y="268"/>
                  </a:lnTo>
                  <a:lnTo>
                    <a:pt x="603" y="304"/>
                  </a:lnTo>
                  <a:lnTo>
                    <a:pt x="603" y="313"/>
                  </a:lnTo>
                  <a:lnTo>
                    <a:pt x="601" y="350"/>
                  </a:lnTo>
                  <a:lnTo>
                    <a:pt x="601" y="352"/>
                  </a:lnTo>
                  <a:lnTo>
                    <a:pt x="598" y="408"/>
                  </a:lnTo>
                  <a:lnTo>
                    <a:pt x="596" y="419"/>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38" name="Freeform 37"/>
            <p:cNvSpPr>
              <a:spLocks noEditPoints="1"/>
            </p:cNvSpPr>
            <p:nvPr/>
          </p:nvSpPr>
          <p:spPr bwMode="gray">
            <a:xfrm>
              <a:off x="6150658" y="3646659"/>
              <a:ext cx="1016075" cy="516894"/>
            </a:xfrm>
            <a:custGeom>
              <a:avLst/>
              <a:gdLst/>
              <a:ahLst/>
              <a:cxnLst>
                <a:cxn ang="0">
                  <a:pos x="162" y="294"/>
                </a:cxn>
                <a:cxn ang="0">
                  <a:pos x="130" y="307"/>
                </a:cxn>
                <a:cxn ang="0">
                  <a:pos x="63" y="318"/>
                </a:cxn>
                <a:cxn ang="0">
                  <a:pos x="19" y="307"/>
                </a:cxn>
                <a:cxn ang="0">
                  <a:pos x="32" y="302"/>
                </a:cxn>
                <a:cxn ang="0">
                  <a:pos x="36" y="290"/>
                </a:cxn>
                <a:cxn ang="0">
                  <a:pos x="36" y="270"/>
                </a:cxn>
                <a:cxn ang="0">
                  <a:pos x="31" y="256"/>
                </a:cxn>
                <a:cxn ang="0">
                  <a:pos x="65" y="246"/>
                </a:cxn>
                <a:cxn ang="0">
                  <a:pos x="87" y="255"/>
                </a:cxn>
                <a:cxn ang="0">
                  <a:pos x="84" y="229"/>
                </a:cxn>
                <a:cxn ang="0">
                  <a:pos x="118" y="203"/>
                </a:cxn>
                <a:cxn ang="0">
                  <a:pos x="120" y="171"/>
                </a:cxn>
                <a:cxn ang="0">
                  <a:pos x="126" y="164"/>
                </a:cxn>
                <a:cxn ang="0">
                  <a:pos x="142" y="159"/>
                </a:cxn>
                <a:cxn ang="0">
                  <a:pos x="154" y="164"/>
                </a:cxn>
                <a:cxn ang="0">
                  <a:pos x="166" y="154"/>
                </a:cxn>
                <a:cxn ang="0">
                  <a:pos x="191" y="162"/>
                </a:cxn>
                <a:cxn ang="0">
                  <a:pos x="205" y="150"/>
                </a:cxn>
                <a:cxn ang="0">
                  <a:pos x="226" y="152"/>
                </a:cxn>
                <a:cxn ang="0">
                  <a:pos x="232" y="157"/>
                </a:cxn>
                <a:cxn ang="0">
                  <a:pos x="244" y="147"/>
                </a:cxn>
                <a:cxn ang="0">
                  <a:pos x="248" y="131"/>
                </a:cxn>
                <a:cxn ang="0">
                  <a:pos x="251" y="126"/>
                </a:cxn>
                <a:cxn ang="0">
                  <a:pos x="253" y="116"/>
                </a:cxn>
                <a:cxn ang="0">
                  <a:pos x="265" y="131"/>
                </a:cxn>
                <a:cxn ang="0">
                  <a:pos x="291" y="133"/>
                </a:cxn>
                <a:cxn ang="0">
                  <a:pos x="299" y="102"/>
                </a:cxn>
                <a:cxn ang="0">
                  <a:pos x="314" y="84"/>
                </a:cxn>
                <a:cxn ang="0">
                  <a:pos x="325" y="55"/>
                </a:cxn>
                <a:cxn ang="0">
                  <a:pos x="349" y="51"/>
                </a:cxn>
                <a:cxn ang="0">
                  <a:pos x="374" y="34"/>
                </a:cxn>
                <a:cxn ang="0">
                  <a:pos x="369" y="24"/>
                </a:cxn>
                <a:cxn ang="0">
                  <a:pos x="366" y="10"/>
                </a:cxn>
                <a:cxn ang="0">
                  <a:pos x="388" y="7"/>
                </a:cxn>
                <a:cxn ang="0">
                  <a:pos x="405" y="7"/>
                </a:cxn>
                <a:cxn ang="0">
                  <a:pos x="422" y="24"/>
                </a:cxn>
                <a:cxn ang="0">
                  <a:pos x="451" y="32"/>
                </a:cxn>
                <a:cxn ang="0">
                  <a:pos x="472" y="44"/>
                </a:cxn>
                <a:cxn ang="0">
                  <a:pos x="485" y="36"/>
                </a:cxn>
                <a:cxn ang="0">
                  <a:pos x="504" y="43"/>
                </a:cxn>
                <a:cxn ang="0">
                  <a:pos x="521" y="31"/>
                </a:cxn>
                <a:cxn ang="0">
                  <a:pos x="537" y="29"/>
                </a:cxn>
                <a:cxn ang="0">
                  <a:pos x="554" y="43"/>
                </a:cxn>
                <a:cxn ang="0">
                  <a:pos x="567" y="68"/>
                </a:cxn>
                <a:cxn ang="0">
                  <a:pos x="564" y="82"/>
                </a:cxn>
                <a:cxn ang="0">
                  <a:pos x="579" y="104"/>
                </a:cxn>
                <a:cxn ang="0">
                  <a:pos x="596" y="121"/>
                </a:cxn>
                <a:cxn ang="0">
                  <a:pos x="614" y="138"/>
                </a:cxn>
                <a:cxn ang="0">
                  <a:pos x="622" y="143"/>
                </a:cxn>
                <a:cxn ang="0">
                  <a:pos x="602" y="176"/>
                </a:cxn>
                <a:cxn ang="0">
                  <a:pos x="574" y="200"/>
                </a:cxn>
                <a:cxn ang="0">
                  <a:pos x="564" y="220"/>
                </a:cxn>
                <a:cxn ang="0">
                  <a:pos x="543" y="241"/>
                </a:cxn>
                <a:cxn ang="0">
                  <a:pos x="511" y="253"/>
                </a:cxn>
                <a:cxn ang="0">
                  <a:pos x="451" y="268"/>
                </a:cxn>
                <a:cxn ang="0">
                  <a:pos x="362" y="275"/>
                </a:cxn>
                <a:cxn ang="0">
                  <a:pos x="260" y="284"/>
                </a:cxn>
                <a:cxn ang="0">
                  <a:pos x="5" y="314"/>
                </a:cxn>
              </a:cxnLst>
              <a:rect l="0" t="0" r="r" b="b"/>
              <a:pathLst>
                <a:path w="631" h="321">
                  <a:moveTo>
                    <a:pt x="260" y="284"/>
                  </a:moveTo>
                  <a:lnTo>
                    <a:pt x="238" y="285"/>
                  </a:lnTo>
                  <a:lnTo>
                    <a:pt x="212" y="289"/>
                  </a:lnTo>
                  <a:lnTo>
                    <a:pt x="209" y="289"/>
                  </a:lnTo>
                  <a:lnTo>
                    <a:pt x="188" y="290"/>
                  </a:lnTo>
                  <a:lnTo>
                    <a:pt x="162" y="294"/>
                  </a:lnTo>
                  <a:lnTo>
                    <a:pt x="159" y="294"/>
                  </a:lnTo>
                  <a:lnTo>
                    <a:pt x="145" y="296"/>
                  </a:lnTo>
                  <a:lnTo>
                    <a:pt x="144" y="292"/>
                  </a:lnTo>
                  <a:lnTo>
                    <a:pt x="126" y="292"/>
                  </a:lnTo>
                  <a:lnTo>
                    <a:pt x="130" y="302"/>
                  </a:lnTo>
                  <a:lnTo>
                    <a:pt x="130" y="307"/>
                  </a:lnTo>
                  <a:lnTo>
                    <a:pt x="130" y="313"/>
                  </a:lnTo>
                  <a:lnTo>
                    <a:pt x="91" y="316"/>
                  </a:lnTo>
                  <a:lnTo>
                    <a:pt x="91" y="316"/>
                  </a:lnTo>
                  <a:lnTo>
                    <a:pt x="65" y="318"/>
                  </a:lnTo>
                  <a:lnTo>
                    <a:pt x="63" y="318"/>
                  </a:lnTo>
                  <a:lnTo>
                    <a:pt x="63" y="318"/>
                  </a:lnTo>
                  <a:lnTo>
                    <a:pt x="19" y="319"/>
                  </a:lnTo>
                  <a:lnTo>
                    <a:pt x="14" y="321"/>
                  </a:lnTo>
                  <a:lnTo>
                    <a:pt x="12" y="319"/>
                  </a:lnTo>
                  <a:lnTo>
                    <a:pt x="15" y="307"/>
                  </a:lnTo>
                  <a:lnTo>
                    <a:pt x="17" y="307"/>
                  </a:lnTo>
                  <a:lnTo>
                    <a:pt x="19" y="307"/>
                  </a:lnTo>
                  <a:lnTo>
                    <a:pt x="21" y="307"/>
                  </a:lnTo>
                  <a:lnTo>
                    <a:pt x="24" y="313"/>
                  </a:lnTo>
                  <a:lnTo>
                    <a:pt x="27" y="313"/>
                  </a:lnTo>
                  <a:lnTo>
                    <a:pt x="29" y="311"/>
                  </a:lnTo>
                  <a:lnTo>
                    <a:pt x="31" y="306"/>
                  </a:lnTo>
                  <a:lnTo>
                    <a:pt x="32" y="302"/>
                  </a:lnTo>
                  <a:lnTo>
                    <a:pt x="32" y="301"/>
                  </a:lnTo>
                  <a:lnTo>
                    <a:pt x="29" y="297"/>
                  </a:lnTo>
                  <a:lnTo>
                    <a:pt x="29" y="296"/>
                  </a:lnTo>
                  <a:lnTo>
                    <a:pt x="31" y="292"/>
                  </a:lnTo>
                  <a:lnTo>
                    <a:pt x="34" y="292"/>
                  </a:lnTo>
                  <a:lnTo>
                    <a:pt x="36" y="290"/>
                  </a:lnTo>
                  <a:lnTo>
                    <a:pt x="36" y="287"/>
                  </a:lnTo>
                  <a:lnTo>
                    <a:pt x="32" y="287"/>
                  </a:lnTo>
                  <a:lnTo>
                    <a:pt x="31" y="284"/>
                  </a:lnTo>
                  <a:lnTo>
                    <a:pt x="31" y="282"/>
                  </a:lnTo>
                  <a:lnTo>
                    <a:pt x="34" y="280"/>
                  </a:lnTo>
                  <a:lnTo>
                    <a:pt x="36" y="270"/>
                  </a:lnTo>
                  <a:lnTo>
                    <a:pt x="36" y="268"/>
                  </a:lnTo>
                  <a:lnTo>
                    <a:pt x="34" y="266"/>
                  </a:lnTo>
                  <a:lnTo>
                    <a:pt x="32" y="266"/>
                  </a:lnTo>
                  <a:lnTo>
                    <a:pt x="29" y="263"/>
                  </a:lnTo>
                  <a:lnTo>
                    <a:pt x="29" y="258"/>
                  </a:lnTo>
                  <a:lnTo>
                    <a:pt x="31" y="256"/>
                  </a:lnTo>
                  <a:lnTo>
                    <a:pt x="34" y="253"/>
                  </a:lnTo>
                  <a:lnTo>
                    <a:pt x="38" y="244"/>
                  </a:lnTo>
                  <a:lnTo>
                    <a:pt x="43" y="241"/>
                  </a:lnTo>
                  <a:lnTo>
                    <a:pt x="48" y="241"/>
                  </a:lnTo>
                  <a:lnTo>
                    <a:pt x="55" y="243"/>
                  </a:lnTo>
                  <a:lnTo>
                    <a:pt x="65" y="246"/>
                  </a:lnTo>
                  <a:lnTo>
                    <a:pt x="65" y="248"/>
                  </a:lnTo>
                  <a:lnTo>
                    <a:pt x="70" y="248"/>
                  </a:lnTo>
                  <a:lnTo>
                    <a:pt x="77" y="251"/>
                  </a:lnTo>
                  <a:lnTo>
                    <a:pt x="80" y="255"/>
                  </a:lnTo>
                  <a:lnTo>
                    <a:pt x="85" y="255"/>
                  </a:lnTo>
                  <a:lnTo>
                    <a:pt x="87" y="255"/>
                  </a:lnTo>
                  <a:lnTo>
                    <a:pt x="89" y="253"/>
                  </a:lnTo>
                  <a:lnTo>
                    <a:pt x="91" y="251"/>
                  </a:lnTo>
                  <a:lnTo>
                    <a:pt x="92" y="244"/>
                  </a:lnTo>
                  <a:lnTo>
                    <a:pt x="89" y="239"/>
                  </a:lnTo>
                  <a:lnTo>
                    <a:pt x="84" y="234"/>
                  </a:lnTo>
                  <a:lnTo>
                    <a:pt x="84" y="229"/>
                  </a:lnTo>
                  <a:lnTo>
                    <a:pt x="85" y="219"/>
                  </a:lnTo>
                  <a:lnTo>
                    <a:pt x="91" y="215"/>
                  </a:lnTo>
                  <a:lnTo>
                    <a:pt x="96" y="217"/>
                  </a:lnTo>
                  <a:lnTo>
                    <a:pt x="99" y="212"/>
                  </a:lnTo>
                  <a:lnTo>
                    <a:pt x="118" y="207"/>
                  </a:lnTo>
                  <a:lnTo>
                    <a:pt x="118" y="203"/>
                  </a:lnTo>
                  <a:lnTo>
                    <a:pt x="113" y="196"/>
                  </a:lnTo>
                  <a:lnTo>
                    <a:pt x="109" y="191"/>
                  </a:lnTo>
                  <a:lnTo>
                    <a:pt x="109" y="188"/>
                  </a:lnTo>
                  <a:lnTo>
                    <a:pt x="111" y="183"/>
                  </a:lnTo>
                  <a:lnTo>
                    <a:pt x="116" y="179"/>
                  </a:lnTo>
                  <a:lnTo>
                    <a:pt x="120" y="171"/>
                  </a:lnTo>
                  <a:lnTo>
                    <a:pt x="121" y="172"/>
                  </a:lnTo>
                  <a:lnTo>
                    <a:pt x="125" y="174"/>
                  </a:lnTo>
                  <a:lnTo>
                    <a:pt x="126" y="171"/>
                  </a:lnTo>
                  <a:lnTo>
                    <a:pt x="128" y="171"/>
                  </a:lnTo>
                  <a:lnTo>
                    <a:pt x="130" y="167"/>
                  </a:lnTo>
                  <a:lnTo>
                    <a:pt x="126" y="164"/>
                  </a:lnTo>
                  <a:lnTo>
                    <a:pt x="126" y="161"/>
                  </a:lnTo>
                  <a:lnTo>
                    <a:pt x="128" y="159"/>
                  </a:lnTo>
                  <a:lnTo>
                    <a:pt x="130" y="157"/>
                  </a:lnTo>
                  <a:lnTo>
                    <a:pt x="133" y="161"/>
                  </a:lnTo>
                  <a:lnTo>
                    <a:pt x="137" y="162"/>
                  </a:lnTo>
                  <a:lnTo>
                    <a:pt x="142" y="159"/>
                  </a:lnTo>
                  <a:lnTo>
                    <a:pt x="144" y="159"/>
                  </a:lnTo>
                  <a:lnTo>
                    <a:pt x="145" y="159"/>
                  </a:lnTo>
                  <a:lnTo>
                    <a:pt x="147" y="159"/>
                  </a:lnTo>
                  <a:lnTo>
                    <a:pt x="149" y="166"/>
                  </a:lnTo>
                  <a:lnTo>
                    <a:pt x="150" y="166"/>
                  </a:lnTo>
                  <a:lnTo>
                    <a:pt x="154" y="164"/>
                  </a:lnTo>
                  <a:lnTo>
                    <a:pt x="156" y="162"/>
                  </a:lnTo>
                  <a:lnTo>
                    <a:pt x="156" y="159"/>
                  </a:lnTo>
                  <a:lnTo>
                    <a:pt x="152" y="155"/>
                  </a:lnTo>
                  <a:lnTo>
                    <a:pt x="154" y="150"/>
                  </a:lnTo>
                  <a:lnTo>
                    <a:pt x="162" y="155"/>
                  </a:lnTo>
                  <a:lnTo>
                    <a:pt x="166" y="154"/>
                  </a:lnTo>
                  <a:lnTo>
                    <a:pt x="173" y="152"/>
                  </a:lnTo>
                  <a:lnTo>
                    <a:pt x="179" y="157"/>
                  </a:lnTo>
                  <a:lnTo>
                    <a:pt x="183" y="159"/>
                  </a:lnTo>
                  <a:lnTo>
                    <a:pt x="186" y="161"/>
                  </a:lnTo>
                  <a:lnTo>
                    <a:pt x="190" y="162"/>
                  </a:lnTo>
                  <a:lnTo>
                    <a:pt x="191" y="162"/>
                  </a:lnTo>
                  <a:lnTo>
                    <a:pt x="195" y="166"/>
                  </a:lnTo>
                  <a:lnTo>
                    <a:pt x="197" y="167"/>
                  </a:lnTo>
                  <a:lnTo>
                    <a:pt x="200" y="164"/>
                  </a:lnTo>
                  <a:lnTo>
                    <a:pt x="202" y="154"/>
                  </a:lnTo>
                  <a:lnTo>
                    <a:pt x="203" y="150"/>
                  </a:lnTo>
                  <a:lnTo>
                    <a:pt x="205" y="150"/>
                  </a:lnTo>
                  <a:lnTo>
                    <a:pt x="210" y="149"/>
                  </a:lnTo>
                  <a:lnTo>
                    <a:pt x="212" y="147"/>
                  </a:lnTo>
                  <a:lnTo>
                    <a:pt x="215" y="143"/>
                  </a:lnTo>
                  <a:lnTo>
                    <a:pt x="219" y="142"/>
                  </a:lnTo>
                  <a:lnTo>
                    <a:pt x="220" y="143"/>
                  </a:lnTo>
                  <a:lnTo>
                    <a:pt x="226" y="152"/>
                  </a:lnTo>
                  <a:lnTo>
                    <a:pt x="227" y="152"/>
                  </a:lnTo>
                  <a:lnTo>
                    <a:pt x="231" y="150"/>
                  </a:lnTo>
                  <a:lnTo>
                    <a:pt x="232" y="149"/>
                  </a:lnTo>
                  <a:lnTo>
                    <a:pt x="232" y="150"/>
                  </a:lnTo>
                  <a:lnTo>
                    <a:pt x="232" y="155"/>
                  </a:lnTo>
                  <a:lnTo>
                    <a:pt x="232" y="157"/>
                  </a:lnTo>
                  <a:lnTo>
                    <a:pt x="234" y="157"/>
                  </a:lnTo>
                  <a:lnTo>
                    <a:pt x="238" y="155"/>
                  </a:lnTo>
                  <a:lnTo>
                    <a:pt x="238" y="149"/>
                  </a:lnTo>
                  <a:lnTo>
                    <a:pt x="239" y="147"/>
                  </a:lnTo>
                  <a:lnTo>
                    <a:pt x="243" y="147"/>
                  </a:lnTo>
                  <a:lnTo>
                    <a:pt x="244" y="147"/>
                  </a:lnTo>
                  <a:lnTo>
                    <a:pt x="244" y="145"/>
                  </a:lnTo>
                  <a:lnTo>
                    <a:pt x="243" y="140"/>
                  </a:lnTo>
                  <a:lnTo>
                    <a:pt x="243" y="137"/>
                  </a:lnTo>
                  <a:lnTo>
                    <a:pt x="243" y="133"/>
                  </a:lnTo>
                  <a:lnTo>
                    <a:pt x="244" y="133"/>
                  </a:lnTo>
                  <a:lnTo>
                    <a:pt x="248" y="131"/>
                  </a:lnTo>
                  <a:lnTo>
                    <a:pt x="250" y="130"/>
                  </a:lnTo>
                  <a:lnTo>
                    <a:pt x="250" y="128"/>
                  </a:lnTo>
                  <a:lnTo>
                    <a:pt x="246" y="126"/>
                  </a:lnTo>
                  <a:lnTo>
                    <a:pt x="246" y="125"/>
                  </a:lnTo>
                  <a:lnTo>
                    <a:pt x="248" y="125"/>
                  </a:lnTo>
                  <a:lnTo>
                    <a:pt x="251" y="126"/>
                  </a:lnTo>
                  <a:lnTo>
                    <a:pt x="253" y="125"/>
                  </a:lnTo>
                  <a:lnTo>
                    <a:pt x="256" y="123"/>
                  </a:lnTo>
                  <a:lnTo>
                    <a:pt x="258" y="121"/>
                  </a:lnTo>
                  <a:lnTo>
                    <a:pt x="256" y="121"/>
                  </a:lnTo>
                  <a:lnTo>
                    <a:pt x="253" y="120"/>
                  </a:lnTo>
                  <a:lnTo>
                    <a:pt x="253" y="116"/>
                  </a:lnTo>
                  <a:lnTo>
                    <a:pt x="255" y="116"/>
                  </a:lnTo>
                  <a:lnTo>
                    <a:pt x="256" y="118"/>
                  </a:lnTo>
                  <a:lnTo>
                    <a:pt x="260" y="121"/>
                  </a:lnTo>
                  <a:lnTo>
                    <a:pt x="261" y="128"/>
                  </a:lnTo>
                  <a:lnTo>
                    <a:pt x="263" y="130"/>
                  </a:lnTo>
                  <a:lnTo>
                    <a:pt x="265" y="131"/>
                  </a:lnTo>
                  <a:lnTo>
                    <a:pt x="272" y="135"/>
                  </a:lnTo>
                  <a:lnTo>
                    <a:pt x="279" y="135"/>
                  </a:lnTo>
                  <a:lnTo>
                    <a:pt x="284" y="138"/>
                  </a:lnTo>
                  <a:lnTo>
                    <a:pt x="284" y="135"/>
                  </a:lnTo>
                  <a:lnTo>
                    <a:pt x="287" y="135"/>
                  </a:lnTo>
                  <a:lnTo>
                    <a:pt x="291" y="133"/>
                  </a:lnTo>
                  <a:lnTo>
                    <a:pt x="292" y="130"/>
                  </a:lnTo>
                  <a:lnTo>
                    <a:pt x="294" y="126"/>
                  </a:lnTo>
                  <a:lnTo>
                    <a:pt x="292" y="114"/>
                  </a:lnTo>
                  <a:lnTo>
                    <a:pt x="297" y="108"/>
                  </a:lnTo>
                  <a:lnTo>
                    <a:pt x="297" y="102"/>
                  </a:lnTo>
                  <a:lnTo>
                    <a:pt x="299" y="102"/>
                  </a:lnTo>
                  <a:lnTo>
                    <a:pt x="301" y="102"/>
                  </a:lnTo>
                  <a:lnTo>
                    <a:pt x="304" y="102"/>
                  </a:lnTo>
                  <a:lnTo>
                    <a:pt x="309" y="99"/>
                  </a:lnTo>
                  <a:lnTo>
                    <a:pt x="313" y="96"/>
                  </a:lnTo>
                  <a:lnTo>
                    <a:pt x="313" y="90"/>
                  </a:lnTo>
                  <a:lnTo>
                    <a:pt x="314" y="84"/>
                  </a:lnTo>
                  <a:lnTo>
                    <a:pt x="323" y="79"/>
                  </a:lnTo>
                  <a:lnTo>
                    <a:pt x="325" y="73"/>
                  </a:lnTo>
                  <a:lnTo>
                    <a:pt x="328" y="72"/>
                  </a:lnTo>
                  <a:lnTo>
                    <a:pt x="328" y="68"/>
                  </a:lnTo>
                  <a:lnTo>
                    <a:pt x="328" y="67"/>
                  </a:lnTo>
                  <a:lnTo>
                    <a:pt x="325" y="55"/>
                  </a:lnTo>
                  <a:lnTo>
                    <a:pt x="325" y="51"/>
                  </a:lnTo>
                  <a:lnTo>
                    <a:pt x="326" y="49"/>
                  </a:lnTo>
                  <a:lnTo>
                    <a:pt x="333" y="49"/>
                  </a:lnTo>
                  <a:lnTo>
                    <a:pt x="338" y="48"/>
                  </a:lnTo>
                  <a:lnTo>
                    <a:pt x="345" y="53"/>
                  </a:lnTo>
                  <a:lnTo>
                    <a:pt x="349" y="51"/>
                  </a:lnTo>
                  <a:lnTo>
                    <a:pt x="352" y="49"/>
                  </a:lnTo>
                  <a:lnTo>
                    <a:pt x="355" y="46"/>
                  </a:lnTo>
                  <a:lnTo>
                    <a:pt x="359" y="43"/>
                  </a:lnTo>
                  <a:lnTo>
                    <a:pt x="362" y="41"/>
                  </a:lnTo>
                  <a:lnTo>
                    <a:pt x="376" y="37"/>
                  </a:lnTo>
                  <a:lnTo>
                    <a:pt x="374" y="34"/>
                  </a:lnTo>
                  <a:lnTo>
                    <a:pt x="378" y="31"/>
                  </a:lnTo>
                  <a:lnTo>
                    <a:pt x="376" y="29"/>
                  </a:lnTo>
                  <a:lnTo>
                    <a:pt x="376" y="27"/>
                  </a:lnTo>
                  <a:lnTo>
                    <a:pt x="371" y="27"/>
                  </a:lnTo>
                  <a:lnTo>
                    <a:pt x="369" y="26"/>
                  </a:lnTo>
                  <a:lnTo>
                    <a:pt x="369" y="24"/>
                  </a:lnTo>
                  <a:lnTo>
                    <a:pt x="371" y="20"/>
                  </a:lnTo>
                  <a:lnTo>
                    <a:pt x="373" y="19"/>
                  </a:lnTo>
                  <a:lnTo>
                    <a:pt x="371" y="15"/>
                  </a:lnTo>
                  <a:lnTo>
                    <a:pt x="367" y="14"/>
                  </a:lnTo>
                  <a:lnTo>
                    <a:pt x="366" y="12"/>
                  </a:lnTo>
                  <a:lnTo>
                    <a:pt x="366" y="10"/>
                  </a:lnTo>
                  <a:lnTo>
                    <a:pt x="371" y="5"/>
                  </a:lnTo>
                  <a:lnTo>
                    <a:pt x="373" y="5"/>
                  </a:lnTo>
                  <a:lnTo>
                    <a:pt x="374" y="5"/>
                  </a:lnTo>
                  <a:lnTo>
                    <a:pt x="378" y="0"/>
                  </a:lnTo>
                  <a:lnTo>
                    <a:pt x="385" y="5"/>
                  </a:lnTo>
                  <a:lnTo>
                    <a:pt x="388" y="7"/>
                  </a:lnTo>
                  <a:lnTo>
                    <a:pt x="390" y="7"/>
                  </a:lnTo>
                  <a:lnTo>
                    <a:pt x="397" y="3"/>
                  </a:lnTo>
                  <a:lnTo>
                    <a:pt x="398" y="2"/>
                  </a:lnTo>
                  <a:lnTo>
                    <a:pt x="402" y="0"/>
                  </a:lnTo>
                  <a:lnTo>
                    <a:pt x="403" y="3"/>
                  </a:lnTo>
                  <a:lnTo>
                    <a:pt x="405" y="7"/>
                  </a:lnTo>
                  <a:lnTo>
                    <a:pt x="407" y="8"/>
                  </a:lnTo>
                  <a:lnTo>
                    <a:pt x="412" y="7"/>
                  </a:lnTo>
                  <a:lnTo>
                    <a:pt x="414" y="10"/>
                  </a:lnTo>
                  <a:lnTo>
                    <a:pt x="417" y="17"/>
                  </a:lnTo>
                  <a:lnTo>
                    <a:pt x="420" y="19"/>
                  </a:lnTo>
                  <a:lnTo>
                    <a:pt x="422" y="24"/>
                  </a:lnTo>
                  <a:lnTo>
                    <a:pt x="424" y="31"/>
                  </a:lnTo>
                  <a:lnTo>
                    <a:pt x="429" y="32"/>
                  </a:lnTo>
                  <a:lnTo>
                    <a:pt x="436" y="34"/>
                  </a:lnTo>
                  <a:lnTo>
                    <a:pt x="439" y="34"/>
                  </a:lnTo>
                  <a:lnTo>
                    <a:pt x="446" y="31"/>
                  </a:lnTo>
                  <a:lnTo>
                    <a:pt x="451" y="32"/>
                  </a:lnTo>
                  <a:lnTo>
                    <a:pt x="455" y="34"/>
                  </a:lnTo>
                  <a:lnTo>
                    <a:pt x="458" y="37"/>
                  </a:lnTo>
                  <a:lnTo>
                    <a:pt x="461" y="39"/>
                  </a:lnTo>
                  <a:lnTo>
                    <a:pt x="463" y="43"/>
                  </a:lnTo>
                  <a:lnTo>
                    <a:pt x="468" y="44"/>
                  </a:lnTo>
                  <a:lnTo>
                    <a:pt x="472" y="44"/>
                  </a:lnTo>
                  <a:lnTo>
                    <a:pt x="473" y="44"/>
                  </a:lnTo>
                  <a:lnTo>
                    <a:pt x="475" y="43"/>
                  </a:lnTo>
                  <a:lnTo>
                    <a:pt x="475" y="39"/>
                  </a:lnTo>
                  <a:lnTo>
                    <a:pt x="475" y="37"/>
                  </a:lnTo>
                  <a:lnTo>
                    <a:pt x="484" y="36"/>
                  </a:lnTo>
                  <a:lnTo>
                    <a:pt x="485" y="36"/>
                  </a:lnTo>
                  <a:lnTo>
                    <a:pt x="491" y="37"/>
                  </a:lnTo>
                  <a:lnTo>
                    <a:pt x="497" y="37"/>
                  </a:lnTo>
                  <a:lnTo>
                    <a:pt x="501" y="39"/>
                  </a:lnTo>
                  <a:lnTo>
                    <a:pt x="501" y="43"/>
                  </a:lnTo>
                  <a:lnTo>
                    <a:pt x="502" y="44"/>
                  </a:lnTo>
                  <a:lnTo>
                    <a:pt x="504" y="43"/>
                  </a:lnTo>
                  <a:lnTo>
                    <a:pt x="506" y="43"/>
                  </a:lnTo>
                  <a:lnTo>
                    <a:pt x="508" y="39"/>
                  </a:lnTo>
                  <a:lnTo>
                    <a:pt x="513" y="41"/>
                  </a:lnTo>
                  <a:lnTo>
                    <a:pt x="516" y="39"/>
                  </a:lnTo>
                  <a:lnTo>
                    <a:pt x="518" y="34"/>
                  </a:lnTo>
                  <a:lnTo>
                    <a:pt x="521" y="31"/>
                  </a:lnTo>
                  <a:lnTo>
                    <a:pt x="525" y="27"/>
                  </a:lnTo>
                  <a:lnTo>
                    <a:pt x="528" y="27"/>
                  </a:lnTo>
                  <a:lnTo>
                    <a:pt x="532" y="24"/>
                  </a:lnTo>
                  <a:lnTo>
                    <a:pt x="535" y="24"/>
                  </a:lnTo>
                  <a:lnTo>
                    <a:pt x="537" y="26"/>
                  </a:lnTo>
                  <a:lnTo>
                    <a:pt x="537" y="29"/>
                  </a:lnTo>
                  <a:lnTo>
                    <a:pt x="538" y="32"/>
                  </a:lnTo>
                  <a:lnTo>
                    <a:pt x="540" y="37"/>
                  </a:lnTo>
                  <a:lnTo>
                    <a:pt x="543" y="41"/>
                  </a:lnTo>
                  <a:lnTo>
                    <a:pt x="545" y="43"/>
                  </a:lnTo>
                  <a:lnTo>
                    <a:pt x="550" y="43"/>
                  </a:lnTo>
                  <a:lnTo>
                    <a:pt x="554" y="43"/>
                  </a:lnTo>
                  <a:lnTo>
                    <a:pt x="557" y="46"/>
                  </a:lnTo>
                  <a:lnTo>
                    <a:pt x="562" y="49"/>
                  </a:lnTo>
                  <a:lnTo>
                    <a:pt x="566" y="55"/>
                  </a:lnTo>
                  <a:lnTo>
                    <a:pt x="564" y="60"/>
                  </a:lnTo>
                  <a:lnTo>
                    <a:pt x="567" y="67"/>
                  </a:lnTo>
                  <a:lnTo>
                    <a:pt x="567" y="68"/>
                  </a:lnTo>
                  <a:lnTo>
                    <a:pt x="567" y="72"/>
                  </a:lnTo>
                  <a:lnTo>
                    <a:pt x="567" y="73"/>
                  </a:lnTo>
                  <a:lnTo>
                    <a:pt x="566" y="73"/>
                  </a:lnTo>
                  <a:lnTo>
                    <a:pt x="566" y="79"/>
                  </a:lnTo>
                  <a:lnTo>
                    <a:pt x="566" y="80"/>
                  </a:lnTo>
                  <a:lnTo>
                    <a:pt x="564" y="82"/>
                  </a:lnTo>
                  <a:lnTo>
                    <a:pt x="564" y="84"/>
                  </a:lnTo>
                  <a:lnTo>
                    <a:pt x="569" y="87"/>
                  </a:lnTo>
                  <a:lnTo>
                    <a:pt x="576" y="97"/>
                  </a:lnTo>
                  <a:lnTo>
                    <a:pt x="581" y="101"/>
                  </a:lnTo>
                  <a:lnTo>
                    <a:pt x="581" y="102"/>
                  </a:lnTo>
                  <a:lnTo>
                    <a:pt x="579" y="104"/>
                  </a:lnTo>
                  <a:lnTo>
                    <a:pt x="579" y="106"/>
                  </a:lnTo>
                  <a:lnTo>
                    <a:pt x="585" y="109"/>
                  </a:lnTo>
                  <a:lnTo>
                    <a:pt x="586" y="111"/>
                  </a:lnTo>
                  <a:lnTo>
                    <a:pt x="590" y="118"/>
                  </a:lnTo>
                  <a:lnTo>
                    <a:pt x="595" y="120"/>
                  </a:lnTo>
                  <a:lnTo>
                    <a:pt x="596" y="121"/>
                  </a:lnTo>
                  <a:lnTo>
                    <a:pt x="596" y="123"/>
                  </a:lnTo>
                  <a:lnTo>
                    <a:pt x="600" y="131"/>
                  </a:lnTo>
                  <a:lnTo>
                    <a:pt x="605" y="131"/>
                  </a:lnTo>
                  <a:lnTo>
                    <a:pt x="608" y="135"/>
                  </a:lnTo>
                  <a:lnTo>
                    <a:pt x="610" y="133"/>
                  </a:lnTo>
                  <a:lnTo>
                    <a:pt x="614" y="138"/>
                  </a:lnTo>
                  <a:lnTo>
                    <a:pt x="615" y="138"/>
                  </a:lnTo>
                  <a:lnTo>
                    <a:pt x="615" y="140"/>
                  </a:lnTo>
                  <a:lnTo>
                    <a:pt x="615" y="140"/>
                  </a:lnTo>
                  <a:lnTo>
                    <a:pt x="615" y="142"/>
                  </a:lnTo>
                  <a:lnTo>
                    <a:pt x="620" y="142"/>
                  </a:lnTo>
                  <a:lnTo>
                    <a:pt x="622" y="143"/>
                  </a:lnTo>
                  <a:lnTo>
                    <a:pt x="622" y="140"/>
                  </a:lnTo>
                  <a:lnTo>
                    <a:pt x="626" y="143"/>
                  </a:lnTo>
                  <a:lnTo>
                    <a:pt x="629" y="140"/>
                  </a:lnTo>
                  <a:lnTo>
                    <a:pt x="631" y="142"/>
                  </a:lnTo>
                  <a:lnTo>
                    <a:pt x="607" y="171"/>
                  </a:lnTo>
                  <a:lnTo>
                    <a:pt x="602" y="176"/>
                  </a:lnTo>
                  <a:lnTo>
                    <a:pt x="598" y="178"/>
                  </a:lnTo>
                  <a:lnTo>
                    <a:pt x="586" y="184"/>
                  </a:lnTo>
                  <a:lnTo>
                    <a:pt x="585" y="184"/>
                  </a:lnTo>
                  <a:lnTo>
                    <a:pt x="574" y="196"/>
                  </a:lnTo>
                  <a:lnTo>
                    <a:pt x="574" y="198"/>
                  </a:lnTo>
                  <a:lnTo>
                    <a:pt x="574" y="200"/>
                  </a:lnTo>
                  <a:lnTo>
                    <a:pt x="574" y="200"/>
                  </a:lnTo>
                  <a:lnTo>
                    <a:pt x="574" y="205"/>
                  </a:lnTo>
                  <a:lnTo>
                    <a:pt x="567" y="208"/>
                  </a:lnTo>
                  <a:lnTo>
                    <a:pt x="564" y="212"/>
                  </a:lnTo>
                  <a:lnTo>
                    <a:pt x="564" y="217"/>
                  </a:lnTo>
                  <a:lnTo>
                    <a:pt x="564" y="220"/>
                  </a:lnTo>
                  <a:lnTo>
                    <a:pt x="557" y="225"/>
                  </a:lnTo>
                  <a:lnTo>
                    <a:pt x="550" y="227"/>
                  </a:lnTo>
                  <a:lnTo>
                    <a:pt x="549" y="227"/>
                  </a:lnTo>
                  <a:lnTo>
                    <a:pt x="543" y="236"/>
                  </a:lnTo>
                  <a:lnTo>
                    <a:pt x="545" y="239"/>
                  </a:lnTo>
                  <a:lnTo>
                    <a:pt x="543" y="241"/>
                  </a:lnTo>
                  <a:lnTo>
                    <a:pt x="538" y="243"/>
                  </a:lnTo>
                  <a:lnTo>
                    <a:pt x="528" y="246"/>
                  </a:lnTo>
                  <a:lnTo>
                    <a:pt x="523" y="249"/>
                  </a:lnTo>
                  <a:lnTo>
                    <a:pt x="523" y="251"/>
                  </a:lnTo>
                  <a:lnTo>
                    <a:pt x="518" y="253"/>
                  </a:lnTo>
                  <a:lnTo>
                    <a:pt x="511" y="253"/>
                  </a:lnTo>
                  <a:lnTo>
                    <a:pt x="502" y="260"/>
                  </a:lnTo>
                  <a:lnTo>
                    <a:pt x="501" y="261"/>
                  </a:lnTo>
                  <a:lnTo>
                    <a:pt x="499" y="263"/>
                  </a:lnTo>
                  <a:lnTo>
                    <a:pt x="479" y="265"/>
                  </a:lnTo>
                  <a:lnTo>
                    <a:pt x="472" y="266"/>
                  </a:lnTo>
                  <a:lnTo>
                    <a:pt x="451" y="268"/>
                  </a:lnTo>
                  <a:lnTo>
                    <a:pt x="451" y="268"/>
                  </a:lnTo>
                  <a:lnTo>
                    <a:pt x="407" y="273"/>
                  </a:lnTo>
                  <a:lnTo>
                    <a:pt x="405" y="273"/>
                  </a:lnTo>
                  <a:lnTo>
                    <a:pt x="388" y="273"/>
                  </a:lnTo>
                  <a:lnTo>
                    <a:pt x="364" y="275"/>
                  </a:lnTo>
                  <a:lnTo>
                    <a:pt x="362" y="275"/>
                  </a:lnTo>
                  <a:lnTo>
                    <a:pt x="350" y="278"/>
                  </a:lnTo>
                  <a:lnTo>
                    <a:pt x="321" y="280"/>
                  </a:lnTo>
                  <a:lnTo>
                    <a:pt x="304" y="282"/>
                  </a:lnTo>
                  <a:lnTo>
                    <a:pt x="285" y="282"/>
                  </a:lnTo>
                  <a:lnTo>
                    <a:pt x="267" y="284"/>
                  </a:lnTo>
                  <a:lnTo>
                    <a:pt x="260" y="284"/>
                  </a:lnTo>
                  <a:close/>
                  <a:moveTo>
                    <a:pt x="3" y="321"/>
                  </a:moveTo>
                  <a:lnTo>
                    <a:pt x="0" y="319"/>
                  </a:lnTo>
                  <a:lnTo>
                    <a:pt x="0" y="318"/>
                  </a:lnTo>
                  <a:lnTo>
                    <a:pt x="0" y="316"/>
                  </a:lnTo>
                  <a:lnTo>
                    <a:pt x="3" y="314"/>
                  </a:lnTo>
                  <a:lnTo>
                    <a:pt x="5" y="314"/>
                  </a:lnTo>
                  <a:lnTo>
                    <a:pt x="7" y="316"/>
                  </a:lnTo>
                  <a:lnTo>
                    <a:pt x="9" y="318"/>
                  </a:lnTo>
                  <a:lnTo>
                    <a:pt x="7" y="321"/>
                  </a:lnTo>
                  <a:lnTo>
                    <a:pt x="9" y="321"/>
                  </a:lnTo>
                  <a:lnTo>
                    <a:pt x="3" y="32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39" name="Freeform 38"/>
            <p:cNvSpPr>
              <a:spLocks/>
            </p:cNvSpPr>
            <p:nvPr/>
          </p:nvSpPr>
          <p:spPr bwMode="gray">
            <a:xfrm>
              <a:off x="4438950" y="3561316"/>
              <a:ext cx="1016075" cy="547489"/>
            </a:xfrm>
            <a:custGeom>
              <a:avLst/>
              <a:gdLst/>
              <a:ahLst/>
              <a:cxnLst>
                <a:cxn ang="0">
                  <a:pos x="564" y="340"/>
                </a:cxn>
                <a:cxn ang="0">
                  <a:pos x="531" y="340"/>
                </a:cxn>
                <a:cxn ang="0">
                  <a:pos x="513" y="340"/>
                </a:cxn>
                <a:cxn ang="0">
                  <a:pos x="449" y="340"/>
                </a:cxn>
                <a:cxn ang="0">
                  <a:pos x="388" y="338"/>
                </a:cxn>
                <a:cxn ang="0">
                  <a:pos x="333" y="338"/>
                </a:cxn>
                <a:cxn ang="0">
                  <a:pos x="297" y="337"/>
                </a:cxn>
                <a:cxn ang="0">
                  <a:pos x="220" y="335"/>
                </a:cxn>
                <a:cxn ang="0">
                  <a:pos x="173" y="333"/>
                </a:cxn>
                <a:cxn ang="0">
                  <a:pos x="120" y="330"/>
                </a:cxn>
                <a:cxn ang="0">
                  <a:pos x="82" y="328"/>
                </a:cxn>
                <a:cxn ang="0">
                  <a:pos x="2" y="325"/>
                </a:cxn>
                <a:cxn ang="0">
                  <a:pos x="2" y="282"/>
                </a:cxn>
                <a:cxn ang="0">
                  <a:pos x="5" y="244"/>
                </a:cxn>
                <a:cxn ang="0">
                  <a:pos x="8" y="186"/>
                </a:cxn>
                <a:cxn ang="0">
                  <a:pos x="10" y="140"/>
                </a:cxn>
                <a:cxn ang="0">
                  <a:pos x="14" y="94"/>
                </a:cxn>
                <a:cxn ang="0">
                  <a:pos x="17" y="46"/>
                </a:cxn>
                <a:cxn ang="0">
                  <a:pos x="72" y="3"/>
                </a:cxn>
                <a:cxn ang="0">
                  <a:pos x="125" y="5"/>
                </a:cxn>
                <a:cxn ang="0">
                  <a:pos x="171" y="8"/>
                </a:cxn>
                <a:cxn ang="0">
                  <a:pos x="217" y="10"/>
                </a:cxn>
                <a:cxn ang="0">
                  <a:pos x="263" y="12"/>
                </a:cxn>
                <a:cxn ang="0">
                  <a:pos x="309" y="14"/>
                </a:cxn>
                <a:cxn ang="0">
                  <a:pos x="355" y="14"/>
                </a:cxn>
                <a:cxn ang="0">
                  <a:pos x="402" y="15"/>
                </a:cxn>
                <a:cxn ang="0">
                  <a:pos x="448" y="15"/>
                </a:cxn>
                <a:cxn ang="0">
                  <a:pos x="494" y="15"/>
                </a:cxn>
                <a:cxn ang="0">
                  <a:pos x="531" y="15"/>
                </a:cxn>
                <a:cxn ang="0">
                  <a:pos x="569" y="15"/>
                </a:cxn>
                <a:cxn ang="0">
                  <a:pos x="578" y="22"/>
                </a:cxn>
                <a:cxn ang="0">
                  <a:pos x="583" y="26"/>
                </a:cxn>
                <a:cxn ang="0">
                  <a:pos x="590" y="29"/>
                </a:cxn>
                <a:cxn ang="0">
                  <a:pos x="593" y="26"/>
                </a:cxn>
                <a:cxn ang="0">
                  <a:pos x="600" y="26"/>
                </a:cxn>
                <a:cxn ang="0">
                  <a:pos x="602" y="32"/>
                </a:cxn>
                <a:cxn ang="0">
                  <a:pos x="603" y="34"/>
                </a:cxn>
                <a:cxn ang="0">
                  <a:pos x="600" y="38"/>
                </a:cxn>
                <a:cxn ang="0">
                  <a:pos x="602" y="41"/>
                </a:cxn>
                <a:cxn ang="0">
                  <a:pos x="605" y="41"/>
                </a:cxn>
                <a:cxn ang="0">
                  <a:pos x="603" y="44"/>
                </a:cxn>
                <a:cxn ang="0">
                  <a:pos x="598" y="43"/>
                </a:cxn>
                <a:cxn ang="0">
                  <a:pos x="596" y="49"/>
                </a:cxn>
                <a:cxn ang="0">
                  <a:pos x="590" y="55"/>
                </a:cxn>
                <a:cxn ang="0">
                  <a:pos x="586" y="63"/>
                </a:cxn>
                <a:cxn ang="0">
                  <a:pos x="591" y="70"/>
                </a:cxn>
                <a:cxn ang="0">
                  <a:pos x="596" y="75"/>
                </a:cxn>
                <a:cxn ang="0">
                  <a:pos x="602" y="82"/>
                </a:cxn>
                <a:cxn ang="0">
                  <a:pos x="603" y="85"/>
                </a:cxn>
                <a:cxn ang="0">
                  <a:pos x="605" y="92"/>
                </a:cxn>
                <a:cxn ang="0">
                  <a:pos x="610" y="101"/>
                </a:cxn>
                <a:cxn ang="0">
                  <a:pos x="617" y="104"/>
                </a:cxn>
                <a:cxn ang="0">
                  <a:pos x="625" y="106"/>
                </a:cxn>
                <a:cxn ang="0">
                  <a:pos x="629" y="108"/>
                </a:cxn>
                <a:cxn ang="0">
                  <a:pos x="627" y="118"/>
                </a:cxn>
                <a:cxn ang="0">
                  <a:pos x="629" y="150"/>
                </a:cxn>
                <a:cxn ang="0">
                  <a:pos x="629" y="188"/>
                </a:cxn>
                <a:cxn ang="0">
                  <a:pos x="629" y="227"/>
                </a:cxn>
                <a:cxn ang="0">
                  <a:pos x="629" y="268"/>
                </a:cxn>
                <a:cxn ang="0">
                  <a:pos x="631" y="302"/>
                </a:cxn>
                <a:cxn ang="0">
                  <a:pos x="631" y="338"/>
                </a:cxn>
                <a:cxn ang="0">
                  <a:pos x="591" y="338"/>
                </a:cxn>
              </a:cxnLst>
              <a:rect l="0" t="0" r="r" b="b"/>
              <a:pathLst>
                <a:path w="631" h="340">
                  <a:moveTo>
                    <a:pt x="591" y="338"/>
                  </a:moveTo>
                  <a:lnTo>
                    <a:pt x="564" y="340"/>
                  </a:lnTo>
                  <a:lnTo>
                    <a:pt x="554" y="340"/>
                  </a:lnTo>
                  <a:lnTo>
                    <a:pt x="531" y="340"/>
                  </a:lnTo>
                  <a:lnTo>
                    <a:pt x="516" y="340"/>
                  </a:lnTo>
                  <a:lnTo>
                    <a:pt x="513" y="340"/>
                  </a:lnTo>
                  <a:lnTo>
                    <a:pt x="468" y="340"/>
                  </a:lnTo>
                  <a:lnTo>
                    <a:pt x="449" y="340"/>
                  </a:lnTo>
                  <a:lnTo>
                    <a:pt x="417" y="338"/>
                  </a:lnTo>
                  <a:lnTo>
                    <a:pt x="388" y="338"/>
                  </a:lnTo>
                  <a:lnTo>
                    <a:pt x="359" y="338"/>
                  </a:lnTo>
                  <a:lnTo>
                    <a:pt x="333" y="338"/>
                  </a:lnTo>
                  <a:lnTo>
                    <a:pt x="313" y="337"/>
                  </a:lnTo>
                  <a:lnTo>
                    <a:pt x="297" y="337"/>
                  </a:lnTo>
                  <a:lnTo>
                    <a:pt x="258" y="335"/>
                  </a:lnTo>
                  <a:lnTo>
                    <a:pt x="220" y="335"/>
                  </a:lnTo>
                  <a:lnTo>
                    <a:pt x="212" y="335"/>
                  </a:lnTo>
                  <a:lnTo>
                    <a:pt x="173" y="333"/>
                  </a:lnTo>
                  <a:lnTo>
                    <a:pt x="166" y="331"/>
                  </a:lnTo>
                  <a:lnTo>
                    <a:pt x="120" y="330"/>
                  </a:lnTo>
                  <a:lnTo>
                    <a:pt x="92" y="328"/>
                  </a:lnTo>
                  <a:lnTo>
                    <a:pt x="82" y="328"/>
                  </a:lnTo>
                  <a:lnTo>
                    <a:pt x="41" y="326"/>
                  </a:lnTo>
                  <a:lnTo>
                    <a:pt x="2" y="325"/>
                  </a:lnTo>
                  <a:lnTo>
                    <a:pt x="0" y="325"/>
                  </a:lnTo>
                  <a:lnTo>
                    <a:pt x="2" y="282"/>
                  </a:lnTo>
                  <a:lnTo>
                    <a:pt x="3" y="255"/>
                  </a:lnTo>
                  <a:lnTo>
                    <a:pt x="5" y="244"/>
                  </a:lnTo>
                  <a:lnTo>
                    <a:pt x="8" y="188"/>
                  </a:lnTo>
                  <a:lnTo>
                    <a:pt x="8" y="186"/>
                  </a:lnTo>
                  <a:lnTo>
                    <a:pt x="10" y="149"/>
                  </a:lnTo>
                  <a:lnTo>
                    <a:pt x="10" y="140"/>
                  </a:lnTo>
                  <a:lnTo>
                    <a:pt x="14" y="104"/>
                  </a:lnTo>
                  <a:lnTo>
                    <a:pt x="14" y="94"/>
                  </a:lnTo>
                  <a:lnTo>
                    <a:pt x="17" y="46"/>
                  </a:lnTo>
                  <a:lnTo>
                    <a:pt x="17" y="46"/>
                  </a:lnTo>
                  <a:lnTo>
                    <a:pt x="19" y="0"/>
                  </a:lnTo>
                  <a:lnTo>
                    <a:pt x="72" y="3"/>
                  </a:lnTo>
                  <a:lnTo>
                    <a:pt x="79" y="3"/>
                  </a:lnTo>
                  <a:lnTo>
                    <a:pt x="125" y="5"/>
                  </a:lnTo>
                  <a:lnTo>
                    <a:pt x="126" y="5"/>
                  </a:lnTo>
                  <a:lnTo>
                    <a:pt x="171" y="8"/>
                  </a:lnTo>
                  <a:lnTo>
                    <a:pt x="173" y="8"/>
                  </a:lnTo>
                  <a:lnTo>
                    <a:pt x="217" y="10"/>
                  </a:lnTo>
                  <a:lnTo>
                    <a:pt x="253" y="10"/>
                  </a:lnTo>
                  <a:lnTo>
                    <a:pt x="263" y="12"/>
                  </a:lnTo>
                  <a:lnTo>
                    <a:pt x="290" y="12"/>
                  </a:lnTo>
                  <a:lnTo>
                    <a:pt x="309" y="14"/>
                  </a:lnTo>
                  <a:lnTo>
                    <a:pt x="328" y="14"/>
                  </a:lnTo>
                  <a:lnTo>
                    <a:pt x="355" y="14"/>
                  </a:lnTo>
                  <a:lnTo>
                    <a:pt x="364" y="14"/>
                  </a:lnTo>
                  <a:lnTo>
                    <a:pt x="402" y="15"/>
                  </a:lnTo>
                  <a:lnTo>
                    <a:pt x="439" y="15"/>
                  </a:lnTo>
                  <a:lnTo>
                    <a:pt x="448" y="15"/>
                  </a:lnTo>
                  <a:lnTo>
                    <a:pt x="475" y="15"/>
                  </a:lnTo>
                  <a:lnTo>
                    <a:pt x="494" y="15"/>
                  </a:lnTo>
                  <a:lnTo>
                    <a:pt x="513" y="15"/>
                  </a:lnTo>
                  <a:lnTo>
                    <a:pt x="531" y="15"/>
                  </a:lnTo>
                  <a:lnTo>
                    <a:pt x="567" y="15"/>
                  </a:lnTo>
                  <a:lnTo>
                    <a:pt x="569" y="15"/>
                  </a:lnTo>
                  <a:lnTo>
                    <a:pt x="574" y="22"/>
                  </a:lnTo>
                  <a:lnTo>
                    <a:pt x="578" y="22"/>
                  </a:lnTo>
                  <a:lnTo>
                    <a:pt x="579" y="26"/>
                  </a:lnTo>
                  <a:lnTo>
                    <a:pt x="583" y="26"/>
                  </a:lnTo>
                  <a:lnTo>
                    <a:pt x="586" y="29"/>
                  </a:lnTo>
                  <a:lnTo>
                    <a:pt x="590" y="29"/>
                  </a:lnTo>
                  <a:lnTo>
                    <a:pt x="591" y="27"/>
                  </a:lnTo>
                  <a:lnTo>
                    <a:pt x="593" y="26"/>
                  </a:lnTo>
                  <a:lnTo>
                    <a:pt x="598" y="26"/>
                  </a:lnTo>
                  <a:lnTo>
                    <a:pt x="600" y="26"/>
                  </a:lnTo>
                  <a:lnTo>
                    <a:pt x="600" y="31"/>
                  </a:lnTo>
                  <a:lnTo>
                    <a:pt x="602" y="32"/>
                  </a:lnTo>
                  <a:lnTo>
                    <a:pt x="603" y="34"/>
                  </a:lnTo>
                  <a:lnTo>
                    <a:pt x="603" y="34"/>
                  </a:lnTo>
                  <a:lnTo>
                    <a:pt x="603" y="38"/>
                  </a:lnTo>
                  <a:lnTo>
                    <a:pt x="600" y="38"/>
                  </a:lnTo>
                  <a:lnTo>
                    <a:pt x="600" y="39"/>
                  </a:lnTo>
                  <a:lnTo>
                    <a:pt x="602" y="41"/>
                  </a:lnTo>
                  <a:lnTo>
                    <a:pt x="605" y="41"/>
                  </a:lnTo>
                  <a:lnTo>
                    <a:pt x="605" y="41"/>
                  </a:lnTo>
                  <a:lnTo>
                    <a:pt x="605" y="43"/>
                  </a:lnTo>
                  <a:lnTo>
                    <a:pt x="603" y="44"/>
                  </a:lnTo>
                  <a:lnTo>
                    <a:pt x="600" y="44"/>
                  </a:lnTo>
                  <a:lnTo>
                    <a:pt x="598" y="43"/>
                  </a:lnTo>
                  <a:lnTo>
                    <a:pt x="598" y="44"/>
                  </a:lnTo>
                  <a:lnTo>
                    <a:pt x="596" y="49"/>
                  </a:lnTo>
                  <a:lnTo>
                    <a:pt x="593" y="51"/>
                  </a:lnTo>
                  <a:lnTo>
                    <a:pt x="590" y="55"/>
                  </a:lnTo>
                  <a:lnTo>
                    <a:pt x="591" y="60"/>
                  </a:lnTo>
                  <a:lnTo>
                    <a:pt x="586" y="63"/>
                  </a:lnTo>
                  <a:lnTo>
                    <a:pt x="586" y="65"/>
                  </a:lnTo>
                  <a:lnTo>
                    <a:pt x="591" y="70"/>
                  </a:lnTo>
                  <a:lnTo>
                    <a:pt x="591" y="73"/>
                  </a:lnTo>
                  <a:lnTo>
                    <a:pt x="596" y="75"/>
                  </a:lnTo>
                  <a:lnTo>
                    <a:pt x="598" y="79"/>
                  </a:lnTo>
                  <a:lnTo>
                    <a:pt x="602" y="82"/>
                  </a:lnTo>
                  <a:lnTo>
                    <a:pt x="603" y="82"/>
                  </a:lnTo>
                  <a:lnTo>
                    <a:pt x="603" y="85"/>
                  </a:lnTo>
                  <a:lnTo>
                    <a:pt x="603" y="89"/>
                  </a:lnTo>
                  <a:lnTo>
                    <a:pt x="605" y="92"/>
                  </a:lnTo>
                  <a:lnTo>
                    <a:pt x="608" y="94"/>
                  </a:lnTo>
                  <a:lnTo>
                    <a:pt x="610" y="101"/>
                  </a:lnTo>
                  <a:lnTo>
                    <a:pt x="614" y="101"/>
                  </a:lnTo>
                  <a:lnTo>
                    <a:pt x="617" y="104"/>
                  </a:lnTo>
                  <a:lnTo>
                    <a:pt x="622" y="104"/>
                  </a:lnTo>
                  <a:lnTo>
                    <a:pt x="625" y="106"/>
                  </a:lnTo>
                  <a:lnTo>
                    <a:pt x="627" y="106"/>
                  </a:lnTo>
                  <a:lnTo>
                    <a:pt x="629" y="108"/>
                  </a:lnTo>
                  <a:lnTo>
                    <a:pt x="627" y="111"/>
                  </a:lnTo>
                  <a:lnTo>
                    <a:pt x="627" y="118"/>
                  </a:lnTo>
                  <a:lnTo>
                    <a:pt x="627" y="140"/>
                  </a:lnTo>
                  <a:lnTo>
                    <a:pt x="629" y="150"/>
                  </a:lnTo>
                  <a:lnTo>
                    <a:pt x="627" y="179"/>
                  </a:lnTo>
                  <a:lnTo>
                    <a:pt x="629" y="188"/>
                  </a:lnTo>
                  <a:lnTo>
                    <a:pt x="629" y="224"/>
                  </a:lnTo>
                  <a:lnTo>
                    <a:pt x="629" y="227"/>
                  </a:lnTo>
                  <a:lnTo>
                    <a:pt x="629" y="265"/>
                  </a:lnTo>
                  <a:lnTo>
                    <a:pt x="629" y="268"/>
                  </a:lnTo>
                  <a:lnTo>
                    <a:pt x="631" y="299"/>
                  </a:lnTo>
                  <a:lnTo>
                    <a:pt x="631" y="302"/>
                  </a:lnTo>
                  <a:lnTo>
                    <a:pt x="631" y="331"/>
                  </a:lnTo>
                  <a:lnTo>
                    <a:pt x="631" y="338"/>
                  </a:lnTo>
                  <a:lnTo>
                    <a:pt x="595" y="338"/>
                  </a:lnTo>
                  <a:lnTo>
                    <a:pt x="591" y="33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0" name="Freeform 39"/>
            <p:cNvSpPr>
              <a:spLocks noEditPoints="1"/>
            </p:cNvSpPr>
            <p:nvPr/>
          </p:nvSpPr>
          <p:spPr bwMode="gray">
            <a:xfrm>
              <a:off x="6957398" y="3464700"/>
              <a:ext cx="1086928" cy="602238"/>
            </a:xfrm>
            <a:custGeom>
              <a:avLst/>
              <a:gdLst/>
              <a:ahLst/>
              <a:cxnLst>
                <a:cxn ang="0">
                  <a:pos x="273" y="338"/>
                </a:cxn>
                <a:cxn ang="0">
                  <a:pos x="155" y="352"/>
                </a:cxn>
                <a:cxn ang="0">
                  <a:pos x="70" y="366"/>
                </a:cxn>
                <a:cxn ang="0">
                  <a:pos x="1" y="373"/>
                </a:cxn>
                <a:cxn ang="0">
                  <a:pos x="42" y="354"/>
                </a:cxn>
                <a:cxn ang="0">
                  <a:pos x="63" y="330"/>
                </a:cxn>
                <a:cxn ang="0">
                  <a:pos x="73" y="309"/>
                </a:cxn>
                <a:cxn ang="0">
                  <a:pos x="131" y="256"/>
                </a:cxn>
                <a:cxn ang="0">
                  <a:pos x="142" y="275"/>
                </a:cxn>
                <a:cxn ang="0">
                  <a:pos x="155" y="284"/>
                </a:cxn>
                <a:cxn ang="0">
                  <a:pos x="181" y="272"/>
                </a:cxn>
                <a:cxn ang="0">
                  <a:pos x="215" y="267"/>
                </a:cxn>
                <a:cxn ang="0">
                  <a:pos x="229" y="253"/>
                </a:cxn>
                <a:cxn ang="0">
                  <a:pos x="237" y="253"/>
                </a:cxn>
                <a:cxn ang="0">
                  <a:pos x="260" y="244"/>
                </a:cxn>
                <a:cxn ang="0">
                  <a:pos x="266" y="233"/>
                </a:cxn>
                <a:cxn ang="0">
                  <a:pos x="266" y="217"/>
                </a:cxn>
                <a:cxn ang="0">
                  <a:pos x="273" y="197"/>
                </a:cxn>
                <a:cxn ang="0">
                  <a:pos x="287" y="171"/>
                </a:cxn>
                <a:cxn ang="0">
                  <a:pos x="297" y="145"/>
                </a:cxn>
                <a:cxn ang="0">
                  <a:pos x="301" y="121"/>
                </a:cxn>
                <a:cxn ang="0">
                  <a:pos x="336" y="121"/>
                </a:cxn>
                <a:cxn ang="0">
                  <a:pos x="347" y="80"/>
                </a:cxn>
                <a:cxn ang="0">
                  <a:pos x="371" y="62"/>
                </a:cxn>
                <a:cxn ang="0">
                  <a:pos x="384" y="50"/>
                </a:cxn>
                <a:cxn ang="0">
                  <a:pos x="391" y="34"/>
                </a:cxn>
                <a:cxn ang="0">
                  <a:pos x="395" y="10"/>
                </a:cxn>
                <a:cxn ang="0">
                  <a:pos x="441" y="26"/>
                </a:cxn>
                <a:cxn ang="0">
                  <a:pos x="454" y="5"/>
                </a:cxn>
                <a:cxn ang="0">
                  <a:pos x="465" y="19"/>
                </a:cxn>
                <a:cxn ang="0">
                  <a:pos x="489" y="27"/>
                </a:cxn>
                <a:cxn ang="0">
                  <a:pos x="511" y="45"/>
                </a:cxn>
                <a:cxn ang="0">
                  <a:pos x="509" y="60"/>
                </a:cxn>
                <a:cxn ang="0">
                  <a:pos x="495" y="92"/>
                </a:cxn>
                <a:cxn ang="0">
                  <a:pos x="562" y="113"/>
                </a:cxn>
                <a:cxn ang="0">
                  <a:pos x="596" y="135"/>
                </a:cxn>
                <a:cxn ang="0">
                  <a:pos x="571" y="150"/>
                </a:cxn>
                <a:cxn ang="0">
                  <a:pos x="598" y="169"/>
                </a:cxn>
                <a:cxn ang="0">
                  <a:pos x="605" y="192"/>
                </a:cxn>
                <a:cxn ang="0">
                  <a:pos x="598" y="197"/>
                </a:cxn>
                <a:cxn ang="0">
                  <a:pos x="600" y="212"/>
                </a:cxn>
                <a:cxn ang="0">
                  <a:pos x="612" y="224"/>
                </a:cxn>
                <a:cxn ang="0">
                  <a:pos x="581" y="219"/>
                </a:cxn>
                <a:cxn ang="0">
                  <a:pos x="557" y="202"/>
                </a:cxn>
                <a:cxn ang="0">
                  <a:pos x="577" y="217"/>
                </a:cxn>
                <a:cxn ang="0">
                  <a:pos x="598" y="238"/>
                </a:cxn>
                <a:cxn ang="0">
                  <a:pos x="612" y="243"/>
                </a:cxn>
                <a:cxn ang="0">
                  <a:pos x="622" y="233"/>
                </a:cxn>
                <a:cxn ang="0">
                  <a:pos x="648" y="250"/>
                </a:cxn>
                <a:cxn ang="0">
                  <a:pos x="605" y="277"/>
                </a:cxn>
                <a:cxn ang="0">
                  <a:pos x="487" y="301"/>
                </a:cxn>
                <a:cxn ang="0">
                  <a:pos x="673" y="99"/>
                </a:cxn>
                <a:cxn ang="0">
                  <a:pos x="670" y="113"/>
                </a:cxn>
                <a:cxn ang="0">
                  <a:pos x="637" y="142"/>
                </a:cxn>
                <a:cxn ang="0">
                  <a:pos x="644" y="109"/>
                </a:cxn>
                <a:cxn ang="0">
                  <a:pos x="646" y="162"/>
                </a:cxn>
                <a:cxn ang="0">
                  <a:pos x="639" y="205"/>
                </a:cxn>
                <a:cxn ang="0">
                  <a:pos x="636" y="161"/>
                </a:cxn>
              </a:cxnLst>
              <a:rect l="0" t="0" r="r" b="b"/>
              <a:pathLst>
                <a:path w="675" h="374">
                  <a:moveTo>
                    <a:pt x="383" y="321"/>
                  </a:moveTo>
                  <a:lnTo>
                    <a:pt x="377" y="321"/>
                  </a:lnTo>
                  <a:lnTo>
                    <a:pt x="352" y="327"/>
                  </a:lnTo>
                  <a:lnTo>
                    <a:pt x="335" y="330"/>
                  </a:lnTo>
                  <a:lnTo>
                    <a:pt x="309" y="333"/>
                  </a:lnTo>
                  <a:lnTo>
                    <a:pt x="307" y="333"/>
                  </a:lnTo>
                  <a:lnTo>
                    <a:pt x="273" y="338"/>
                  </a:lnTo>
                  <a:lnTo>
                    <a:pt x="260" y="340"/>
                  </a:lnTo>
                  <a:lnTo>
                    <a:pt x="239" y="344"/>
                  </a:lnTo>
                  <a:lnTo>
                    <a:pt x="234" y="344"/>
                  </a:lnTo>
                  <a:lnTo>
                    <a:pt x="196" y="349"/>
                  </a:lnTo>
                  <a:lnTo>
                    <a:pt x="169" y="352"/>
                  </a:lnTo>
                  <a:lnTo>
                    <a:pt x="171" y="349"/>
                  </a:lnTo>
                  <a:lnTo>
                    <a:pt x="155" y="352"/>
                  </a:lnTo>
                  <a:lnTo>
                    <a:pt x="148" y="352"/>
                  </a:lnTo>
                  <a:lnTo>
                    <a:pt x="147" y="354"/>
                  </a:lnTo>
                  <a:lnTo>
                    <a:pt x="128" y="357"/>
                  </a:lnTo>
                  <a:lnTo>
                    <a:pt x="123" y="357"/>
                  </a:lnTo>
                  <a:lnTo>
                    <a:pt x="116" y="359"/>
                  </a:lnTo>
                  <a:lnTo>
                    <a:pt x="90" y="362"/>
                  </a:lnTo>
                  <a:lnTo>
                    <a:pt x="70" y="366"/>
                  </a:lnTo>
                  <a:lnTo>
                    <a:pt x="58" y="368"/>
                  </a:lnTo>
                  <a:lnTo>
                    <a:pt x="39" y="371"/>
                  </a:lnTo>
                  <a:lnTo>
                    <a:pt x="36" y="371"/>
                  </a:lnTo>
                  <a:lnTo>
                    <a:pt x="34" y="369"/>
                  </a:lnTo>
                  <a:lnTo>
                    <a:pt x="17" y="373"/>
                  </a:lnTo>
                  <a:lnTo>
                    <a:pt x="0" y="374"/>
                  </a:lnTo>
                  <a:lnTo>
                    <a:pt x="1" y="373"/>
                  </a:lnTo>
                  <a:lnTo>
                    <a:pt x="10" y="366"/>
                  </a:lnTo>
                  <a:lnTo>
                    <a:pt x="17" y="366"/>
                  </a:lnTo>
                  <a:lnTo>
                    <a:pt x="22" y="364"/>
                  </a:lnTo>
                  <a:lnTo>
                    <a:pt x="22" y="362"/>
                  </a:lnTo>
                  <a:lnTo>
                    <a:pt x="27" y="359"/>
                  </a:lnTo>
                  <a:lnTo>
                    <a:pt x="37" y="356"/>
                  </a:lnTo>
                  <a:lnTo>
                    <a:pt x="42" y="354"/>
                  </a:lnTo>
                  <a:lnTo>
                    <a:pt x="44" y="352"/>
                  </a:lnTo>
                  <a:lnTo>
                    <a:pt x="42" y="349"/>
                  </a:lnTo>
                  <a:lnTo>
                    <a:pt x="48" y="340"/>
                  </a:lnTo>
                  <a:lnTo>
                    <a:pt x="49" y="340"/>
                  </a:lnTo>
                  <a:lnTo>
                    <a:pt x="56" y="338"/>
                  </a:lnTo>
                  <a:lnTo>
                    <a:pt x="63" y="333"/>
                  </a:lnTo>
                  <a:lnTo>
                    <a:pt x="63" y="330"/>
                  </a:lnTo>
                  <a:lnTo>
                    <a:pt x="63" y="325"/>
                  </a:lnTo>
                  <a:lnTo>
                    <a:pt x="66" y="321"/>
                  </a:lnTo>
                  <a:lnTo>
                    <a:pt x="73" y="318"/>
                  </a:lnTo>
                  <a:lnTo>
                    <a:pt x="73" y="313"/>
                  </a:lnTo>
                  <a:lnTo>
                    <a:pt x="73" y="313"/>
                  </a:lnTo>
                  <a:lnTo>
                    <a:pt x="73" y="311"/>
                  </a:lnTo>
                  <a:lnTo>
                    <a:pt x="73" y="309"/>
                  </a:lnTo>
                  <a:lnTo>
                    <a:pt x="84" y="297"/>
                  </a:lnTo>
                  <a:lnTo>
                    <a:pt x="85" y="297"/>
                  </a:lnTo>
                  <a:lnTo>
                    <a:pt x="97" y="291"/>
                  </a:lnTo>
                  <a:lnTo>
                    <a:pt x="101" y="289"/>
                  </a:lnTo>
                  <a:lnTo>
                    <a:pt x="106" y="284"/>
                  </a:lnTo>
                  <a:lnTo>
                    <a:pt x="130" y="255"/>
                  </a:lnTo>
                  <a:lnTo>
                    <a:pt x="131" y="256"/>
                  </a:lnTo>
                  <a:lnTo>
                    <a:pt x="131" y="258"/>
                  </a:lnTo>
                  <a:lnTo>
                    <a:pt x="130" y="260"/>
                  </a:lnTo>
                  <a:lnTo>
                    <a:pt x="128" y="262"/>
                  </a:lnTo>
                  <a:lnTo>
                    <a:pt x="135" y="267"/>
                  </a:lnTo>
                  <a:lnTo>
                    <a:pt x="135" y="272"/>
                  </a:lnTo>
                  <a:lnTo>
                    <a:pt x="138" y="274"/>
                  </a:lnTo>
                  <a:lnTo>
                    <a:pt x="142" y="275"/>
                  </a:lnTo>
                  <a:lnTo>
                    <a:pt x="142" y="277"/>
                  </a:lnTo>
                  <a:lnTo>
                    <a:pt x="143" y="279"/>
                  </a:lnTo>
                  <a:lnTo>
                    <a:pt x="145" y="280"/>
                  </a:lnTo>
                  <a:lnTo>
                    <a:pt x="147" y="279"/>
                  </a:lnTo>
                  <a:lnTo>
                    <a:pt x="152" y="280"/>
                  </a:lnTo>
                  <a:lnTo>
                    <a:pt x="152" y="282"/>
                  </a:lnTo>
                  <a:lnTo>
                    <a:pt x="155" y="284"/>
                  </a:lnTo>
                  <a:lnTo>
                    <a:pt x="159" y="285"/>
                  </a:lnTo>
                  <a:lnTo>
                    <a:pt x="169" y="284"/>
                  </a:lnTo>
                  <a:lnTo>
                    <a:pt x="172" y="280"/>
                  </a:lnTo>
                  <a:lnTo>
                    <a:pt x="172" y="279"/>
                  </a:lnTo>
                  <a:lnTo>
                    <a:pt x="174" y="279"/>
                  </a:lnTo>
                  <a:lnTo>
                    <a:pt x="181" y="274"/>
                  </a:lnTo>
                  <a:lnTo>
                    <a:pt x="181" y="272"/>
                  </a:lnTo>
                  <a:lnTo>
                    <a:pt x="183" y="268"/>
                  </a:lnTo>
                  <a:lnTo>
                    <a:pt x="188" y="272"/>
                  </a:lnTo>
                  <a:lnTo>
                    <a:pt x="196" y="277"/>
                  </a:lnTo>
                  <a:lnTo>
                    <a:pt x="201" y="272"/>
                  </a:lnTo>
                  <a:lnTo>
                    <a:pt x="212" y="268"/>
                  </a:lnTo>
                  <a:lnTo>
                    <a:pt x="215" y="267"/>
                  </a:lnTo>
                  <a:lnTo>
                    <a:pt x="215" y="267"/>
                  </a:lnTo>
                  <a:lnTo>
                    <a:pt x="217" y="267"/>
                  </a:lnTo>
                  <a:lnTo>
                    <a:pt x="219" y="267"/>
                  </a:lnTo>
                  <a:lnTo>
                    <a:pt x="225" y="262"/>
                  </a:lnTo>
                  <a:lnTo>
                    <a:pt x="225" y="260"/>
                  </a:lnTo>
                  <a:lnTo>
                    <a:pt x="222" y="256"/>
                  </a:lnTo>
                  <a:lnTo>
                    <a:pt x="224" y="251"/>
                  </a:lnTo>
                  <a:lnTo>
                    <a:pt x="229" y="253"/>
                  </a:lnTo>
                  <a:lnTo>
                    <a:pt x="229" y="255"/>
                  </a:lnTo>
                  <a:lnTo>
                    <a:pt x="232" y="255"/>
                  </a:lnTo>
                  <a:lnTo>
                    <a:pt x="232" y="256"/>
                  </a:lnTo>
                  <a:lnTo>
                    <a:pt x="234" y="255"/>
                  </a:lnTo>
                  <a:lnTo>
                    <a:pt x="234" y="255"/>
                  </a:lnTo>
                  <a:lnTo>
                    <a:pt x="234" y="253"/>
                  </a:lnTo>
                  <a:lnTo>
                    <a:pt x="237" y="253"/>
                  </a:lnTo>
                  <a:lnTo>
                    <a:pt x="244" y="246"/>
                  </a:lnTo>
                  <a:lnTo>
                    <a:pt x="249" y="243"/>
                  </a:lnTo>
                  <a:lnTo>
                    <a:pt x="251" y="241"/>
                  </a:lnTo>
                  <a:lnTo>
                    <a:pt x="254" y="243"/>
                  </a:lnTo>
                  <a:lnTo>
                    <a:pt x="254" y="246"/>
                  </a:lnTo>
                  <a:lnTo>
                    <a:pt x="256" y="246"/>
                  </a:lnTo>
                  <a:lnTo>
                    <a:pt x="260" y="244"/>
                  </a:lnTo>
                  <a:lnTo>
                    <a:pt x="261" y="241"/>
                  </a:lnTo>
                  <a:lnTo>
                    <a:pt x="265" y="239"/>
                  </a:lnTo>
                  <a:lnTo>
                    <a:pt x="265" y="238"/>
                  </a:lnTo>
                  <a:lnTo>
                    <a:pt x="270" y="234"/>
                  </a:lnTo>
                  <a:lnTo>
                    <a:pt x="270" y="233"/>
                  </a:lnTo>
                  <a:lnTo>
                    <a:pt x="268" y="233"/>
                  </a:lnTo>
                  <a:lnTo>
                    <a:pt x="266" y="233"/>
                  </a:lnTo>
                  <a:lnTo>
                    <a:pt x="266" y="229"/>
                  </a:lnTo>
                  <a:lnTo>
                    <a:pt x="272" y="226"/>
                  </a:lnTo>
                  <a:lnTo>
                    <a:pt x="273" y="222"/>
                  </a:lnTo>
                  <a:lnTo>
                    <a:pt x="270" y="221"/>
                  </a:lnTo>
                  <a:lnTo>
                    <a:pt x="266" y="221"/>
                  </a:lnTo>
                  <a:lnTo>
                    <a:pt x="265" y="221"/>
                  </a:lnTo>
                  <a:lnTo>
                    <a:pt x="266" y="217"/>
                  </a:lnTo>
                  <a:lnTo>
                    <a:pt x="265" y="217"/>
                  </a:lnTo>
                  <a:lnTo>
                    <a:pt x="268" y="212"/>
                  </a:lnTo>
                  <a:lnTo>
                    <a:pt x="268" y="209"/>
                  </a:lnTo>
                  <a:lnTo>
                    <a:pt x="270" y="205"/>
                  </a:lnTo>
                  <a:lnTo>
                    <a:pt x="270" y="203"/>
                  </a:lnTo>
                  <a:lnTo>
                    <a:pt x="273" y="198"/>
                  </a:lnTo>
                  <a:lnTo>
                    <a:pt x="273" y="197"/>
                  </a:lnTo>
                  <a:lnTo>
                    <a:pt x="273" y="193"/>
                  </a:lnTo>
                  <a:lnTo>
                    <a:pt x="277" y="192"/>
                  </a:lnTo>
                  <a:lnTo>
                    <a:pt x="277" y="190"/>
                  </a:lnTo>
                  <a:lnTo>
                    <a:pt x="280" y="185"/>
                  </a:lnTo>
                  <a:lnTo>
                    <a:pt x="285" y="180"/>
                  </a:lnTo>
                  <a:lnTo>
                    <a:pt x="287" y="174"/>
                  </a:lnTo>
                  <a:lnTo>
                    <a:pt x="287" y="171"/>
                  </a:lnTo>
                  <a:lnTo>
                    <a:pt x="289" y="166"/>
                  </a:lnTo>
                  <a:lnTo>
                    <a:pt x="287" y="164"/>
                  </a:lnTo>
                  <a:lnTo>
                    <a:pt x="289" y="161"/>
                  </a:lnTo>
                  <a:lnTo>
                    <a:pt x="289" y="159"/>
                  </a:lnTo>
                  <a:lnTo>
                    <a:pt x="294" y="150"/>
                  </a:lnTo>
                  <a:lnTo>
                    <a:pt x="297" y="147"/>
                  </a:lnTo>
                  <a:lnTo>
                    <a:pt x="297" y="145"/>
                  </a:lnTo>
                  <a:lnTo>
                    <a:pt x="295" y="144"/>
                  </a:lnTo>
                  <a:lnTo>
                    <a:pt x="295" y="142"/>
                  </a:lnTo>
                  <a:lnTo>
                    <a:pt x="297" y="139"/>
                  </a:lnTo>
                  <a:lnTo>
                    <a:pt x="301" y="137"/>
                  </a:lnTo>
                  <a:lnTo>
                    <a:pt x="301" y="133"/>
                  </a:lnTo>
                  <a:lnTo>
                    <a:pt x="302" y="128"/>
                  </a:lnTo>
                  <a:lnTo>
                    <a:pt x="301" y="121"/>
                  </a:lnTo>
                  <a:lnTo>
                    <a:pt x="302" y="118"/>
                  </a:lnTo>
                  <a:lnTo>
                    <a:pt x="302" y="116"/>
                  </a:lnTo>
                  <a:lnTo>
                    <a:pt x="302" y="111"/>
                  </a:lnTo>
                  <a:lnTo>
                    <a:pt x="313" y="113"/>
                  </a:lnTo>
                  <a:lnTo>
                    <a:pt x="318" y="121"/>
                  </a:lnTo>
                  <a:lnTo>
                    <a:pt x="333" y="125"/>
                  </a:lnTo>
                  <a:lnTo>
                    <a:pt x="336" y="121"/>
                  </a:lnTo>
                  <a:lnTo>
                    <a:pt x="338" y="116"/>
                  </a:lnTo>
                  <a:lnTo>
                    <a:pt x="343" y="96"/>
                  </a:lnTo>
                  <a:lnTo>
                    <a:pt x="345" y="96"/>
                  </a:lnTo>
                  <a:lnTo>
                    <a:pt x="347" y="96"/>
                  </a:lnTo>
                  <a:lnTo>
                    <a:pt x="347" y="91"/>
                  </a:lnTo>
                  <a:lnTo>
                    <a:pt x="348" y="84"/>
                  </a:lnTo>
                  <a:lnTo>
                    <a:pt x="347" y="80"/>
                  </a:lnTo>
                  <a:lnTo>
                    <a:pt x="348" y="80"/>
                  </a:lnTo>
                  <a:lnTo>
                    <a:pt x="352" y="74"/>
                  </a:lnTo>
                  <a:lnTo>
                    <a:pt x="364" y="80"/>
                  </a:lnTo>
                  <a:lnTo>
                    <a:pt x="366" y="74"/>
                  </a:lnTo>
                  <a:lnTo>
                    <a:pt x="367" y="67"/>
                  </a:lnTo>
                  <a:lnTo>
                    <a:pt x="371" y="63"/>
                  </a:lnTo>
                  <a:lnTo>
                    <a:pt x="371" y="62"/>
                  </a:lnTo>
                  <a:lnTo>
                    <a:pt x="372" y="62"/>
                  </a:lnTo>
                  <a:lnTo>
                    <a:pt x="372" y="63"/>
                  </a:lnTo>
                  <a:lnTo>
                    <a:pt x="376" y="62"/>
                  </a:lnTo>
                  <a:lnTo>
                    <a:pt x="377" y="58"/>
                  </a:lnTo>
                  <a:lnTo>
                    <a:pt x="377" y="55"/>
                  </a:lnTo>
                  <a:lnTo>
                    <a:pt x="381" y="55"/>
                  </a:lnTo>
                  <a:lnTo>
                    <a:pt x="384" y="50"/>
                  </a:lnTo>
                  <a:lnTo>
                    <a:pt x="384" y="48"/>
                  </a:lnTo>
                  <a:lnTo>
                    <a:pt x="383" y="48"/>
                  </a:lnTo>
                  <a:lnTo>
                    <a:pt x="384" y="45"/>
                  </a:lnTo>
                  <a:lnTo>
                    <a:pt x="386" y="41"/>
                  </a:lnTo>
                  <a:lnTo>
                    <a:pt x="388" y="38"/>
                  </a:lnTo>
                  <a:lnTo>
                    <a:pt x="391" y="38"/>
                  </a:lnTo>
                  <a:lnTo>
                    <a:pt x="391" y="34"/>
                  </a:lnTo>
                  <a:lnTo>
                    <a:pt x="393" y="31"/>
                  </a:lnTo>
                  <a:lnTo>
                    <a:pt x="391" y="27"/>
                  </a:lnTo>
                  <a:lnTo>
                    <a:pt x="391" y="27"/>
                  </a:lnTo>
                  <a:lnTo>
                    <a:pt x="391" y="22"/>
                  </a:lnTo>
                  <a:lnTo>
                    <a:pt x="391" y="22"/>
                  </a:lnTo>
                  <a:lnTo>
                    <a:pt x="395" y="12"/>
                  </a:lnTo>
                  <a:lnTo>
                    <a:pt x="395" y="10"/>
                  </a:lnTo>
                  <a:lnTo>
                    <a:pt x="393" y="10"/>
                  </a:lnTo>
                  <a:lnTo>
                    <a:pt x="393" y="7"/>
                  </a:lnTo>
                  <a:lnTo>
                    <a:pt x="391" y="0"/>
                  </a:lnTo>
                  <a:lnTo>
                    <a:pt x="398" y="2"/>
                  </a:lnTo>
                  <a:lnTo>
                    <a:pt x="403" y="5"/>
                  </a:lnTo>
                  <a:lnTo>
                    <a:pt x="422" y="15"/>
                  </a:lnTo>
                  <a:lnTo>
                    <a:pt x="441" y="26"/>
                  </a:lnTo>
                  <a:lnTo>
                    <a:pt x="441" y="26"/>
                  </a:lnTo>
                  <a:lnTo>
                    <a:pt x="441" y="19"/>
                  </a:lnTo>
                  <a:lnTo>
                    <a:pt x="442" y="14"/>
                  </a:lnTo>
                  <a:lnTo>
                    <a:pt x="442" y="9"/>
                  </a:lnTo>
                  <a:lnTo>
                    <a:pt x="444" y="5"/>
                  </a:lnTo>
                  <a:lnTo>
                    <a:pt x="449" y="4"/>
                  </a:lnTo>
                  <a:lnTo>
                    <a:pt x="454" y="5"/>
                  </a:lnTo>
                  <a:lnTo>
                    <a:pt x="458" y="4"/>
                  </a:lnTo>
                  <a:lnTo>
                    <a:pt x="461" y="7"/>
                  </a:lnTo>
                  <a:lnTo>
                    <a:pt x="465" y="9"/>
                  </a:lnTo>
                  <a:lnTo>
                    <a:pt x="468" y="10"/>
                  </a:lnTo>
                  <a:lnTo>
                    <a:pt x="468" y="10"/>
                  </a:lnTo>
                  <a:lnTo>
                    <a:pt x="468" y="15"/>
                  </a:lnTo>
                  <a:lnTo>
                    <a:pt x="465" y="19"/>
                  </a:lnTo>
                  <a:lnTo>
                    <a:pt x="466" y="22"/>
                  </a:lnTo>
                  <a:lnTo>
                    <a:pt x="470" y="24"/>
                  </a:lnTo>
                  <a:lnTo>
                    <a:pt x="471" y="26"/>
                  </a:lnTo>
                  <a:lnTo>
                    <a:pt x="473" y="27"/>
                  </a:lnTo>
                  <a:lnTo>
                    <a:pt x="480" y="26"/>
                  </a:lnTo>
                  <a:lnTo>
                    <a:pt x="483" y="26"/>
                  </a:lnTo>
                  <a:lnTo>
                    <a:pt x="489" y="27"/>
                  </a:lnTo>
                  <a:lnTo>
                    <a:pt x="492" y="33"/>
                  </a:lnTo>
                  <a:lnTo>
                    <a:pt x="499" y="33"/>
                  </a:lnTo>
                  <a:lnTo>
                    <a:pt x="502" y="36"/>
                  </a:lnTo>
                  <a:lnTo>
                    <a:pt x="506" y="38"/>
                  </a:lnTo>
                  <a:lnTo>
                    <a:pt x="507" y="39"/>
                  </a:lnTo>
                  <a:lnTo>
                    <a:pt x="511" y="41"/>
                  </a:lnTo>
                  <a:lnTo>
                    <a:pt x="511" y="45"/>
                  </a:lnTo>
                  <a:lnTo>
                    <a:pt x="511" y="46"/>
                  </a:lnTo>
                  <a:lnTo>
                    <a:pt x="511" y="46"/>
                  </a:lnTo>
                  <a:lnTo>
                    <a:pt x="511" y="50"/>
                  </a:lnTo>
                  <a:lnTo>
                    <a:pt x="512" y="56"/>
                  </a:lnTo>
                  <a:lnTo>
                    <a:pt x="512" y="58"/>
                  </a:lnTo>
                  <a:lnTo>
                    <a:pt x="509" y="58"/>
                  </a:lnTo>
                  <a:lnTo>
                    <a:pt x="509" y="60"/>
                  </a:lnTo>
                  <a:lnTo>
                    <a:pt x="507" y="63"/>
                  </a:lnTo>
                  <a:lnTo>
                    <a:pt x="507" y="67"/>
                  </a:lnTo>
                  <a:lnTo>
                    <a:pt x="502" y="70"/>
                  </a:lnTo>
                  <a:lnTo>
                    <a:pt x="502" y="65"/>
                  </a:lnTo>
                  <a:lnTo>
                    <a:pt x="499" y="67"/>
                  </a:lnTo>
                  <a:lnTo>
                    <a:pt x="497" y="84"/>
                  </a:lnTo>
                  <a:lnTo>
                    <a:pt x="495" y="92"/>
                  </a:lnTo>
                  <a:lnTo>
                    <a:pt x="501" y="99"/>
                  </a:lnTo>
                  <a:lnTo>
                    <a:pt x="499" y="101"/>
                  </a:lnTo>
                  <a:lnTo>
                    <a:pt x="506" y="101"/>
                  </a:lnTo>
                  <a:lnTo>
                    <a:pt x="519" y="94"/>
                  </a:lnTo>
                  <a:lnTo>
                    <a:pt x="526" y="103"/>
                  </a:lnTo>
                  <a:lnTo>
                    <a:pt x="533" y="109"/>
                  </a:lnTo>
                  <a:lnTo>
                    <a:pt x="562" y="113"/>
                  </a:lnTo>
                  <a:lnTo>
                    <a:pt x="567" y="118"/>
                  </a:lnTo>
                  <a:lnTo>
                    <a:pt x="567" y="123"/>
                  </a:lnTo>
                  <a:lnTo>
                    <a:pt x="567" y="125"/>
                  </a:lnTo>
                  <a:lnTo>
                    <a:pt x="571" y="123"/>
                  </a:lnTo>
                  <a:lnTo>
                    <a:pt x="584" y="127"/>
                  </a:lnTo>
                  <a:lnTo>
                    <a:pt x="595" y="132"/>
                  </a:lnTo>
                  <a:lnTo>
                    <a:pt x="596" y="135"/>
                  </a:lnTo>
                  <a:lnTo>
                    <a:pt x="591" y="142"/>
                  </a:lnTo>
                  <a:lnTo>
                    <a:pt x="595" y="150"/>
                  </a:lnTo>
                  <a:lnTo>
                    <a:pt x="591" y="154"/>
                  </a:lnTo>
                  <a:lnTo>
                    <a:pt x="595" y="156"/>
                  </a:lnTo>
                  <a:lnTo>
                    <a:pt x="595" y="161"/>
                  </a:lnTo>
                  <a:lnTo>
                    <a:pt x="579" y="161"/>
                  </a:lnTo>
                  <a:lnTo>
                    <a:pt x="571" y="150"/>
                  </a:lnTo>
                  <a:lnTo>
                    <a:pt x="567" y="149"/>
                  </a:lnTo>
                  <a:lnTo>
                    <a:pt x="552" y="137"/>
                  </a:lnTo>
                  <a:lnTo>
                    <a:pt x="548" y="139"/>
                  </a:lnTo>
                  <a:lnTo>
                    <a:pt x="559" y="149"/>
                  </a:lnTo>
                  <a:lnTo>
                    <a:pt x="564" y="150"/>
                  </a:lnTo>
                  <a:lnTo>
                    <a:pt x="576" y="162"/>
                  </a:lnTo>
                  <a:lnTo>
                    <a:pt x="598" y="169"/>
                  </a:lnTo>
                  <a:lnTo>
                    <a:pt x="596" y="171"/>
                  </a:lnTo>
                  <a:lnTo>
                    <a:pt x="583" y="171"/>
                  </a:lnTo>
                  <a:lnTo>
                    <a:pt x="589" y="174"/>
                  </a:lnTo>
                  <a:lnTo>
                    <a:pt x="596" y="173"/>
                  </a:lnTo>
                  <a:lnTo>
                    <a:pt x="606" y="185"/>
                  </a:lnTo>
                  <a:lnTo>
                    <a:pt x="606" y="192"/>
                  </a:lnTo>
                  <a:lnTo>
                    <a:pt x="605" y="192"/>
                  </a:lnTo>
                  <a:lnTo>
                    <a:pt x="600" y="186"/>
                  </a:lnTo>
                  <a:lnTo>
                    <a:pt x="589" y="181"/>
                  </a:lnTo>
                  <a:lnTo>
                    <a:pt x="589" y="185"/>
                  </a:lnTo>
                  <a:lnTo>
                    <a:pt x="593" y="185"/>
                  </a:lnTo>
                  <a:lnTo>
                    <a:pt x="595" y="188"/>
                  </a:lnTo>
                  <a:lnTo>
                    <a:pt x="591" y="190"/>
                  </a:lnTo>
                  <a:lnTo>
                    <a:pt x="598" y="197"/>
                  </a:lnTo>
                  <a:lnTo>
                    <a:pt x="593" y="202"/>
                  </a:lnTo>
                  <a:lnTo>
                    <a:pt x="574" y="190"/>
                  </a:lnTo>
                  <a:lnTo>
                    <a:pt x="569" y="190"/>
                  </a:lnTo>
                  <a:lnTo>
                    <a:pt x="572" y="193"/>
                  </a:lnTo>
                  <a:lnTo>
                    <a:pt x="581" y="200"/>
                  </a:lnTo>
                  <a:lnTo>
                    <a:pt x="596" y="207"/>
                  </a:lnTo>
                  <a:lnTo>
                    <a:pt x="600" y="212"/>
                  </a:lnTo>
                  <a:lnTo>
                    <a:pt x="600" y="210"/>
                  </a:lnTo>
                  <a:lnTo>
                    <a:pt x="603" y="212"/>
                  </a:lnTo>
                  <a:lnTo>
                    <a:pt x="605" y="209"/>
                  </a:lnTo>
                  <a:lnTo>
                    <a:pt x="610" y="214"/>
                  </a:lnTo>
                  <a:lnTo>
                    <a:pt x="601" y="217"/>
                  </a:lnTo>
                  <a:lnTo>
                    <a:pt x="612" y="219"/>
                  </a:lnTo>
                  <a:lnTo>
                    <a:pt x="612" y="224"/>
                  </a:lnTo>
                  <a:lnTo>
                    <a:pt x="605" y="229"/>
                  </a:lnTo>
                  <a:lnTo>
                    <a:pt x="601" y="233"/>
                  </a:lnTo>
                  <a:lnTo>
                    <a:pt x="591" y="224"/>
                  </a:lnTo>
                  <a:lnTo>
                    <a:pt x="591" y="221"/>
                  </a:lnTo>
                  <a:lnTo>
                    <a:pt x="588" y="219"/>
                  </a:lnTo>
                  <a:lnTo>
                    <a:pt x="588" y="222"/>
                  </a:lnTo>
                  <a:lnTo>
                    <a:pt x="581" y="219"/>
                  </a:lnTo>
                  <a:lnTo>
                    <a:pt x="583" y="214"/>
                  </a:lnTo>
                  <a:lnTo>
                    <a:pt x="577" y="209"/>
                  </a:lnTo>
                  <a:lnTo>
                    <a:pt x="574" y="209"/>
                  </a:lnTo>
                  <a:lnTo>
                    <a:pt x="571" y="214"/>
                  </a:lnTo>
                  <a:lnTo>
                    <a:pt x="565" y="210"/>
                  </a:lnTo>
                  <a:lnTo>
                    <a:pt x="560" y="210"/>
                  </a:lnTo>
                  <a:lnTo>
                    <a:pt x="557" y="202"/>
                  </a:lnTo>
                  <a:lnTo>
                    <a:pt x="559" y="209"/>
                  </a:lnTo>
                  <a:lnTo>
                    <a:pt x="554" y="212"/>
                  </a:lnTo>
                  <a:lnTo>
                    <a:pt x="557" y="215"/>
                  </a:lnTo>
                  <a:lnTo>
                    <a:pt x="565" y="214"/>
                  </a:lnTo>
                  <a:lnTo>
                    <a:pt x="572" y="219"/>
                  </a:lnTo>
                  <a:lnTo>
                    <a:pt x="576" y="212"/>
                  </a:lnTo>
                  <a:lnTo>
                    <a:pt x="577" y="217"/>
                  </a:lnTo>
                  <a:lnTo>
                    <a:pt x="579" y="227"/>
                  </a:lnTo>
                  <a:lnTo>
                    <a:pt x="588" y="229"/>
                  </a:lnTo>
                  <a:lnTo>
                    <a:pt x="586" y="233"/>
                  </a:lnTo>
                  <a:lnTo>
                    <a:pt x="589" y="231"/>
                  </a:lnTo>
                  <a:lnTo>
                    <a:pt x="596" y="234"/>
                  </a:lnTo>
                  <a:lnTo>
                    <a:pt x="596" y="239"/>
                  </a:lnTo>
                  <a:lnTo>
                    <a:pt x="598" y="238"/>
                  </a:lnTo>
                  <a:lnTo>
                    <a:pt x="598" y="241"/>
                  </a:lnTo>
                  <a:lnTo>
                    <a:pt x="593" y="248"/>
                  </a:lnTo>
                  <a:lnTo>
                    <a:pt x="595" y="253"/>
                  </a:lnTo>
                  <a:lnTo>
                    <a:pt x="598" y="244"/>
                  </a:lnTo>
                  <a:lnTo>
                    <a:pt x="605" y="239"/>
                  </a:lnTo>
                  <a:lnTo>
                    <a:pt x="610" y="236"/>
                  </a:lnTo>
                  <a:lnTo>
                    <a:pt x="612" y="243"/>
                  </a:lnTo>
                  <a:lnTo>
                    <a:pt x="608" y="246"/>
                  </a:lnTo>
                  <a:lnTo>
                    <a:pt x="606" y="246"/>
                  </a:lnTo>
                  <a:lnTo>
                    <a:pt x="613" y="243"/>
                  </a:lnTo>
                  <a:lnTo>
                    <a:pt x="617" y="244"/>
                  </a:lnTo>
                  <a:lnTo>
                    <a:pt x="612" y="233"/>
                  </a:lnTo>
                  <a:lnTo>
                    <a:pt x="613" y="231"/>
                  </a:lnTo>
                  <a:lnTo>
                    <a:pt x="622" y="233"/>
                  </a:lnTo>
                  <a:lnTo>
                    <a:pt x="624" y="234"/>
                  </a:lnTo>
                  <a:lnTo>
                    <a:pt x="629" y="231"/>
                  </a:lnTo>
                  <a:lnTo>
                    <a:pt x="639" y="229"/>
                  </a:lnTo>
                  <a:lnTo>
                    <a:pt x="656" y="267"/>
                  </a:lnTo>
                  <a:lnTo>
                    <a:pt x="654" y="267"/>
                  </a:lnTo>
                  <a:lnTo>
                    <a:pt x="654" y="262"/>
                  </a:lnTo>
                  <a:lnTo>
                    <a:pt x="648" y="250"/>
                  </a:lnTo>
                  <a:lnTo>
                    <a:pt x="648" y="268"/>
                  </a:lnTo>
                  <a:lnTo>
                    <a:pt x="644" y="268"/>
                  </a:lnTo>
                  <a:lnTo>
                    <a:pt x="641" y="265"/>
                  </a:lnTo>
                  <a:lnTo>
                    <a:pt x="642" y="268"/>
                  </a:lnTo>
                  <a:lnTo>
                    <a:pt x="636" y="270"/>
                  </a:lnTo>
                  <a:lnTo>
                    <a:pt x="618" y="274"/>
                  </a:lnTo>
                  <a:lnTo>
                    <a:pt x="605" y="277"/>
                  </a:lnTo>
                  <a:lnTo>
                    <a:pt x="600" y="279"/>
                  </a:lnTo>
                  <a:lnTo>
                    <a:pt x="569" y="284"/>
                  </a:lnTo>
                  <a:lnTo>
                    <a:pt x="569" y="284"/>
                  </a:lnTo>
                  <a:lnTo>
                    <a:pt x="548" y="289"/>
                  </a:lnTo>
                  <a:lnTo>
                    <a:pt x="536" y="291"/>
                  </a:lnTo>
                  <a:lnTo>
                    <a:pt x="499" y="299"/>
                  </a:lnTo>
                  <a:lnTo>
                    <a:pt x="487" y="301"/>
                  </a:lnTo>
                  <a:lnTo>
                    <a:pt x="475" y="303"/>
                  </a:lnTo>
                  <a:lnTo>
                    <a:pt x="453" y="308"/>
                  </a:lnTo>
                  <a:lnTo>
                    <a:pt x="441" y="311"/>
                  </a:lnTo>
                  <a:lnTo>
                    <a:pt x="417" y="315"/>
                  </a:lnTo>
                  <a:lnTo>
                    <a:pt x="412" y="316"/>
                  </a:lnTo>
                  <a:lnTo>
                    <a:pt x="383" y="321"/>
                  </a:lnTo>
                  <a:close/>
                  <a:moveTo>
                    <a:pt x="673" y="99"/>
                  </a:moveTo>
                  <a:lnTo>
                    <a:pt x="675" y="99"/>
                  </a:lnTo>
                  <a:lnTo>
                    <a:pt x="673" y="108"/>
                  </a:lnTo>
                  <a:lnTo>
                    <a:pt x="671" y="116"/>
                  </a:lnTo>
                  <a:lnTo>
                    <a:pt x="668" y="118"/>
                  </a:lnTo>
                  <a:lnTo>
                    <a:pt x="670" y="115"/>
                  </a:lnTo>
                  <a:lnTo>
                    <a:pt x="668" y="115"/>
                  </a:lnTo>
                  <a:lnTo>
                    <a:pt x="670" y="113"/>
                  </a:lnTo>
                  <a:lnTo>
                    <a:pt x="673" y="99"/>
                  </a:lnTo>
                  <a:close/>
                  <a:moveTo>
                    <a:pt x="636" y="161"/>
                  </a:moveTo>
                  <a:lnTo>
                    <a:pt x="629" y="161"/>
                  </a:lnTo>
                  <a:lnTo>
                    <a:pt x="629" y="157"/>
                  </a:lnTo>
                  <a:lnTo>
                    <a:pt x="632" y="157"/>
                  </a:lnTo>
                  <a:lnTo>
                    <a:pt x="630" y="157"/>
                  </a:lnTo>
                  <a:lnTo>
                    <a:pt x="637" y="142"/>
                  </a:lnTo>
                  <a:lnTo>
                    <a:pt x="637" y="133"/>
                  </a:lnTo>
                  <a:lnTo>
                    <a:pt x="642" y="128"/>
                  </a:lnTo>
                  <a:lnTo>
                    <a:pt x="642" y="125"/>
                  </a:lnTo>
                  <a:lnTo>
                    <a:pt x="637" y="118"/>
                  </a:lnTo>
                  <a:lnTo>
                    <a:pt x="644" y="116"/>
                  </a:lnTo>
                  <a:lnTo>
                    <a:pt x="644" y="113"/>
                  </a:lnTo>
                  <a:lnTo>
                    <a:pt x="644" y="109"/>
                  </a:lnTo>
                  <a:lnTo>
                    <a:pt x="665" y="103"/>
                  </a:lnTo>
                  <a:lnTo>
                    <a:pt x="653" y="140"/>
                  </a:lnTo>
                  <a:lnTo>
                    <a:pt x="654" y="142"/>
                  </a:lnTo>
                  <a:lnTo>
                    <a:pt x="648" y="154"/>
                  </a:lnTo>
                  <a:lnTo>
                    <a:pt x="653" y="156"/>
                  </a:lnTo>
                  <a:lnTo>
                    <a:pt x="646" y="157"/>
                  </a:lnTo>
                  <a:lnTo>
                    <a:pt x="646" y="162"/>
                  </a:lnTo>
                  <a:lnTo>
                    <a:pt x="649" y="164"/>
                  </a:lnTo>
                  <a:lnTo>
                    <a:pt x="641" y="168"/>
                  </a:lnTo>
                  <a:lnTo>
                    <a:pt x="642" y="173"/>
                  </a:lnTo>
                  <a:lnTo>
                    <a:pt x="644" y="174"/>
                  </a:lnTo>
                  <a:lnTo>
                    <a:pt x="641" y="174"/>
                  </a:lnTo>
                  <a:lnTo>
                    <a:pt x="637" y="181"/>
                  </a:lnTo>
                  <a:lnTo>
                    <a:pt x="639" y="205"/>
                  </a:lnTo>
                  <a:lnTo>
                    <a:pt x="636" y="207"/>
                  </a:lnTo>
                  <a:lnTo>
                    <a:pt x="629" y="188"/>
                  </a:lnTo>
                  <a:lnTo>
                    <a:pt x="630" y="169"/>
                  </a:lnTo>
                  <a:lnTo>
                    <a:pt x="629" y="169"/>
                  </a:lnTo>
                  <a:lnTo>
                    <a:pt x="629" y="166"/>
                  </a:lnTo>
                  <a:lnTo>
                    <a:pt x="630" y="161"/>
                  </a:lnTo>
                  <a:lnTo>
                    <a:pt x="636" y="16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1" name="Freeform 40"/>
            <p:cNvSpPr>
              <a:spLocks/>
            </p:cNvSpPr>
            <p:nvPr/>
          </p:nvSpPr>
          <p:spPr bwMode="gray">
            <a:xfrm>
              <a:off x="5293999" y="3467921"/>
              <a:ext cx="914628" cy="792249"/>
            </a:xfrm>
            <a:custGeom>
              <a:avLst/>
              <a:gdLst/>
              <a:ahLst/>
              <a:cxnLst>
                <a:cxn ang="0">
                  <a:pos x="568" y="398"/>
                </a:cxn>
                <a:cxn ang="0">
                  <a:pos x="564" y="412"/>
                </a:cxn>
                <a:cxn ang="0">
                  <a:pos x="553" y="418"/>
                </a:cxn>
                <a:cxn ang="0">
                  <a:pos x="542" y="437"/>
                </a:cxn>
                <a:cxn ang="0">
                  <a:pos x="539" y="427"/>
                </a:cxn>
                <a:cxn ang="0">
                  <a:pos x="535" y="432"/>
                </a:cxn>
                <a:cxn ang="0">
                  <a:pos x="530" y="449"/>
                </a:cxn>
                <a:cxn ang="0">
                  <a:pos x="530" y="461"/>
                </a:cxn>
                <a:cxn ang="0">
                  <a:pos x="532" y="470"/>
                </a:cxn>
                <a:cxn ang="0">
                  <a:pos x="501" y="489"/>
                </a:cxn>
                <a:cxn ang="0">
                  <a:pos x="477" y="475"/>
                </a:cxn>
                <a:cxn ang="0">
                  <a:pos x="491" y="460"/>
                </a:cxn>
                <a:cxn ang="0">
                  <a:pos x="486" y="446"/>
                </a:cxn>
                <a:cxn ang="0">
                  <a:pos x="445" y="439"/>
                </a:cxn>
                <a:cxn ang="0">
                  <a:pos x="313" y="446"/>
                </a:cxn>
                <a:cxn ang="0">
                  <a:pos x="211" y="449"/>
                </a:cxn>
                <a:cxn ang="0">
                  <a:pos x="100" y="422"/>
                </a:cxn>
                <a:cxn ang="0">
                  <a:pos x="98" y="323"/>
                </a:cxn>
                <a:cxn ang="0">
                  <a:pos x="96" y="198"/>
                </a:cxn>
                <a:cxn ang="0">
                  <a:pos x="91" y="162"/>
                </a:cxn>
                <a:cxn ang="0">
                  <a:pos x="72" y="147"/>
                </a:cxn>
                <a:cxn ang="0">
                  <a:pos x="60" y="131"/>
                </a:cxn>
                <a:cxn ang="0">
                  <a:pos x="62" y="109"/>
                </a:cxn>
                <a:cxn ang="0">
                  <a:pos x="74" y="101"/>
                </a:cxn>
                <a:cxn ang="0">
                  <a:pos x="72" y="96"/>
                </a:cxn>
                <a:cxn ang="0">
                  <a:pos x="67" y="84"/>
                </a:cxn>
                <a:cxn ang="0">
                  <a:pos x="48" y="84"/>
                </a:cxn>
                <a:cxn ang="0">
                  <a:pos x="31" y="68"/>
                </a:cxn>
                <a:cxn ang="0">
                  <a:pos x="26" y="54"/>
                </a:cxn>
                <a:cxn ang="0">
                  <a:pos x="11" y="39"/>
                </a:cxn>
                <a:cxn ang="0">
                  <a:pos x="7" y="19"/>
                </a:cxn>
                <a:cxn ang="0">
                  <a:pos x="4" y="15"/>
                </a:cxn>
                <a:cxn ang="0">
                  <a:pos x="93" y="10"/>
                </a:cxn>
                <a:cxn ang="0">
                  <a:pos x="195" y="8"/>
                </a:cxn>
                <a:cxn ang="0">
                  <a:pos x="310" y="0"/>
                </a:cxn>
                <a:cxn ang="0">
                  <a:pos x="337" y="10"/>
                </a:cxn>
                <a:cxn ang="0">
                  <a:pos x="344" y="20"/>
                </a:cxn>
                <a:cxn ang="0">
                  <a:pos x="347" y="37"/>
                </a:cxn>
                <a:cxn ang="0">
                  <a:pos x="354" y="73"/>
                </a:cxn>
                <a:cxn ang="0">
                  <a:pos x="361" y="94"/>
                </a:cxn>
                <a:cxn ang="0">
                  <a:pos x="390" y="123"/>
                </a:cxn>
                <a:cxn ang="0">
                  <a:pos x="417" y="148"/>
                </a:cxn>
                <a:cxn ang="0">
                  <a:pos x="428" y="181"/>
                </a:cxn>
                <a:cxn ang="0">
                  <a:pos x="455" y="176"/>
                </a:cxn>
                <a:cxn ang="0">
                  <a:pos x="465" y="191"/>
                </a:cxn>
                <a:cxn ang="0">
                  <a:pos x="460" y="217"/>
                </a:cxn>
                <a:cxn ang="0">
                  <a:pos x="453" y="249"/>
                </a:cxn>
                <a:cxn ang="0">
                  <a:pos x="474" y="272"/>
                </a:cxn>
                <a:cxn ang="0">
                  <a:pos x="494" y="287"/>
                </a:cxn>
                <a:cxn ang="0">
                  <a:pos x="513" y="295"/>
                </a:cxn>
                <a:cxn ang="0">
                  <a:pos x="529" y="313"/>
                </a:cxn>
                <a:cxn ang="0">
                  <a:pos x="534" y="342"/>
                </a:cxn>
                <a:cxn ang="0">
                  <a:pos x="535" y="354"/>
                </a:cxn>
                <a:cxn ang="0">
                  <a:pos x="553" y="377"/>
                </a:cxn>
                <a:cxn ang="0">
                  <a:pos x="553" y="367"/>
                </a:cxn>
                <a:cxn ang="0">
                  <a:pos x="568" y="381"/>
                </a:cxn>
              </a:cxnLst>
              <a:rect l="0" t="0" r="r" b="b"/>
              <a:pathLst>
                <a:path w="568" h="492">
                  <a:moveTo>
                    <a:pt x="568" y="381"/>
                  </a:moveTo>
                  <a:lnTo>
                    <a:pt x="566" y="391"/>
                  </a:lnTo>
                  <a:lnTo>
                    <a:pt x="563" y="393"/>
                  </a:lnTo>
                  <a:lnTo>
                    <a:pt x="563" y="395"/>
                  </a:lnTo>
                  <a:lnTo>
                    <a:pt x="564" y="398"/>
                  </a:lnTo>
                  <a:lnTo>
                    <a:pt x="568" y="398"/>
                  </a:lnTo>
                  <a:lnTo>
                    <a:pt x="568" y="401"/>
                  </a:lnTo>
                  <a:lnTo>
                    <a:pt x="566" y="403"/>
                  </a:lnTo>
                  <a:lnTo>
                    <a:pt x="563" y="403"/>
                  </a:lnTo>
                  <a:lnTo>
                    <a:pt x="561" y="407"/>
                  </a:lnTo>
                  <a:lnTo>
                    <a:pt x="561" y="408"/>
                  </a:lnTo>
                  <a:lnTo>
                    <a:pt x="564" y="412"/>
                  </a:lnTo>
                  <a:lnTo>
                    <a:pt x="564" y="413"/>
                  </a:lnTo>
                  <a:lnTo>
                    <a:pt x="563" y="417"/>
                  </a:lnTo>
                  <a:lnTo>
                    <a:pt x="561" y="422"/>
                  </a:lnTo>
                  <a:lnTo>
                    <a:pt x="559" y="424"/>
                  </a:lnTo>
                  <a:lnTo>
                    <a:pt x="556" y="424"/>
                  </a:lnTo>
                  <a:lnTo>
                    <a:pt x="553" y="418"/>
                  </a:lnTo>
                  <a:lnTo>
                    <a:pt x="551" y="418"/>
                  </a:lnTo>
                  <a:lnTo>
                    <a:pt x="549" y="418"/>
                  </a:lnTo>
                  <a:lnTo>
                    <a:pt x="547" y="418"/>
                  </a:lnTo>
                  <a:lnTo>
                    <a:pt x="544" y="430"/>
                  </a:lnTo>
                  <a:lnTo>
                    <a:pt x="546" y="432"/>
                  </a:lnTo>
                  <a:lnTo>
                    <a:pt x="542" y="437"/>
                  </a:lnTo>
                  <a:lnTo>
                    <a:pt x="541" y="437"/>
                  </a:lnTo>
                  <a:lnTo>
                    <a:pt x="539" y="436"/>
                  </a:lnTo>
                  <a:lnTo>
                    <a:pt x="541" y="432"/>
                  </a:lnTo>
                  <a:lnTo>
                    <a:pt x="539" y="432"/>
                  </a:lnTo>
                  <a:lnTo>
                    <a:pt x="541" y="429"/>
                  </a:lnTo>
                  <a:lnTo>
                    <a:pt x="539" y="427"/>
                  </a:lnTo>
                  <a:lnTo>
                    <a:pt x="537" y="425"/>
                  </a:lnTo>
                  <a:lnTo>
                    <a:pt x="535" y="425"/>
                  </a:lnTo>
                  <a:lnTo>
                    <a:pt x="532" y="427"/>
                  </a:lnTo>
                  <a:lnTo>
                    <a:pt x="532" y="429"/>
                  </a:lnTo>
                  <a:lnTo>
                    <a:pt x="532" y="430"/>
                  </a:lnTo>
                  <a:lnTo>
                    <a:pt x="535" y="432"/>
                  </a:lnTo>
                  <a:lnTo>
                    <a:pt x="537" y="436"/>
                  </a:lnTo>
                  <a:lnTo>
                    <a:pt x="534" y="439"/>
                  </a:lnTo>
                  <a:lnTo>
                    <a:pt x="537" y="442"/>
                  </a:lnTo>
                  <a:lnTo>
                    <a:pt x="537" y="448"/>
                  </a:lnTo>
                  <a:lnTo>
                    <a:pt x="535" y="449"/>
                  </a:lnTo>
                  <a:lnTo>
                    <a:pt x="530" y="449"/>
                  </a:lnTo>
                  <a:lnTo>
                    <a:pt x="529" y="451"/>
                  </a:lnTo>
                  <a:lnTo>
                    <a:pt x="530" y="454"/>
                  </a:lnTo>
                  <a:lnTo>
                    <a:pt x="535" y="456"/>
                  </a:lnTo>
                  <a:lnTo>
                    <a:pt x="537" y="458"/>
                  </a:lnTo>
                  <a:lnTo>
                    <a:pt x="535" y="460"/>
                  </a:lnTo>
                  <a:lnTo>
                    <a:pt x="530" y="461"/>
                  </a:lnTo>
                  <a:lnTo>
                    <a:pt x="525" y="460"/>
                  </a:lnTo>
                  <a:lnTo>
                    <a:pt x="523" y="460"/>
                  </a:lnTo>
                  <a:lnTo>
                    <a:pt x="523" y="461"/>
                  </a:lnTo>
                  <a:lnTo>
                    <a:pt x="525" y="463"/>
                  </a:lnTo>
                  <a:lnTo>
                    <a:pt x="530" y="468"/>
                  </a:lnTo>
                  <a:lnTo>
                    <a:pt x="532" y="470"/>
                  </a:lnTo>
                  <a:lnTo>
                    <a:pt x="532" y="473"/>
                  </a:lnTo>
                  <a:lnTo>
                    <a:pt x="527" y="477"/>
                  </a:lnTo>
                  <a:lnTo>
                    <a:pt x="525" y="478"/>
                  </a:lnTo>
                  <a:lnTo>
                    <a:pt x="525" y="485"/>
                  </a:lnTo>
                  <a:lnTo>
                    <a:pt x="522" y="487"/>
                  </a:lnTo>
                  <a:lnTo>
                    <a:pt x="501" y="489"/>
                  </a:lnTo>
                  <a:lnTo>
                    <a:pt x="474" y="492"/>
                  </a:lnTo>
                  <a:lnTo>
                    <a:pt x="465" y="492"/>
                  </a:lnTo>
                  <a:lnTo>
                    <a:pt x="470" y="482"/>
                  </a:lnTo>
                  <a:lnTo>
                    <a:pt x="474" y="478"/>
                  </a:lnTo>
                  <a:lnTo>
                    <a:pt x="476" y="478"/>
                  </a:lnTo>
                  <a:lnTo>
                    <a:pt x="477" y="475"/>
                  </a:lnTo>
                  <a:lnTo>
                    <a:pt x="477" y="473"/>
                  </a:lnTo>
                  <a:lnTo>
                    <a:pt x="479" y="471"/>
                  </a:lnTo>
                  <a:lnTo>
                    <a:pt x="482" y="468"/>
                  </a:lnTo>
                  <a:lnTo>
                    <a:pt x="486" y="466"/>
                  </a:lnTo>
                  <a:lnTo>
                    <a:pt x="488" y="461"/>
                  </a:lnTo>
                  <a:lnTo>
                    <a:pt x="491" y="460"/>
                  </a:lnTo>
                  <a:lnTo>
                    <a:pt x="493" y="458"/>
                  </a:lnTo>
                  <a:lnTo>
                    <a:pt x="491" y="454"/>
                  </a:lnTo>
                  <a:lnTo>
                    <a:pt x="491" y="451"/>
                  </a:lnTo>
                  <a:lnTo>
                    <a:pt x="491" y="448"/>
                  </a:lnTo>
                  <a:lnTo>
                    <a:pt x="489" y="448"/>
                  </a:lnTo>
                  <a:lnTo>
                    <a:pt x="486" y="446"/>
                  </a:lnTo>
                  <a:lnTo>
                    <a:pt x="484" y="444"/>
                  </a:lnTo>
                  <a:lnTo>
                    <a:pt x="486" y="441"/>
                  </a:lnTo>
                  <a:lnTo>
                    <a:pt x="484" y="441"/>
                  </a:lnTo>
                  <a:lnTo>
                    <a:pt x="482" y="437"/>
                  </a:lnTo>
                  <a:lnTo>
                    <a:pt x="476" y="437"/>
                  </a:lnTo>
                  <a:lnTo>
                    <a:pt x="445" y="439"/>
                  </a:lnTo>
                  <a:lnTo>
                    <a:pt x="426" y="441"/>
                  </a:lnTo>
                  <a:lnTo>
                    <a:pt x="399" y="442"/>
                  </a:lnTo>
                  <a:lnTo>
                    <a:pt x="375" y="442"/>
                  </a:lnTo>
                  <a:lnTo>
                    <a:pt x="371" y="442"/>
                  </a:lnTo>
                  <a:lnTo>
                    <a:pt x="351" y="444"/>
                  </a:lnTo>
                  <a:lnTo>
                    <a:pt x="313" y="446"/>
                  </a:lnTo>
                  <a:lnTo>
                    <a:pt x="312" y="446"/>
                  </a:lnTo>
                  <a:lnTo>
                    <a:pt x="279" y="448"/>
                  </a:lnTo>
                  <a:lnTo>
                    <a:pt x="257" y="448"/>
                  </a:lnTo>
                  <a:lnTo>
                    <a:pt x="252" y="448"/>
                  </a:lnTo>
                  <a:lnTo>
                    <a:pt x="212" y="449"/>
                  </a:lnTo>
                  <a:lnTo>
                    <a:pt x="211" y="449"/>
                  </a:lnTo>
                  <a:lnTo>
                    <a:pt x="187" y="449"/>
                  </a:lnTo>
                  <a:lnTo>
                    <a:pt x="165" y="451"/>
                  </a:lnTo>
                  <a:lnTo>
                    <a:pt x="146" y="451"/>
                  </a:lnTo>
                  <a:lnTo>
                    <a:pt x="100" y="451"/>
                  </a:lnTo>
                  <a:lnTo>
                    <a:pt x="100" y="432"/>
                  </a:lnTo>
                  <a:lnTo>
                    <a:pt x="100" y="422"/>
                  </a:lnTo>
                  <a:lnTo>
                    <a:pt x="100" y="396"/>
                  </a:lnTo>
                  <a:lnTo>
                    <a:pt x="100" y="389"/>
                  </a:lnTo>
                  <a:lnTo>
                    <a:pt x="100" y="360"/>
                  </a:lnTo>
                  <a:lnTo>
                    <a:pt x="100" y="357"/>
                  </a:lnTo>
                  <a:lnTo>
                    <a:pt x="98" y="326"/>
                  </a:lnTo>
                  <a:lnTo>
                    <a:pt x="98" y="323"/>
                  </a:lnTo>
                  <a:lnTo>
                    <a:pt x="98" y="285"/>
                  </a:lnTo>
                  <a:lnTo>
                    <a:pt x="98" y="282"/>
                  </a:lnTo>
                  <a:lnTo>
                    <a:pt x="98" y="246"/>
                  </a:lnTo>
                  <a:lnTo>
                    <a:pt x="96" y="237"/>
                  </a:lnTo>
                  <a:lnTo>
                    <a:pt x="98" y="208"/>
                  </a:lnTo>
                  <a:lnTo>
                    <a:pt x="96" y="198"/>
                  </a:lnTo>
                  <a:lnTo>
                    <a:pt x="96" y="176"/>
                  </a:lnTo>
                  <a:lnTo>
                    <a:pt x="96" y="169"/>
                  </a:lnTo>
                  <a:lnTo>
                    <a:pt x="98" y="166"/>
                  </a:lnTo>
                  <a:lnTo>
                    <a:pt x="96" y="164"/>
                  </a:lnTo>
                  <a:lnTo>
                    <a:pt x="94" y="164"/>
                  </a:lnTo>
                  <a:lnTo>
                    <a:pt x="91" y="162"/>
                  </a:lnTo>
                  <a:lnTo>
                    <a:pt x="86" y="162"/>
                  </a:lnTo>
                  <a:lnTo>
                    <a:pt x="83" y="159"/>
                  </a:lnTo>
                  <a:lnTo>
                    <a:pt x="79" y="159"/>
                  </a:lnTo>
                  <a:lnTo>
                    <a:pt x="77" y="152"/>
                  </a:lnTo>
                  <a:lnTo>
                    <a:pt x="74" y="150"/>
                  </a:lnTo>
                  <a:lnTo>
                    <a:pt x="72" y="147"/>
                  </a:lnTo>
                  <a:lnTo>
                    <a:pt x="72" y="143"/>
                  </a:lnTo>
                  <a:lnTo>
                    <a:pt x="72" y="140"/>
                  </a:lnTo>
                  <a:lnTo>
                    <a:pt x="71" y="140"/>
                  </a:lnTo>
                  <a:lnTo>
                    <a:pt x="67" y="137"/>
                  </a:lnTo>
                  <a:lnTo>
                    <a:pt x="65" y="133"/>
                  </a:lnTo>
                  <a:lnTo>
                    <a:pt x="60" y="131"/>
                  </a:lnTo>
                  <a:lnTo>
                    <a:pt x="60" y="128"/>
                  </a:lnTo>
                  <a:lnTo>
                    <a:pt x="55" y="123"/>
                  </a:lnTo>
                  <a:lnTo>
                    <a:pt x="55" y="121"/>
                  </a:lnTo>
                  <a:lnTo>
                    <a:pt x="60" y="118"/>
                  </a:lnTo>
                  <a:lnTo>
                    <a:pt x="59" y="113"/>
                  </a:lnTo>
                  <a:lnTo>
                    <a:pt x="62" y="109"/>
                  </a:lnTo>
                  <a:lnTo>
                    <a:pt x="65" y="107"/>
                  </a:lnTo>
                  <a:lnTo>
                    <a:pt x="67" y="102"/>
                  </a:lnTo>
                  <a:lnTo>
                    <a:pt x="67" y="101"/>
                  </a:lnTo>
                  <a:lnTo>
                    <a:pt x="69" y="102"/>
                  </a:lnTo>
                  <a:lnTo>
                    <a:pt x="72" y="102"/>
                  </a:lnTo>
                  <a:lnTo>
                    <a:pt x="74" y="101"/>
                  </a:lnTo>
                  <a:lnTo>
                    <a:pt x="74" y="99"/>
                  </a:lnTo>
                  <a:lnTo>
                    <a:pt x="74" y="99"/>
                  </a:lnTo>
                  <a:lnTo>
                    <a:pt x="71" y="99"/>
                  </a:lnTo>
                  <a:lnTo>
                    <a:pt x="69" y="97"/>
                  </a:lnTo>
                  <a:lnTo>
                    <a:pt x="69" y="96"/>
                  </a:lnTo>
                  <a:lnTo>
                    <a:pt x="72" y="96"/>
                  </a:lnTo>
                  <a:lnTo>
                    <a:pt x="72" y="92"/>
                  </a:lnTo>
                  <a:lnTo>
                    <a:pt x="72" y="92"/>
                  </a:lnTo>
                  <a:lnTo>
                    <a:pt x="71" y="90"/>
                  </a:lnTo>
                  <a:lnTo>
                    <a:pt x="69" y="89"/>
                  </a:lnTo>
                  <a:lnTo>
                    <a:pt x="69" y="84"/>
                  </a:lnTo>
                  <a:lnTo>
                    <a:pt x="67" y="84"/>
                  </a:lnTo>
                  <a:lnTo>
                    <a:pt x="62" y="84"/>
                  </a:lnTo>
                  <a:lnTo>
                    <a:pt x="60" y="85"/>
                  </a:lnTo>
                  <a:lnTo>
                    <a:pt x="59" y="87"/>
                  </a:lnTo>
                  <a:lnTo>
                    <a:pt x="55" y="87"/>
                  </a:lnTo>
                  <a:lnTo>
                    <a:pt x="52" y="84"/>
                  </a:lnTo>
                  <a:lnTo>
                    <a:pt x="48" y="84"/>
                  </a:lnTo>
                  <a:lnTo>
                    <a:pt x="47" y="80"/>
                  </a:lnTo>
                  <a:lnTo>
                    <a:pt x="43" y="80"/>
                  </a:lnTo>
                  <a:lnTo>
                    <a:pt x="38" y="73"/>
                  </a:lnTo>
                  <a:lnTo>
                    <a:pt x="35" y="70"/>
                  </a:lnTo>
                  <a:lnTo>
                    <a:pt x="33" y="70"/>
                  </a:lnTo>
                  <a:lnTo>
                    <a:pt x="31" y="68"/>
                  </a:lnTo>
                  <a:lnTo>
                    <a:pt x="30" y="68"/>
                  </a:lnTo>
                  <a:lnTo>
                    <a:pt x="31" y="65"/>
                  </a:lnTo>
                  <a:lnTo>
                    <a:pt x="31" y="63"/>
                  </a:lnTo>
                  <a:lnTo>
                    <a:pt x="31" y="61"/>
                  </a:lnTo>
                  <a:lnTo>
                    <a:pt x="30" y="60"/>
                  </a:lnTo>
                  <a:lnTo>
                    <a:pt x="26" y="54"/>
                  </a:lnTo>
                  <a:lnTo>
                    <a:pt x="26" y="49"/>
                  </a:lnTo>
                  <a:lnTo>
                    <a:pt x="24" y="49"/>
                  </a:lnTo>
                  <a:lnTo>
                    <a:pt x="19" y="44"/>
                  </a:lnTo>
                  <a:lnTo>
                    <a:pt x="14" y="39"/>
                  </a:lnTo>
                  <a:lnTo>
                    <a:pt x="11" y="39"/>
                  </a:lnTo>
                  <a:lnTo>
                    <a:pt x="11" y="39"/>
                  </a:lnTo>
                  <a:lnTo>
                    <a:pt x="12" y="37"/>
                  </a:lnTo>
                  <a:lnTo>
                    <a:pt x="12" y="36"/>
                  </a:lnTo>
                  <a:lnTo>
                    <a:pt x="12" y="34"/>
                  </a:lnTo>
                  <a:lnTo>
                    <a:pt x="11" y="31"/>
                  </a:lnTo>
                  <a:lnTo>
                    <a:pt x="7" y="20"/>
                  </a:lnTo>
                  <a:lnTo>
                    <a:pt x="7" y="19"/>
                  </a:lnTo>
                  <a:lnTo>
                    <a:pt x="9" y="15"/>
                  </a:lnTo>
                  <a:lnTo>
                    <a:pt x="9" y="13"/>
                  </a:lnTo>
                  <a:lnTo>
                    <a:pt x="7" y="12"/>
                  </a:lnTo>
                  <a:lnTo>
                    <a:pt x="7" y="13"/>
                  </a:lnTo>
                  <a:lnTo>
                    <a:pt x="7" y="17"/>
                  </a:lnTo>
                  <a:lnTo>
                    <a:pt x="4" y="15"/>
                  </a:lnTo>
                  <a:lnTo>
                    <a:pt x="0" y="13"/>
                  </a:lnTo>
                  <a:lnTo>
                    <a:pt x="0" y="10"/>
                  </a:lnTo>
                  <a:lnTo>
                    <a:pt x="31" y="10"/>
                  </a:lnTo>
                  <a:lnTo>
                    <a:pt x="45" y="10"/>
                  </a:lnTo>
                  <a:lnTo>
                    <a:pt x="69" y="10"/>
                  </a:lnTo>
                  <a:lnTo>
                    <a:pt x="93" y="10"/>
                  </a:lnTo>
                  <a:lnTo>
                    <a:pt x="105" y="10"/>
                  </a:lnTo>
                  <a:lnTo>
                    <a:pt x="125" y="10"/>
                  </a:lnTo>
                  <a:lnTo>
                    <a:pt x="142" y="10"/>
                  </a:lnTo>
                  <a:lnTo>
                    <a:pt x="161" y="8"/>
                  </a:lnTo>
                  <a:lnTo>
                    <a:pt x="180" y="8"/>
                  </a:lnTo>
                  <a:lnTo>
                    <a:pt x="195" y="8"/>
                  </a:lnTo>
                  <a:lnTo>
                    <a:pt x="216" y="7"/>
                  </a:lnTo>
                  <a:lnTo>
                    <a:pt x="248" y="5"/>
                  </a:lnTo>
                  <a:lnTo>
                    <a:pt x="253" y="5"/>
                  </a:lnTo>
                  <a:lnTo>
                    <a:pt x="276" y="3"/>
                  </a:lnTo>
                  <a:lnTo>
                    <a:pt x="289" y="2"/>
                  </a:lnTo>
                  <a:lnTo>
                    <a:pt x="310" y="0"/>
                  </a:lnTo>
                  <a:lnTo>
                    <a:pt x="327" y="0"/>
                  </a:lnTo>
                  <a:lnTo>
                    <a:pt x="329" y="2"/>
                  </a:lnTo>
                  <a:lnTo>
                    <a:pt x="330" y="3"/>
                  </a:lnTo>
                  <a:lnTo>
                    <a:pt x="330" y="7"/>
                  </a:lnTo>
                  <a:lnTo>
                    <a:pt x="337" y="8"/>
                  </a:lnTo>
                  <a:lnTo>
                    <a:pt x="337" y="10"/>
                  </a:lnTo>
                  <a:lnTo>
                    <a:pt x="339" y="13"/>
                  </a:lnTo>
                  <a:lnTo>
                    <a:pt x="341" y="15"/>
                  </a:lnTo>
                  <a:lnTo>
                    <a:pt x="344" y="15"/>
                  </a:lnTo>
                  <a:lnTo>
                    <a:pt x="344" y="17"/>
                  </a:lnTo>
                  <a:lnTo>
                    <a:pt x="344" y="19"/>
                  </a:lnTo>
                  <a:lnTo>
                    <a:pt x="344" y="20"/>
                  </a:lnTo>
                  <a:lnTo>
                    <a:pt x="347" y="20"/>
                  </a:lnTo>
                  <a:lnTo>
                    <a:pt x="347" y="22"/>
                  </a:lnTo>
                  <a:lnTo>
                    <a:pt x="349" y="22"/>
                  </a:lnTo>
                  <a:lnTo>
                    <a:pt x="351" y="24"/>
                  </a:lnTo>
                  <a:lnTo>
                    <a:pt x="349" y="31"/>
                  </a:lnTo>
                  <a:lnTo>
                    <a:pt x="347" y="37"/>
                  </a:lnTo>
                  <a:lnTo>
                    <a:pt x="347" y="43"/>
                  </a:lnTo>
                  <a:lnTo>
                    <a:pt x="347" y="49"/>
                  </a:lnTo>
                  <a:lnTo>
                    <a:pt x="347" y="58"/>
                  </a:lnTo>
                  <a:lnTo>
                    <a:pt x="349" y="65"/>
                  </a:lnTo>
                  <a:lnTo>
                    <a:pt x="354" y="70"/>
                  </a:lnTo>
                  <a:lnTo>
                    <a:pt x="354" y="73"/>
                  </a:lnTo>
                  <a:lnTo>
                    <a:pt x="354" y="75"/>
                  </a:lnTo>
                  <a:lnTo>
                    <a:pt x="354" y="77"/>
                  </a:lnTo>
                  <a:lnTo>
                    <a:pt x="354" y="78"/>
                  </a:lnTo>
                  <a:lnTo>
                    <a:pt x="359" y="85"/>
                  </a:lnTo>
                  <a:lnTo>
                    <a:pt x="361" y="90"/>
                  </a:lnTo>
                  <a:lnTo>
                    <a:pt x="361" y="94"/>
                  </a:lnTo>
                  <a:lnTo>
                    <a:pt x="366" y="97"/>
                  </a:lnTo>
                  <a:lnTo>
                    <a:pt x="375" y="106"/>
                  </a:lnTo>
                  <a:lnTo>
                    <a:pt x="380" y="111"/>
                  </a:lnTo>
                  <a:lnTo>
                    <a:pt x="385" y="114"/>
                  </a:lnTo>
                  <a:lnTo>
                    <a:pt x="387" y="119"/>
                  </a:lnTo>
                  <a:lnTo>
                    <a:pt x="390" y="123"/>
                  </a:lnTo>
                  <a:lnTo>
                    <a:pt x="397" y="126"/>
                  </a:lnTo>
                  <a:lnTo>
                    <a:pt x="406" y="131"/>
                  </a:lnTo>
                  <a:lnTo>
                    <a:pt x="412" y="138"/>
                  </a:lnTo>
                  <a:lnTo>
                    <a:pt x="416" y="143"/>
                  </a:lnTo>
                  <a:lnTo>
                    <a:pt x="416" y="145"/>
                  </a:lnTo>
                  <a:lnTo>
                    <a:pt x="417" y="148"/>
                  </a:lnTo>
                  <a:lnTo>
                    <a:pt x="417" y="154"/>
                  </a:lnTo>
                  <a:lnTo>
                    <a:pt x="421" y="159"/>
                  </a:lnTo>
                  <a:lnTo>
                    <a:pt x="419" y="162"/>
                  </a:lnTo>
                  <a:lnTo>
                    <a:pt x="419" y="166"/>
                  </a:lnTo>
                  <a:lnTo>
                    <a:pt x="423" y="176"/>
                  </a:lnTo>
                  <a:lnTo>
                    <a:pt x="428" y="181"/>
                  </a:lnTo>
                  <a:lnTo>
                    <a:pt x="431" y="183"/>
                  </a:lnTo>
                  <a:lnTo>
                    <a:pt x="435" y="179"/>
                  </a:lnTo>
                  <a:lnTo>
                    <a:pt x="440" y="172"/>
                  </a:lnTo>
                  <a:lnTo>
                    <a:pt x="445" y="172"/>
                  </a:lnTo>
                  <a:lnTo>
                    <a:pt x="452" y="176"/>
                  </a:lnTo>
                  <a:lnTo>
                    <a:pt x="455" y="176"/>
                  </a:lnTo>
                  <a:lnTo>
                    <a:pt x="459" y="176"/>
                  </a:lnTo>
                  <a:lnTo>
                    <a:pt x="469" y="183"/>
                  </a:lnTo>
                  <a:lnTo>
                    <a:pt x="470" y="184"/>
                  </a:lnTo>
                  <a:lnTo>
                    <a:pt x="469" y="188"/>
                  </a:lnTo>
                  <a:lnTo>
                    <a:pt x="469" y="190"/>
                  </a:lnTo>
                  <a:lnTo>
                    <a:pt x="465" y="191"/>
                  </a:lnTo>
                  <a:lnTo>
                    <a:pt x="464" y="196"/>
                  </a:lnTo>
                  <a:lnTo>
                    <a:pt x="464" y="200"/>
                  </a:lnTo>
                  <a:lnTo>
                    <a:pt x="465" y="203"/>
                  </a:lnTo>
                  <a:lnTo>
                    <a:pt x="465" y="208"/>
                  </a:lnTo>
                  <a:lnTo>
                    <a:pt x="460" y="213"/>
                  </a:lnTo>
                  <a:lnTo>
                    <a:pt x="460" y="217"/>
                  </a:lnTo>
                  <a:lnTo>
                    <a:pt x="459" y="219"/>
                  </a:lnTo>
                  <a:lnTo>
                    <a:pt x="457" y="229"/>
                  </a:lnTo>
                  <a:lnTo>
                    <a:pt x="453" y="234"/>
                  </a:lnTo>
                  <a:lnTo>
                    <a:pt x="452" y="236"/>
                  </a:lnTo>
                  <a:lnTo>
                    <a:pt x="452" y="241"/>
                  </a:lnTo>
                  <a:lnTo>
                    <a:pt x="453" y="249"/>
                  </a:lnTo>
                  <a:lnTo>
                    <a:pt x="455" y="254"/>
                  </a:lnTo>
                  <a:lnTo>
                    <a:pt x="460" y="258"/>
                  </a:lnTo>
                  <a:lnTo>
                    <a:pt x="462" y="261"/>
                  </a:lnTo>
                  <a:lnTo>
                    <a:pt x="467" y="265"/>
                  </a:lnTo>
                  <a:lnTo>
                    <a:pt x="474" y="268"/>
                  </a:lnTo>
                  <a:lnTo>
                    <a:pt x="474" y="272"/>
                  </a:lnTo>
                  <a:lnTo>
                    <a:pt x="481" y="275"/>
                  </a:lnTo>
                  <a:lnTo>
                    <a:pt x="484" y="277"/>
                  </a:lnTo>
                  <a:lnTo>
                    <a:pt x="489" y="277"/>
                  </a:lnTo>
                  <a:lnTo>
                    <a:pt x="488" y="283"/>
                  </a:lnTo>
                  <a:lnTo>
                    <a:pt x="491" y="287"/>
                  </a:lnTo>
                  <a:lnTo>
                    <a:pt x="494" y="287"/>
                  </a:lnTo>
                  <a:lnTo>
                    <a:pt x="496" y="285"/>
                  </a:lnTo>
                  <a:lnTo>
                    <a:pt x="498" y="283"/>
                  </a:lnTo>
                  <a:lnTo>
                    <a:pt x="498" y="283"/>
                  </a:lnTo>
                  <a:lnTo>
                    <a:pt x="508" y="289"/>
                  </a:lnTo>
                  <a:lnTo>
                    <a:pt x="511" y="294"/>
                  </a:lnTo>
                  <a:lnTo>
                    <a:pt x="513" y="295"/>
                  </a:lnTo>
                  <a:lnTo>
                    <a:pt x="515" y="299"/>
                  </a:lnTo>
                  <a:lnTo>
                    <a:pt x="522" y="302"/>
                  </a:lnTo>
                  <a:lnTo>
                    <a:pt x="527" y="304"/>
                  </a:lnTo>
                  <a:lnTo>
                    <a:pt x="529" y="306"/>
                  </a:lnTo>
                  <a:lnTo>
                    <a:pt x="527" y="309"/>
                  </a:lnTo>
                  <a:lnTo>
                    <a:pt x="529" y="313"/>
                  </a:lnTo>
                  <a:lnTo>
                    <a:pt x="527" y="318"/>
                  </a:lnTo>
                  <a:lnTo>
                    <a:pt x="530" y="326"/>
                  </a:lnTo>
                  <a:lnTo>
                    <a:pt x="535" y="330"/>
                  </a:lnTo>
                  <a:lnTo>
                    <a:pt x="537" y="333"/>
                  </a:lnTo>
                  <a:lnTo>
                    <a:pt x="537" y="340"/>
                  </a:lnTo>
                  <a:lnTo>
                    <a:pt x="534" y="342"/>
                  </a:lnTo>
                  <a:lnTo>
                    <a:pt x="532" y="343"/>
                  </a:lnTo>
                  <a:lnTo>
                    <a:pt x="530" y="345"/>
                  </a:lnTo>
                  <a:lnTo>
                    <a:pt x="530" y="348"/>
                  </a:lnTo>
                  <a:lnTo>
                    <a:pt x="534" y="350"/>
                  </a:lnTo>
                  <a:lnTo>
                    <a:pt x="535" y="352"/>
                  </a:lnTo>
                  <a:lnTo>
                    <a:pt x="535" y="354"/>
                  </a:lnTo>
                  <a:lnTo>
                    <a:pt x="537" y="360"/>
                  </a:lnTo>
                  <a:lnTo>
                    <a:pt x="539" y="364"/>
                  </a:lnTo>
                  <a:lnTo>
                    <a:pt x="544" y="367"/>
                  </a:lnTo>
                  <a:lnTo>
                    <a:pt x="544" y="372"/>
                  </a:lnTo>
                  <a:lnTo>
                    <a:pt x="551" y="376"/>
                  </a:lnTo>
                  <a:lnTo>
                    <a:pt x="553" y="377"/>
                  </a:lnTo>
                  <a:lnTo>
                    <a:pt x="554" y="376"/>
                  </a:lnTo>
                  <a:lnTo>
                    <a:pt x="554" y="374"/>
                  </a:lnTo>
                  <a:lnTo>
                    <a:pt x="549" y="371"/>
                  </a:lnTo>
                  <a:lnTo>
                    <a:pt x="551" y="369"/>
                  </a:lnTo>
                  <a:lnTo>
                    <a:pt x="551" y="367"/>
                  </a:lnTo>
                  <a:lnTo>
                    <a:pt x="553" y="367"/>
                  </a:lnTo>
                  <a:lnTo>
                    <a:pt x="556" y="372"/>
                  </a:lnTo>
                  <a:lnTo>
                    <a:pt x="558" y="374"/>
                  </a:lnTo>
                  <a:lnTo>
                    <a:pt x="559" y="377"/>
                  </a:lnTo>
                  <a:lnTo>
                    <a:pt x="566" y="377"/>
                  </a:lnTo>
                  <a:lnTo>
                    <a:pt x="568" y="379"/>
                  </a:lnTo>
                  <a:lnTo>
                    <a:pt x="568" y="38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2" name="Freeform 41"/>
            <p:cNvSpPr>
              <a:spLocks/>
            </p:cNvSpPr>
            <p:nvPr/>
          </p:nvSpPr>
          <p:spPr bwMode="gray">
            <a:xfrm>
              <a:off x="2550113" y="3875316"/>
              <a:ext cx="933952" cy="1080486"/>
            </a:xfrm>
            <a:custGeom>
              <a:avLst/>
              <a:gdLst/>
              <a:ahLst/>
              <a:cxnLst>
                <a:cxn ang="0">
                  <a:pos x="31" y="410"/>
                </a:cxn>
                <a:cxn ang="0">
                  <a:pos x="26" y="408"/>
                </a:cxn>
                <a:cxn ang="0">
                  <a:pos x="28" y="394"/>
                </a:cxn>
                <a:cxn ang="0">
                  <a:pos x="30" y="384"/>
                </a:cxn>
                <a:cxn ang="0">
                  <a:pos x="28" y="367"/>
                </a:cxn>
                <a:cxn ang="0">
                  <a:pos x="38" y="364"/>
                </a:cxn>
                <a:cxn ang="0">
                  <a:pos x="48" y="355"/>
                </a:cxn>
                <a:cxn ang="0">
                  <a:pos x="52" y="345"/>
                </a:cxn>
                <a:cxn ang="0">
                  <a:pos x="53" y="336"/>
                </a:cxn>
                <a:cxn ang="0">
                  <a:pos x="57" y="326"/>
                </a:cxn>
                <a:cxn ang="0">
                  <a:pos x="57" y="314"/>
                </a:cxn>
                <a:cxn ang="0">
                  <a:pos x="69" y="302"/>
                </a:cxn>
                <a:cxn ang="0">
                  <a:pos x="83" y="295"/>
                </a:cxn>
                <a:cxn ang="0">
                  <a:pos x="98" y="287"/>
                </a:cxn>
                <a:cxn ang="0">
                  <a:pos x="96" y="277"/>
                </a:cxn>
                <a:cxn ang="0">
                  <a:pos x="86" y="266"/>
                </a:cxn>
                <a:cxn ang="0">
                  <a:pos x="81" y="261"/>
                </a:cxn>
                <a:cxn ang="0">
                  <a:pos x="79" y="248"/>
                </a:cxn>
                <a:cxn ang="0">
                  <a:pos x="76" y="230"/>
                </a:cxn>
                <a:cxn ang="0">
                  <a:pos x="72" y="220"/>
                </a:cxn>
                <a:cxn ang="0">
                  <a:pos x="71" y="208"/>
                </a:cxn>
                <a:cxn ang="0">
                  <a:pos x="71" y="196"/>
                </a:cxn>
                <a:cxn ang="0">
                  <a:pos x="74" y="188"/>
                </a:cxn>
                <a:cxn ang="0">
                  <a:pos x="79" y="184"/>
                </a:cxn>
                <a:cxn ang="0">
                  <a:pos x="81" y="164"/>
                </a:cxn>
                <a:cxn ang="0">
                  <a:pos x="81" y="143"/>
                </a:cxn>
                <a:cxn ang="0">
                  <a:pos x="83" y="133"/>
                </a:cxn>
                <a:cxn ang="0">
                  <a:pos x="81" y="123"/>
                </a:cxn>
                <a:cxn ang="0">
                  <a:pos x="86" y="109"/>
                </a:cxn>
                <a:cxn ang="0">
                  <a:pos x="83" y="95"/>
                </a:cxn>
                <a:cxn ang="0">
                  <a:pos x="84" y="85"/>
                </a:cxn>
                <a:cxn ang="0">
                  <a:pos x="96" y="82"/>
                </a:cxn>
                <a:cxn ang="0">
                  <a:pos x="110" y="85"/>
                </a:cxn>
                <a:cxn ang="0">
                  <a:pos x="120" y="89"/>
                </a:cxn>
                <a:cxn ang="0">
                  <a:pos x="125" y="101"/>
                </a:cxn>
                <a:cxn ang="0">
                  <a:pos x="137" y="92"/>
                </a:cxn>
                <a:cxn ang="0">
                  <a:pos x="158" y="17"/>
                </a:cxn>
                <a:cxn ang="0">
                  <a:pos x="286" y="22"/>
                </a:cxn>
                <a:cxn ang="0">
                  <a:pos x="438" y="48"/>
                </a:cxn>
                <a:cxn ang="0">
                  <a:pos x="500" y="58"/>
                </a:cxn>
                <a:cxn ang="0">
                  <a:pos x="551" y="287"/>
                </a:cxn>
                <a:cxn ang="0">
                  <a:pos x="523" y="473"/>
                </a:cxn>
                <a:cxn ang="0">
                  <a:pos x="498" y="671"/>
                </a:cxn>
                <a:cxn ang="0">
                  <a:pos x="288" y="632"/>
                </a:cxn>
                <a:cxn ang="0">
                  <a:pos x="4" y="451"/>
                </a:cxn>
                <a:cxn ang="0">
                  <a:pos x="18" y="439"/>
                </a:cxn>
                <a:cxn ang="0">
                  <a:pos x="28" y="442"/>
                </a:cxn>
                <a:cxn ang="0">
                  <a:pos x="30" y="439"/>
                </a:cxn>
                <a:cxn ang="0">
                  <a:pos x="33" y="439"/>
                </a:cxn>
                <a:cxn ang="0">
                  <a:pos x="40" y="432"/>
                </a:cxn>
                <a:cxn ang="0">
                  <a:pos x="38" y="412"/>
                </a:cxn>
              </a:cxnLst>
              <a:rect l="0" t="0" r="r" b="b"/>
              <a:pathLst>
                <a:path w="580" h="671">
                  <a:moveTo>
                    <a:pt x="38" y="412"/>
                  </a:moveTo>
                  <a:lnTo>
                    <a:pt x="35" y="410"/>
                  </a:lnTo>
                  <a:lnTo>
                    <a:pt x="31" y="410"/>
                  </a:lnTo>
                  <a:lnTo>
                    <a:pt x="28" y="410"/>
                  </a:lnTo>
                  <a:lnTo>
                    <a:pt x="28" y="408"/>
                  </a:lnTo>
                  <a:lnTo>
                    <a:pt x="26" y="408"/>
                  </a:lnTo>
                  <a:lnTo>
                    <a:pt x="23" y="401"/>
                  </a:lnTo>
                  <a:lnTo>
                    <a:pt x="24" y="398"/>
                  </a:lnTo>
                  <a:lnTo>
                    <a:pt x="28" y="394"/>
                  </a:lnTo>
                  <a:lnTo>
                    <a:pt x="28" y="388"/>
                  </a:lnTo>
                  <a:lnTo>
                    <a:pt x="28" y="386"/>
                  </a:lnTo>
                  <a:lnTo>
                    <a:pt x="30" y="384"/>
                  </a:lnTo>
                  <a:lnTo>
                    <a:pt x="26" y="379"/>
                  </a:lnTo>
                  <a:lnTo>
                    <a:pt x="30" y="374"/>
                  </a:lnTo>
                  <a:lnTo>
                    <a:pt x="28" y="367"/>
                  </a:lnTo>
                  <a:lnTo>
                    <a:pt x="36" y="369"/>
                  </a:lnTo>
                  <a:lnTo>
                    <a:pt x="38" y="367"/>
                  </a:lnTo>
                  <a:lnTo>
                    <a:pt x="38" y="364"/>
                  </a:lnTo>
                  <a:lnTo>
                    <a:pt x="42" y="362"/>
                  </a:lnTo>
                  <a:lnTo>
                    <a:pt x="43" y="360"/>
                  </a:lnTo>
                  <a:lnTo>
                    <a:pt x="48" y="355"/>
                  </a:lnTo>
                  <a:lnTo>
                    <a:pt x="48" y="353"/>
                  </a:lnTo>
                  <a:lnTo>
                    <a:pt x="50" y="348"/>
                  </a:lnTo>
                  <a:lnTo>
                    <a:pt x="52" y="345"/>
                  </a:lnTo>
                  <a:lnTo>
                    <a:pt x="50" y="343"/>
                  </a:lnTo>
                  <a:lnTo>
                    <a:pt x="55" y="340"/>
                  </a:lnTo>
                  <a:lnTo>
                    <a:pt x="53" y="336"/>
                  </a:lnTo>
                  <a:lnTo>
                    <a:pt x="55" y="333"/>
                  </a:lnTo>
                  <a:lnTo>
                    <a:pt x="55" y="328"/>
                  </a:lnTo>
                  <a:lnTo>
                    <a:pt x="57" y="326"/>
                  </a:lnTo>
                  <a:lnTo>
                    <a:pt x="55" y="324"/>
                  </a:lnTo>
                  <a:lnTo>
                    <a:pt x="59" y="318"/>
                  </a:lnTo>
                  <a:lnTo>
                    <a:pt x="57" y="314"/>
                  </a:lnTo>
                  <a:lnTo>
                    <a:pt x="59" y="312"/>
                  </a:lnTo>
                  <a:lnTo>
                    <a:pt x="67" y="307"/>
                  </a:lnTo>
                  <a:lnTo>
                    <a:pt x="69" y="302"/>
                  </a:lnTo>
                  <a:lnTo>
                    <a:pt x="71" y="300"/>
                  </a:lnTo>
                  <a:lnTo>
                    <a:pt x="79" y="297"/>
                  </a:lnTo>
                  <a:lnTo>
                    <a:pt x="83" y="295"/>
                  </a:lnTo>
                  <a:lnTo>
                    <a:pt x="88" y="294"/>
                  </a:lnTo>
                  <a:lnTo>
                    <a:pt x="96" y="287"/>
                  </a:lnTo>
                  <a:lnTo>
                    <a:pt x="98" y="287"/>
                  </a:lnTo>
                  <a:lnTo>
                    <a:pt x="98" y="282"/>
                  </a:lnTo>
                  <a:lnTo>
                    <a:pt x="98" y="280"/>
                  </a:lnTo>
                  <a:lnTo>
                    <a:pt x="96" y="277"/>
                  </a:lnTo>
                  <a:lnTo>
                    <a:pt x="89" y="271"/>
                  </a:lnTo>
                  <a:lnTo>
                    <a:pt x="88" y="270"/>
                  </a:lnTo>
                  <a:lnTo>
                    <a:pt x="86" y="266"/>
                  </a:lnTo>
                  <a:lnTo>
                    <a:pt x="84" y="265"/>
                  </a:lnTo>
                  <a:lnTo>
                    <a:pt x="81" y="263"/>
                  </a:lnTo>
                  <a:lnTo>
                    <a:pt x="81" y="261"/>
                  </a:lnTo>
                  <a:lnTo>
                    <a:pt x="83" y="254"/>
                  </a:lnTo>
                  <a:lnTo>
                    <a:pt x="81" y="249"/>
                  </a:lnTo>
                  <a:lnTo>
                    <a:pt x="79" y="248"/>
                  </a:lnTo>
                  <a:lnTo>
                    <a:pt x="81" y="246"/>
                  </a:lnTo>
                  <a:lnTo>
                    <a:pt x="79" y="236"/>
                  </a:lnTo>
                  <a:lnTo>
                    <a:pt x="76" y="230"/>
                  </a:lnTo>
                  <a:lnTo>
                    <a:pt x="74" y="230"/>
                  </a:lnTo>
                  <a:lnTo>
                    <a:pt x="72" y="229"/>
                  </a:lnTo>
                  <a:lnTo>
                    <a:pt x="72" y="220"/>
                  </a:lnTo>
                  <a:lnTo>
                    <a:pt x="67" y="215"/>
                  </a:lnTo>
                  <a:lnTo>
                    <a:pt x="69" y="210"/>
                  </a:lnTo>
                  <a:lnTo>
                    <a:pt x="71" y="208"/>
                  </a:lnTo>
                  <a:lnTo>
                    <a:pt x="71" y="201"/>
                  </a:lnTo>
                  <a:lnTo>
                    <a:pt x="71" y="201"/>
                  </a:lnTo>
                  <a:lnTo>
                    <a:pt x="71" y="196"/>
                  </a:lnTo>
                  <a:lnTo>
                    <a:pt x="74" y="195"/>
                  </a:lnTo>
                  <a:lnTo>
                    <a:pt x="72" y="189"/>
                  </a:lnTo>
                  <a:lnTo>
                    <a:pt x="74" y="188"/>
                  </a:lnTo>
                  <a:lnTo>
                    <a:pt x="77" y="188"/>
                  </a:lnTo>
                  <a:lnTo>
                    <a:pt x="77" y="188"/>
                  </a:lnTo>
                  <a:lnTo>
                    <a:pt x="79" y="184"/>
                  </a:lnTo>
                  <a:lnTo>
                    <a:pt x="81" y="179"/>
                  </a:lnTo>
                  <a:lnTo>
                    <a:pt x="81" y="171"/>
                  </a:lnTo>
                  <a:lnTo>
                    <a:pt x="81" y="164"/>
                  </a:lnTo>
                  <a:lnTo>
                    <a:pt x="79" y="154"/>
                  </a:lnTo>
                  <a:lnTo>
                    <a:pt x="77" y="147"/>
                  </a:lnTo>
                  <a:lnTo>
                    <a:pt x="81" y="143"/>
                  </a:lnTo>
                  <a:lnTo>
                    <a:pt x="81" y="140"/>
                  </a:lnTo>
                  <a:lnTo>
                    <a:pt x="83" y="136"/>
                  </a:lnTo>
                  <a:lnTo>
                    <a:pt x="83" y="133"/>
                  </a:lnTo>
                  <a:lnTo>
                    <a:pt x="81" y="131"/>
                  </a:lnTo>
                  <a:lnTo>
                    <a:pt x="83" y="128"/>
                  </a:lnTo>
                  <a:lnTo>
                    <a:pt x="81" y="123"/>
                  </a:lnTo>
                  <a:lnTo>
                    <a:pt x="83" y="119"/>
                  </a:lnTo>
                  <a:lnTo>
                    <a:pt x="83" y="111"/>
                  </a:lnTo>
                  <a:lnTo>
                    <a:pt x="86" y="109"/>
                  </a:lnTo>
                  <a:lnTo>
                    <a:pt x="86" y="107"/>
                  </a:lnTo>
                  <a:lnTo>
                    <a:pt x="84" y="104"/>
                  </a:lnTo>
                  <a:lnTo>
                    <a:pt x="83" y="95"/>
                  </a:lnTo>
                  <a:lnTo>
                    <a:pt x="84" y="90"/>
                  </a:lnTo>
                  <a:lnTo>
                    <a:pt x="84" y="89"/>
                  </a:lnTo>
                  <a:lnTo>
                    <a:pt x="84" y="85"/>
                  </a:lnTo>
                  <a:lnTo>
                    <a:pt x="86" y="83"/>
                  </a:lnTo>
                  <a:lnTo>
                    <a:pt x="94" y="80"/>
                  </a:lnTo>
                  <a:lnTo>
                    <a:pt x="96" y="82"/>
                  </a:lnTo>
                  <a:lnTo>
                    <a:pt x="103" y="82"/>
                  </a:lnTo>
                  <a:lnTo>
                    <a:pt x="108" y="85"/>
                  </a:lnTo>
                  <a:lnTo>
                    <a:pt x="110" y="85"/>
                  </a:lnTo>
                  <a:lnTo>
                    <a:pt x="115" y="83"/>
                  </a:lnTo>
                  <a:lnTo>
                    <a:pt x="118" y="85"/>
                  </a:lnTo>
                  <a:lnTo>
                    <a:pt x="120" y="89"/>
                  </a:lnTo>
                  <a:lnTo>
                    <a:pt x="120" y="92"/>
                  </a:lnTo>
                  <a:lnTo>
                    <a:pt x="120" y="94"/>
                  </a:lnTo>
                  <a:lnTo>
                    <a:pt x="125" y="101"/>
                  </a:lnTo>
                  <a:lnTo>
                    <a:pt x="127" y="101"/>
                  </a:lnTo>
                  <a:lnTo>
                    <a:pt x="134" y="99"/>
                  </a:lnTo>
                  <a:lnTo>
                    <a:pt x="137" y="92"/>
                  </a:lnTo>
                  <a:lnTo>
                    <a:pt x="144" y="85"/>
                  </a:lnTo>
                  <a:lnTo>
                    <a:pt x="146" y="82"/>
                  </a:lnTo>
                  <a:lnTo>
                    <a:pt x="158" y="17"/>
                  </a:lnTo>
                  <a:lnTo>
                    <a:pt x="161" y="0"/>
                  </a:lnTo>
                  <a:lnTo>
                    <a:pt x="257" y="17"/>
                  </a:lnTo>
                  <a:lnTo>
                    <a:pt x="286" y="22"/>
                  </a:lnTo>
                  <a:lnTo>
                    <a:pt x="312" y="27"/>
                  </a:lnTo>
                  <a:lnTo>
                    <a:pt x="387" y="39"/>
                  </a:lnTo>
                  <a:lnTo>
                    <a:pt x="438" y="48"/>
                  </a:lnTo>
                  <a:lnTo>
                    <a:pt x="460" y="51"/>
                  </a:lnTo>
                  <a:lnTo>
                    <a:pt x="462" y="53"/>
                  </a:lnTo>
                  <a:lnTo>
                    <a:pt x="500" y="58"/>
                  </a:lnTo>
                  <a:lnTo>
                    <a:pt x="580" y="68"/>
                  </a:lnTo>
                  <a:lnTo>
                    <a:pt x="566" y="176"/>
                  </a:lnTo>
                  <a:lnTo>
                    <a:pt x="551" y="287"/>
                  </a:lnTo>
                  <a:lnTo>
                    <a:pt x="544" y="326"/>
                  </a:lnTo>
                  <a:lnTo>
                    <a:pt x="532" y="412"/>
                  </a:lnTo>
                  <a:lnTo>
                    <a:pt x="523" y="473"/>
                  </a:lnTo>
                  <a:lnTo>
                    <a:pt x="518" y="519"/>
                  </a:lnTo>
                  <a:lnTo>
                    <a:pt x="513" y="555"/>
                  </a:lnTo>
                  <a:lnTo>
                    <a:pt x="498" y="671"/>
                  </a:lnTo>
                  <a:lnTo>
                    <a:pt x="370" y="654"/>
                  </a:lnTo>
                  <a:lnTo>
                    <a:pt x="313" y="646"/>
                  </a:lnTo>
                  <a:lnTo>
                    <a:pt x="288" y="632"/>
                  </a:lnTo>
                  <a:lnTo>
                    <a:pt x="124" y="536"/>
                  </a:lnTo>
                  <a:lnTo>
                    <a:pt x="0" y="463"/>
                  </a:lnTo>
                  <a:lnTo>
                    <a:pt x="4" y="451"/>
                  </a:lnTo>
                  <a:lnTo>
                    <a:pt x="14" y="441"/>
                  </a:lnTo>
                  <a:lnTo>
                    <a:pt x="16" y="439"/>
                  </a:lnTo>
                  <a:lnTo>
                    <a:pt x="18" y="439"/>
                  </a:lnTo>
                  <a:lnTo>
                    <a:pt x="24" y="442"/>
                  </a:lnTo>
                  <a:lnTo>
                    <a:pt x="24" y="441"/>
                  </a:lnTo>
                  <a:lnTo>
                    <a:pt x="28" y="442"/>
                  </a:lnTo>
                  <a:lnTo>
                    <a:pt x="28" y="441"/>
                  </a:lnTo>
                  <a:lnTo>
                    <a:pt x="30" y="441"/>
                  </a:lnTo>
                  <a:lnTo>
                    <a:pt x="30" y="439"/>
                  </a:lnTo>
                  <a:lnTo>
                    <a:pt x="31" y="439"/>
                  </a:lnTo>
                  <a:lnTo>
                    <a:pt x="31" y="439"/>
                  </a:lnTo>
                  <a:lnTo>
                    <a:pt x="33" y="439"/>
                  </a:lnTo>
                  <a:lnTo>
                    <a:pt x="33" y="437"/>
                  </a:lnTo>
                  <a:lnTo>
                    <a:pt x="33" y="436"/>
                  </a:lnTo>
                  <a:lnTo>
                    <a:pt x="40" y="432"/>
                  </a:lnTo>
                  <a:lnTo>
                    <a:pt x="40" y="422"/>
                  </a:lnTo>
                  <a:lnTo>
                    <a:pt x="42" y="418"/>
                  </a:lnTo>
                  <a:lnTo>
                    <a:pt x="38" y="41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3" name="Freeform 42"/>
            <p:cNvSpPr>
              <a:spLocks/>
            </p:cNvSpPr>
            <p:nvPr/>
          </p:nvSpPr>
          <p:spPr bwMode="gray">
            <a:xfrm>
              <a:off x="4300467" y="4073379"/>
              <a:ext cx="1183543" cy="618340"/>
            </a:xfrm>
            <a:custGeom>
              <a:avLst/>
              <a:gdLst/>
              <a:ahLst/>
              <a:cxnLst>
                <a:cxn ang="0">
                  <a:pos x="734" y="350"/>
                </a:cxn>
                <a:cxn ang="0">
                  <a:pos x="730" y="383"/>
                </a:cxn>
                <a:cxn ang="0">
                  <a:pos x="729" y="381"/>
                </a:cxn>
                <a:cxn ang="0">
                  <a:pos x="727" y="379"/>
                </a:cxn>
                <a:cxn ang="0">
                  <a:pos x="720" y="379"/>
                </a:cxn>
                <a:cxn ang="0">
                  <a:pos x="718" y="377"/>
                </a:cxn>
                <a:cxn ang="0">
                  <a:pos x="710" y="374"/>
                </a:cxn>
                <a:cxn ang="0">
                  <a:pos x="708" y="371"/>
                </a:cxn>
                <a:cxn ang="0">
                  <a:pos x="698" y="369"/>
                </a:cxn>
                <a:cxn ang="0">
                  <a:pos x="693" y="362"/>
                </a:cxn>
                <a:cxn ang="0">
                  <a:pos x="684" y="359"/>
                </a:cxn>
                <a:cxn ang="0">
                  <a:pos x="679" y="355"/>
                </a:cxn>
                <a:cxn ang="0">
                  <a:pos x="676" y="352"/>
                </a:cxn>
                <a:cxn ang="0">
                  <a:pos x="664" y="355"/>
                </a:cxn>
                <a:cxn ang="0">
                  <a:pos x="658" y="359"/>
                </a:cxn>
                <a:cxn ang="0">
                  <a:pos x="640" y="357"/>
                </a:cxn>
                <a:cxn ang="0">
                  <a:pos x="638" y="352"/>
                </a:cxn>
                <a:cxn ang="0">
                  <a:pos x="626" y="357"/>
                </a:cxn>
                <a:cxn ang="0">
                  <a:pos x="617" y="360"/>
                </a:cxn>
                <a:cxn ang="0">
                  <a:pos x="602" y="360"/>
                </a:cxn>
                <a:cxn ang="0">
                  <a:pos x="597" y="362"/>
                </a:cxn>
                <a:cxn ang="0">
                  <a:pos x="585" y="362"/>
                </a:cxn>
                <a:cxn ang="0">
                  <a:pos x="587" y="364"/>
                </a:cxn>
                <a:cxn ang="0">
                  <a:pos x="575" y="369"/>
                </a:cxn>
                <a:cxn ang="0">
                  <a:pos x="566" y="372"/>
                </a:cxn>
                <a:cxn ang="0">
                  <a:pos x="549" y="364"/>
                </a:cxn>
                <a:cxn ang="0">
                  <a:pos x="539" y="355"/>
                </a:cxn>
                <a:cxn ang="0">
                  <a:pos x="527" y="359"/>
                </a:cxn>
                <a:cxn ang="0">
                  <a:pos x="520" y="350"/>
                </a:cxn>
                <a:cxn ang="0">
                  <a:pos x="511" y="359"/>
                </a:cxn>
                <a:cxn ang="0">
                  <a:pos x="503" y="362"/>
                </a:cxn>
                <a:cxn ang="0">
                  <a:pos x="500" y="374"/>
                </a:cxn>
                <a:cxn ang="0">
                  <a:pos x="496" y="360"/>
                </a:cxn>
                <a:cxn ang="0">
                  <a:pos x="488" y="359"/>
                </a:cxn>
                <a:cxn ang="0">
                  <a:pos x="481" y="359"/>
                </a:cxn>
                <a:cxn ang="0">
                  <a:pos x="469" y="355"/>
                </a:cxn>
                <a:cxn ang="0">
                  <a:pos x="459" y="354"/>
                </a:cxn>
                <a:cxn ang="0">
                  <a:pos x="443" y="352"/>
                </a:cxn>
                <a:cxn ang="0">
                  <a:pos x="426" y="355"/>
                </a:cxn>
                <a:cxn ang="0">
                  <a:pos x="426" y="348"/>
                </a:cxn>
                <a:cxn ang="0">
                  <a:pos x="414" y="343"/>
                </a:cxn>
                <a:cxn ang="0">
                  <a:pos x="407" y="331"/>
                </a:cxn>
                <a:cxn ang="0">
                  <a:pos x="388" y="333"/>
                </a:cxn>
                <a:cxn ang="0">
                  <a:pos x="373" y="331"/>
                </a:cxn>
                <a:cxn ang="0">
                  <a:pos x="363" y="326"/>
                </a:cxn>
                <a:cxn ang="0">
                  <a:pos x="339" y="319"/>
                </a:cxn>
                <a:cxn ang="0">
                  <a:pos x="318" y="318"/>
                </a:cxn>
                <a:cxn ang="0">
                  <a:pos x="313" y="301"/>
                </a:cxn>
                <a:cxn ang="0">
                  <a:pos x="300" y="297"/>
                </a:cxn>
                <a:cxn ang="0">
                  <a:pos x="286" y="295"/>
                </a:cxn>
                <a:cxn ang="0">
                  <a:pos x="267" y="290"/>
                </a:cxn>
                <a:cxn ang="0">
                  <a:pos x="253" y="275"/>
                </a:cxn>
                <a:cxn ang="0">
                  <a:pos x="252" y="210"/>
                </a:cxn>
                <a:cxn ang="0">
                  <a:pos x="257" y="70"/>
                </a:cxn>
                <a:cxn ang="0">
                  <a:pos x="118" y="61"/>
                </a:cxn>
                <a:cxn ang="0">
                  <a:pos x="86" y="7"/>
                </a:cxn>
                <a:cxn ang="0">
                  <a:pos x="206" y="12"/>
                </a:cxn>
                <a:cxn ang="0">
                  <a:pos x="344" y="17"/>
                </a:cxn>
                <a:cxn ang="0">
                  <a:pos x="474" y="20"/>
                </a:cxn>
                <a:cxn ang="0">
                  <a:pos x="602" y="22"/>
                </a:cxn>
                <a:cxn ang="0">
                  <a:pos x="681" y="20"/>
                </a:cxn>
                <a:cxn ang="0">
                  <a:pos x="718" y="77"/>
                </a:cxn>
                <a:cxn ang="0">
                  <a:pos x="735" y="193"/>
                </a:cxn>
              </a:cxnLst>
              <a:rect l="0" t="0" r="r" b="b"/>
              <a:pathLst>
                <a:path w="735" h="384">
                  <a:moveTo>
                    <a:pt x="735" y="244"/>
                  </a:moveTo>
                  <a:lnTo>
                    <a:pt x="735" y="265"/>
                  </a:lnTo>
                  <a:lnTo>
                    <a:pt x="735" y="289"/>
                  </a:lnTo>
                  <a:lnTo>
                    <a:pt x="735" y="323"/>
                  </a:lnTo>
                  <a:lnTo>
                    <a:pt x="734" y="350"/>
                  </a:lnTo>
                  <a:lnTo>
                    <a:pt x="734" y="384"/>
                  </a:lnTo>
                  <a:lnTo>
                    <a:pt x="732" y="384"/>
                  </a:lnTo>
                  <a:lnTo>
                    <a:pt x="732" y="384"/>
                  </a:lnTo>
                  <a:lnTo>
                    <a:pt x="730" y="384"/>
                  </a:lnTo>
                  <a:lnTo>
                    <a:pt x="730" y="383"/>
                  </a:lnTo>
                  <a:lnTo>
                    <a:pt x="727" y="384"/>
                  </a:lnTo>
                  <a:lnTo>
                    <a:pt x="727" y="384"/>
                  </a:lnTo>
                  <a:lnTo>
                    <a:pt x="727" y="383"/>
                  </a:lnTo>
                  <a:lnTo>
                    <a:pt x="729" y="383"/>
                  </a:lnTo>
                  <a:lnTo>
                    <a:pt x="729" y="381"/>
                  </a:lnTo>
                  <a:lnTo>
                    <a:pt x="725" y="383"/>
                  </a:lnTo>
                  <a:lnTo>
                    <a:pt x="723" y="381"/>
                  </a:lnTo>
                  <a:lnTo>
                    <a:pt x="725" y="381"/>
                  </a:lnTo>
                  <a:lnTo>
                    <a:pt x="727" y="381"/>
                  </a:lnTo>
                  <a:lnTo>
                    <a:pt x="727" y="379"/>
                  </a:lnTo>
                  <a:lnTo>
                    <a:pt x="725" y="379"/>
                  </a:lnTo>
                  <a:lnTo>
                    <a:pt x="725" y="379"/>
                  </a:lnTo>
                  <a:lnTo>
                    <a:pt x="723" y="381"/>
                  </a:lnTo>
                  <a:lnTo>
                    <a:pt x="720" y="379"/>
                  </a:lnTo>
                  <a:lnTo>
                    <a:pt x="720" y="379"/>
                  </a:lnTo>
                  <a:lnTo>
                    <a:pt x="718" y="381"/>
                  </a:lnTo>
                  <a:lnTo>
                    <a:pt x="717" y="381"/>
                  </a:lnTo>
                  <a:lnTo>
                    <a:pt x="717" y="379"/>
                  </a:lnTo>
                  <a:lnTo>
                    <a:pt x="720" y="379"/>
                  </a:lnTo>
                  <a:lnTo>
                    <a:pt x="718" y="377"/>
                  </a:lnTo>
                  <a:lnTo>
                    <a:pt x="717" y="377"/>
                  </a:lnTo>
                  <a:lnTo>
                    <a:pt x="715" y="377"/>
                  </a:lnTo>
                  <a:lnTo>
                    <a:pt x="710" y="377"/>
                  </a:lnTo>
                  <a:lnTo>
                    <a:pt x="710" y="376"/>
                  </a:lnTo>
                  <a:lnTo>
                    <a:pt x="710" y="374"/>
                  </a:lnTo>
                  <a:lnTo>
                    <a:pt x="708" y="376"/>
                  </a:lnTo>
                  <a:lnTo>
                    <a:pt x="710" y="372"/>
                  </a:lnTo>
                  <a:lnTo>
                    <a:pt x="706" y="374"/>
                  </a:lnTo>
                  <a:lnTo>
                    <a:pt x="706" y="372"/>
                  </a:lnTo>
                  <a:lnTo>
                    <a:pt x="708" y="371"/>
                  </a:lnTo>
                  <a:lnTo>
                    <a:pt x="706" y="371"/>
                  </a:lnTo>
                  <a:lnTo>
                    <a:pt x="705" y="372"/>
                  </a:lnTo>
                  <a:lnTo>
                    <a:pt x="703" y="372"/>
                  </a:lnTo>
                  <a:lnTo>
                    <a:pt x="700" y="372"/>
                  </a:lnTo>
                  <a:lnTo>
                    <a:pt x="698" y="369"/>
                  </a:lnTo>
                  <a:lnTo>
                    <a:pt x="694" y="367"/>
                  </a:lnTo>
                  <a:lnTo>
                    <a:pt x="696" y="365"/>
                  </a:lnTo>
                  <a:lnTo>
                    <a:pt x="694" y="364"/>
                  </a:lnTo>
                  <a:lnTo>
                    <a:pt x="693" y="364"/>
                  </a:lnTo>
                  <a:lnTo>
                    <a:pt x="693" y="362"/>
                  </a:lnTo>
                  <a:lnTo>
                    <a:pt x="691" y="360"/>
                  </a:lnTo>
                  <a:lnTo>
                    <a:pt x="691" y="359"/>
                  </a:lnTo>
                  <a:lnTo>
                    <a:pt x="689" y="360"/>
                  </a:lnTo>
                  <a:lnTo>
                    <a:pt x="686" y="359"/>
                  </a:lnTo>
                  <a:lnTo>
                    <a:pt x="684" y="359"/>
                  </a:lnTo>
                  <a:lnTo>
                    <a:pt x="684" y="357"/>
                  </a:lnTo>
                  <a:lnTo>
                    <a:pt x="682" y="355"/>
                  </a:lnTo>
                  <a:lnTo>
                    <a:pt x="682" y="354"/>
                  </a:lnTo>
                  <a:lnTo>
                    <a:pt x="681" y="357"/>
                  </a:lnTo>
                  <a:lnTo>
                    <a:pt x="679" y="355"/>
                  </a:lnTo>
                  <a:lnTo>
                    <a:pt x="681" y="354"/>
                  </a:lnTo>
                  <a:lnTo>
                    <a:pt x="679" y="354"/>
                  </a:lnTo>
                  <a:lnTo>
                    <a:pt x="677" y="354"/>
                  </a:lnTo>
                  <a:lnTo>
                    <a:pt x="676" y="354"/>
                  </a:lnTo>
                  <a:lnTo>
                    <a:pt x="676" y="352"/>
                  </a:lnTo>
                  <a:lnTo>
                    <a:pt x="674" y="350"/>
                  </a:lnTo>
                  <a:lnTo>
                    <a:pt x="667" y="348"/>
                  </a:lnTo>
                  <a:lnTo>
                    <a:pt x="665" y="352"/>
                  </a:lnTo>
                  <a:lnTo>
                    <a:pt x="665" y="355"/>
                  </a:lnTo>
                  <a:lnTo>
                    <a:pt x="664" y="355"/>
                  </a:lnTo>
                  <a:lnTo>
                    <a:pt x="664" y="354"/>
                  </a:lnTo>
                  <a:lnTo>
                    <a:pt x="662" y="357"/>
                  </a:lnTo>
                  <a:lnTo>
                    <a:pt x="660" y="357"/>
                  </a:lnTo>
                  <a:lnTo>
                    <a:pt x="658" y="355"/>
                  </a:lnTo>
                  <a:lnTo>
                    <a:pt x="658" y="359"/>
                  </a:lnTo>
                  <a:lnTo>
                    <a:pt x="648" y="360"/>
                  </a:lnTo>
                  <a:lnTo>
                    <a:pt x="647" y="357"/>
                  </a:lnTo>
                  <a:lnTo>
                    <a:pt x="643" y="359"/>
                  </a:lnTo>
                  <a:lnTo>
                    <a:pt x="641" y="357"/>
                  </a:lnTo>
                  <a:lnTo>
                    <a:pt x="640" y="357"/>
                  </a:lnTo>
                  <a:lnTo>
                    <a:pt x="640" y="357"/>
                  </a:lnTo>
                  <a:lnTo>
                    <a:pt x="641" y="357"/>
                  </a:lnTo>
                  <a:lnTo>
                    <a:pt x="641" y="355"/>
                  </a:lnTo>
                  <a:lnTo>
                    <a:pt x="640" y="355"/>
                  </a:lnTo>
                  <a:lnTo>
                    <a:pt x="638" y="352"/>
                  </a:lnTo>
                  <a:lnTo>
                    <a:pt x="635" y="352"/>
                  </a:lnTo>
                  <a:lnTo>
                    <a:pt x="633" y="352"/>
                  </a:lnTo>
                  <a:lnTo>
                    <a:pt x="633" y="354"/>
                  </a:lnTo>
                  <a:lnTo>
                    <a:pt x="631" y="354"/>
                  </a:lnTo>
                  <a:lnTo>
                    <a:pt x="626" y="357"/>
                  </a:lnTo>
                  <a:lnTo>
                    <a:pt x="621" y="355"/>
                  </a:lnTo>
                  <a:lnTo>
                    <a:pt x="621" y="357"/>
                  </a:lnTo>
                  <a:lnTo>
                    <a:pt x="619" y="359"/>
                  </a:lnTo>
                  <a:lnTo>
                    <a:pt x="619" y="360"/>
                  </a:lnTo>
                  <a:lnTo>
                    <a:pt x="617" y="360"/>
                  </a:lnTo>
                  <a:lnTo>
                    <a:pt x="614" y="362"/>
                  </a:lnTo>
                  <a:lnTo>
                    <a:pt x="612" y="362"/>
                  </a:lnTo>
                  <a:lnTo>
                    <a:pt x="606" y="357"/>
                  </a:lnTo>
                  <a:lnTo>
                    <a:pt x="604" y="357"/>
                  </a:lnTo>
                  <a:lnTo>
                    <a:pt x="602" y="360"/>
                  </a:lnTo>
                  <a:lnTo>
                    <a:pt x="600" y="360"/>
                  </a:lnTo>
                  <a:lnTo>
                    <a:pt x="599" y="359"/>
                  </a:lnTo>
                  <a:lnTo>
                    <a:pt x="599" y="359"/>
                  </a:lnTo>
                  <a:lnTo>
                    <a:pt x="599" y="360"/>
                  </a:lnTo>
                  <a:lnTo>
                    <a:pt x="597" y="362"/>
                  </a:lnTo>
                  <a:lnTo>
                    <a:pt x="597" y="360"/>
                  </a:lnTo>
                  <a:lnTo>
                    <a:pt x="595" y="362"/>
                  </a:lnTo>
                  <a:lnTo>
                    <a:pt x="590" y="362"/>
                  </a:lnTo>
                  <a:lnTo>
                    <a:pt x="588" y="364"/>
                  </a:lnTo>
                  <a:lnTo>
                    <a:pt x="585" y="362"/>
                  </a:lnTo>
                  <a:lnTo>
                    <a:pt x="583" y="364"/>
                  </a:lnTo>
                  <a:lnTo>
                    <a:pt x="583" y="365"/>
                  </a:lnTo>
                  <a:lnTo>
                    <a:pt x="583" y="365"/>
                  </a:lnTo>
                  <a:lnTo>
                    <a:pt x="585" y="364"/>
                  </a:lnTo>
                  <a:lnTo>
                    <a:pt x="587" y="364"/>
                  </a:lnTo>
                  <a:lnTo>
                    <a:pt x="585" y="367"/>
                  </a:lnTo>
                  <a:lnTo>
                    <a:pt x="583" y="371"/>
                  </a:lnTo>
                  <a:lnTo>
                    <a:pt x="582" y="371"/>
                  </a:lnTo>
                  <a:lnTo>
                    <a:pt x="580" y="371"/>
                  </a:lnTo>
                  <a:lnTo>
                    <a:pt x="575" y="369"/>
                  </a:lnTo>
                  <a:lnTo>
                    <a:pt x="573" y="371"/>
                  </a:lnTo>
                  <a:lnTo>
                    <a:pt x="573" y="376"/>
                  </a:lnTo>
                  <a:lnTo>
                    <a:pt x="571" y="377"/>
                  </a:lnTo>
                  <a:lnTo>
                    <a:pt x="568" y="377"/>
                  </a:lnTo>
                  <a:lnTo>
                    <a:pt x="566" y="372"/>
                  </a:lnTo>
                  <a:lnTo>
                    <a:pt x="561" y="367"/>
                  </a:lnTo>
                  <a:lnTo>
                    <a:pt x="556" y="369"/>
                  </a:lnTo>
                  <a:lnTo>
                    <a:pt x="554" y="367"/>
                  </a:lnTo>
                  <a:lnTo>
                    <a:pt x="554" y="365"/>
                  </a:lnTo>
                  <a:lnTo>
                    <a:pt x="549" y="364"/>
                  </a:lnTo>
                  <a:lnTo>
                    <a:pt x="546" y="362"/>
                  </a:lnTo>
                  <a:lnTo>
                    <a:pt x="544" y="360"/>
                  </a:lnTo>
                  <a:lnTo>
                    <a:pt x="547" y="357"/>
                  </a:lnTo>
                  <a:lnTo>
                    <a:pt x="541" y="354"/>
                  </a:lnTo>
                  <a:lnTo>
                    <a:pt x="539" y="355"/>
                  </a:lnTo>
                  <a:lnTo>
                    <a:pt x="537" y="362"/>
                  </a:lnTo>
                  <a:lnTo>
                    <a:pt x="535" y="362"/>
                  </a:lnTo>
                  <a:lnTo>
                    <a:pt x="532" y="364"/>
                  </a:lnTo>
                  <a:lnTo>
                    <a:pt x="529" y="359"/>
                  </a:lnTo>
                  <a:lnTo>
                    <a:pt x="527" y="359"/>
                  </a:lnTo>
                  <a:lnTo>
                    <a:pt x="523" y="360"/>
                  </a:lnTo>
                  <a:lnTo>
                    <a:pt x="523" y="360"/>
                  </a:lnTo>
                  <a:lnTo>
                    <a:pt x="522" y="357"/>
                  </a:lnTo>
                  <a:lnTo>
                    <a:pt x="520" y="354"/>
                  </a:lnTo>
                  <a:lnTo>
                    <a:pt x="520" y="350"/>
                  </a:lnTo>
                  <a:lnTo>
                    <a:pt x="517" y="348"/>
                  </a:lnTo>
                  <a:lnTo>
                    <a:pt x="517" y="350"/>
                  </a:lnTo>
                  <a:lnTo>
                    <a:pt x="513" y="352"/>
                  </a:lnTo>
                  <a:lnTo>
                    <a:pt x="511" y="350"/>
                  </a:lnTo>
                  <a:lnTo>
                    <a:pt x="511" y="359"/>
                  </a:lnTo>
                  <a:lnTo>
                    <a:pt x="510" y="360"/>
                  </a:lnTo>
                  <a:lnTo>
                    <a:pt x="508" y="362"/>
                  </a:lnTo>
                  <a:lnTo>
                    <a:pt x="505" y="360"/>
                  </a:lnTo>
                  <a:lnTo>
                    <a:pt x="503" y="360"/>
                  </a:lnTo>
                  <a:lnTo>
                    <a:pt x="503" y="362"/>
                  </a:lnTo>
                  <a:lnTo>
                    <a:pt x="506" y="364"/>
                  </a:lnTo>
                  <a:lnTo>
                    <a:pt x="503" y="365"/>
                  </a:lnTo>
                  <a:lnTo>
                    <a:pt x="503" y="372"/>
                  </a:lnTo>
                  <a:lnTo>
                    <a:pt x="503" y="374"/>
                  </a:lnTo>
                  <a:lnTo>
                    <a:pt x="500" y="374"/>
                  </a:lnTo>
                  <a:lnTo>
                    <a:pt x="496" y="374"/>
                  </a:lnTo>
                  <a:lnTo>
                    <a:pt x="493" y="371"/>
                  </a:lnTo>
                  <a:lnTo>
                    <a:pt x="491" y="364"/>
                  </a:lnTo>
                  <a:lnTo>
                    <a:pt x="493" y="362"/>
                  </a:lnTo>
                  <a:lnTo>
                    <a:pt x="496" y="360"/>
                  </a:lnTo>
                  <a:lnTo>
                    <a:pt x="496" y="359"/>
                  </a:lnTo>
                  <a:lnTo>
                    <a:pt x="494" y="355"/>
                  </a:lnTo>
                  <a:lnTo>
                    <a:pt x="491" y="355"/>
                  </a:lnTo>
                  <a:lnTo>
                    <a:pt x="489" y="355"/>
                  </a:lnTo>
                  <a:lnTo>
                    <a:pt x="488" y="359"/>
                  </a:lnTo>
                  <a:lnTo>
                    <a:pt x="488" y="360"/>
                  </a:lnTo>
                  <a:lnTo>
                    <a:pt x="486" y="359"/>
                  </a:lnTo>
                  <a:lnTo>
                    <a:pt x="482" y="355"/>
                  </a:lnTo>
                  <a:lnTo>
                    <a:pt x="482" y="359"/>
                  </a:lnTo>
                  <a:lnTo>
                    <a:pt x="481" y="359"/>
                  </a:lnTo>
                  <a:lnTo>
                    <a:pt x="477" y="362"/>
                  </a:lnTo>
                  <a:lnTo>
                    <a:pt x="474" y="364"/>
                  </a:lnTo>
                  <a:lnTo>
                    <a:pt x="470" y="362"/>
                  </a:lnTo>
                  <a:lnTo>
                    <a:pt x="470" y="355"/>
                  </a:lnTo>
                  <a:lnTo>
                    <a:pt x="469" y="355"/>
                  </a:lnTo>
                  <a:lnTo>
                    <a:pt x="469" y="354"/>
                  </a:lnTo>
                  <a:lnTo>
                    <a:pt x="465" y="354"/>
                  </a:lnTo>
                  <a:lnTo>
                    <a:pt x="462" y="355"/>
                  </a:lnTo>
                  <a:lnTo>
                    <a:pt x="460" y="355"/>
                  </a:lnTo>
                  <a:lnTo>
                    <a:pt x="459" y="354"/>
                  </a:lnTo>
                  <a:lnTo>
                    <a:pt x="457" y="347"/>
                  </a:lnTo>
                  <a:lnTo>
                    <a:pt x="452" y="345"/>
                  </a:lnTo>
                  <a:lnTo>
                    <a:pt x="448" y="347"/>
                  </a:lnTo>
                  <a:lnTo>
                    <a:pt x="447" y="350"/>
                  </a:lnTo>
                  <a:lnTo>
                    <a:pt x="443" y="352"/>
                  </a:lnTo>
                  <a:lnTo>
                    <a:pt x="440" y="355"/>
                  </a:lnTo>
                  <a:lnTo>
                    <a:pt x="435" y="359"/>
                  </a:lnTo>
                  <a:lnTo>
                    <a:pt x="433" y="359"/>
                  </a:lnTo>
                  <a:lnTo>
                    <a:pt x="429" y="357"/>
                  </a:lnTo>
                  <a:lnTo>
                    <a:pt x="426" y="355"/>
                  </a:lnTo>
                  <a:lnTo>
                    <a:pt x="424" y="354"/>
                  </a:lnTo>
                  <a:lnTo>
                    <a:pt x="424" y="354"/>
                  </a:lnTo>
                  <a:lnTo>
                    <a:pt x="426" y="350"/>
                  </a:lnTo>
                  <a:lnTo>
                    <a:pt x="426" y="348"/>
                  </a:lnTo>
                  <a:lnTo>
                    <a:pt x="426" y="348"/>
                  </a:lnTo>
                  <a:lnTo>
                    <a:pt x="426" y="347"/>
                  </a:lnTo>
                  <a:lnTo>
                    <a:pt x="424" y="343"/>
                  </a:lnTo>
                  <a:lnTo>
                    <a:pt x="419" y="345"/>
                  </a:lnTo>
                  <a:lnTo>
                    <a:pt x="417" y="345"/>
                  </a:lnTo>
                  <a:lnTo>
                    <a:pt x="414" y="343"/>
                  </a:lnTo>
                  <a:lnTo>
                    <a:pt x="412" y="336"/>
                  </a:lnTo>
                  <a:lnTo>
                    <a:pt x="414" y="328"/>
                  </a:lnTo>
                  <a:lnTo>
                    <a:pt x="412" y="328"/>
                  </a:lnTo>
                  <a:lnTo>
                    <a:pt x="411" y="328"/>
                  </a:lnTo>
                  <a:lnTo>
                    <a:pt x="407" y="331"/>
                  </a:lnTo>
                  <a:lnTo>
                    <a:pt x="399" y="330"/>
                  </a:lnTo>
                  <a:lnTo>
                    <a:pt x="394" y="328"/>
                  </a:lnTo>
                  <a:lnTo>
                    <a:pt x="392" y="328"/>
                  </a:lnTo>
                  <a:lnTo>
                    <a:pt x="388" y="330"/>
                  </a:lnTo>
                  <a:lnTo>
                    <a:pt x="388" y="333"/>
                  </a:lnTo>
                  <a:lnTo>
                    <a:pt x="387" y="333"/>
                  </a:lnTo>
                  <a:lnTo>
                    <a:pt x="385" y="335"/>
                  </a:lnTo>
                  <a:lnTo>
                    <a:pt x="383" y="336"/>
                  </a:lnTo>
                  <a:lnTo>
                    <a:pt x="378" y="335"/>
                  </a:lnTo>
                  <a:lnTo>
                    <a:pt x="373" y="331"/>
                  </a:lnTo>
                  <a:lnTo>
                    <a:pt x="371" y="326"/>
                  </a:lnTo>
                  <a:lnTo>
                    <a:pt x="370" y="326"/>
                  </a:lnTo>
                  <a:lnTo>
                    <a:pt x="368" y="324"/>
                  </a:lnTo>
                  <a:lnTo>
                    <a:pt x="365" y="326"/>
                  </a:lnTo>
                  <a:lnTo>
                    <a:pt x="363" y="326"/>
                  </a:lnTo>
                  <a:lnTo>
                    <a:pt x="359" y="328"/>
                  </a:lnTo>
                  <a:lnTo>
                    <a:pt x="354" y="328"/>
                  </a:lnTo>
                  <a:lnTo>
                    <a:pt x="351" y="326"/>
                  </a:lnTo>
                  <a:lnTo>
                    <a:pt x="344" y="324"/>
                  </a:lnTo>
                  <a:lnTo>
                    <a:pt x="339" y="319"/>
                  </a:lnTo>
                  <a:lnTo>
                    <a:pt x="335" y="318"/>
                  </a:lnTo>
                  <a:lnTo>
                    <a:pt x="332" y="319"/>
                  </a:lnTo>
                  <a:lnTo>
                    <a:pt x="327" y="318"/>
                  </a:lnTo>
                  <a:lnTo>
                    <a:pt x="323" y="319"/>
                  </a:lnTo>
                  <a:lnTo>
                    <a:pt x="318" y="318"/>
                  </a:lnTo>
                  <a:lnTo>
                    <a:pt x="318" y="316"/>
                  </a:lnTo>
                  <a:lnTo>
                    <a:pt x="317" y="313"/>
                  </a:lnTo>
                  <a:lnTo>
                    <a:pt x="317" y="307"/>
                  </a:lnTo>
                  <a:lnTo>
                    <a:pt x="317" y="304"/>
                  </a:lnTo>
                  <a:lnTo>
                    <a:pt x="313" y="301"/>
                  </a:lnTo>
                  <a:lnTo>
                    <a:pt x="312" y="297"/>
                  </a:lnTo>
                  <a:lnTo>
                    <a:pt x="306" y="295"/>
                  </a:lnTo>
                  <a:lnTo>
                    <a:pt x="303" y="292"/>
                  </a:lnTo>
                  <a:lnTo>
                    <a:pt x="301" y="294"/>
                  </a:lnTo>
                  <a:lnTo>
                    <a:pt x="300" y="297"/>
                  </a:lnTo>
                  <a:lnTo>
                    <a:pt x="300" y="301"/>
                  </a:lnTo>
                  <a:lnTo>
                    <a:pt x="296" y="301"/>
                  </a:lnTo>
                  <a:lnTo>
                    <a:pt x="293" y="299"/>
                  </a:lnTo>
                  <a:lnTo>
                    <a:pt x="291" y="295"/>
                  </a:lnTo>
                  <a:lnTo>
                    <a:pt x="286" y="295"/>
                  </a:lnTo>
                  <a:lnTo>
                    <a:pt x="284" y="295"/>
                  </a:lnTo>
                  <a:lnTo>
                    <a:pt x="284" y="297"/>
                  </a:lnTo>
                  <a:lnTo>
                    <a:pt x="282" y="299"/>
                  </a:lnTo>
                  <a:lnTo>
                    <a:pt x="274" y="299"/>
                  </a:lnTo>
                  <a:lnTo>
                    <a:pt x="267" y="290"/>
                  </a:lnTo>
                  <a:lnTo>
                    <a:pt x="262" y="285"/>
                  </a:lnTo>
                  <a:lnTo>
                    <a:pt x="260" y="282"/>
                  </a:lnTo>
                  <a:lnTo>
                    <a:pt x="259" y="278"/>
                  </a:lnTo>
                  <a:lnTo>
                    <a:pt x="253" y="275"/>
                  </a:lnTo>
                  <a:lnTo>
                    <a:pt x="253" y="275"/>
                  </a:lnTo>
                  <a:lnTo>
                    <a:pt x="250" y="277"/>
                  </a:lnTo>
                  <a:lnTo>
                    <a:pt x="248" y="277"/>
                  </a:lnTo>
                  <a:lnTo>
                    <a:pt x="248" y="258"/>
                  </a:lnTo>
                  <a:lnTo>
                    <a:pt x="250" y="227"/>
                  </a:lnTo>
                  <a:lnTo>
                    <a:pt x="252" y="210"/>
                  </a:lnTo>
                  <a:lnTo>
                    <a:pt x="252" y="184"/>
                  </a:lnTo>
                  <a:lnTo>
                    <a:pt x="253" y="164"/>
                  </a:lnTo>
                  <a:lnTo>
                    <a:pt x="253" y="135"/>
                  </a:lnTo>
                  <a:lnTo>
                    <a:pt x="255" y="116"/>
                  </a:lnTo>
                  <a:lnTo>
                    <a:pt x="257" y="70"/>
                  </a:lnTo>
                  <a:lnTo>
                    <a:pt x="257" y="68"/>
                  </a:lnTo>
                  <a:lnTo>
                    <a:pt x="209" y="68"/>
                  </a:lnTo>
                  <a:lnTo>
                    <a:pt x="175" y="65"/>
                  </a:lnTo>
                  <a:lnTo>
                    <a:pt x="163" y="65"/>
                  </a:lnTo>
                  <a:lnTo>
                    <a:pt x="118" y="61"/>
                  </a:lnTo>
                  <a:lnTo>
                    <a:pt x="83" y="60"/>
                  </a:lnTo>
                  <a:lnTo>
                    <a:pt x="72" y="60"/>
                  </a:lnTo>
                  <a:lnTo>
                    <a:pt x="0" y="54"/>
                  </a:lnTo>
                  <a:lnTo>
                    <a:pt x="4" y="0"/>
                  </a:lnTo>
                  <a:lnTo>
                    <a:pt x="86" y="7"/>
                  </a:lnTo>
                  <a:lnTo>
                    <a:pt x="88" y="7"/>
                  </a:lnTo>
                  <a:lnTo>
                    <a:pt x="127" y="8"/>
                  </a:lnTo>
                  <a:lnTo>
                    <a:pt x="168" y="10"/>
                  </a:lnTo>
                  <a:lnTo>
                    <a:pt x="178" y="10"/>
                  </a:lnTo>
                  <a:lnTo>
                    <a:pt x="206" y="12"/>
                  </a:lnTo>
                  <a:lnTo>
                    <a:pt x="252" y="13"/>
                  </a:lnTo>
                  <a:lnTo>
                    <a:pt x="259" y="15"/>
                  </a:lnTo>
                  <a:lnTo>
                    <a:pt x="298" y="17"/>
                  </a:lnTo>
                  <a:lnTo>
                    <a:pt x="306" y="17"/>
                  </a:lnTo>
                  <a:lnTo>
                    <a:pt x="344" y="17"/>
                  </a:lnTo>
                  <a:lnTo>
                    <a:pt x="383" y="19"/>
                  </a:lnTo>
                  <a:lnTo>
                    <a:pt x="399" y="19"/>
                  </a:lnTo>
                  <a:lnTo>
                    <a:pt x="419" y="20"/>
                  </a:lnTo>
                  <a:lnTo>
                    <a:pt x="445" y="20"/>
                  </a:lnTo>
                  <a:lnTo>
                    <a:pt x="474" y="20"/>
                  </a:lnTo>
                  <a:lnTo>
                    <a:pt x="503" y="20"/>
                  </a:lnTo>
                  <a:lnTo>
                    <a:pt x="535" y="22"/>
                  </a:lnTo>
                  <a:lnTo>
                    <a:pt x="554" y="22"/>
                  </a:lnTo>
                  <a:lnTo>
                    <a:pt x="599" y="22"/>
                  </a:lnTo>
                  <a:lnTo>
                    <a:pt x="602" y="22"/>
                  </a:lnTo>
                  <a:lnTo>
                    <a:pt x="617" y="22"/>
                  </a:lnTo>
                  <a:lnTo>
                    <a:pt x="640" y="22"/>
                  </a:lnTo>
                  <a:lnTo>
                    <a:pt x="650" y="22"/>
                  </a:lnTo>
                  <a:lnTo>
                    <a:pt x="677" y="20"/>
                  </a:lnTo>
                  <a:lnTo>
                    <a:pt x="681" y="20"/>
                  </a:lnTo>
                  <a:lnTo>
                    <a:pt x="717" y="20"/>
                  </a:lnTo>
                  <a:lnTo>
                    <a:pt x="717" y="46"/>
                  </a:lnTo>
                  <a:lnTo>
                    <a:pt x="717" y="56"/>
                  </a:lnTo>
                  <a:lnTo>
                    <a:pt x="717" y="75"/>
                  </a:lnTo>
                  <a:lnTo>
                    <a:pt x="718" y="77"/>
                  </a:lnTo>
                  <a:lnTo>
                    <a:pt x="723" y="111"/>
                  </a:lnTo>
                  <a:lnTo>
                    <a:pt x="723" y="118"/>
                  </a:lnTo>
                  <a:lnTo>
                    <a:pt x="730" y="154"/>
                  </a:lnTo>
                  <a:lnTo>
                    <a:pt x="732" y="167"/>
                  </a:lnTo>
                  <a:lnTo>
                    <a:pt x="735" y="193"/>
                  </a:lnTo>
                  <a:lnTo>
                    <a:pt x="735" y="244"/>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4" name="Freeform 43"/>
            <p:cNvSpPr>
              <a:spLocks noEditPoints="1"/>
            </p:cNvSpPr>
            <p:nvPr/>
          </p:nvSpPr>
          <p:spPr bwMode="gray">
            <a:xfrm>
              <a:off x="6902649" y="3894639"/>
              <a:ext cx="1210917" cy="528166"/>
            </a:xfrm>
            <a:custGeom>
              <a:avLst/>
              <a:gdLst/>
              <a:ahLst/>
              <a:cxnLst>
                <a:cxn ang="0">
                  <a:pos x="5" y="256"/>
                </a:cxn>
                <a:cxn ang="0">
                  <a:pos x="20" y="247"/>
                </a:cxn>
                <a:cxn ang="0">
                  <a:pos x="30" y="227"/>
                </a:cxn>
                <a:cxn ang="0">
                  <a:pos x="58" y="218"/>
                </a:cxn>
                <a:cxn ang="0">
                  <a:pos x="78" y="205"/>
                </a:cxn>
                <a:cxn ang="0">
                  <a:pos x="90" y="191"/>
                </a:cxn>
                <a:cxn ang="0">
                  <a:pos x="109" y="176"/>
                </a:cxn>
                <a:cxn ang="0">
                  <a:pos x="119" y="165"/>
                </a:cxn>
                <a:cxn ang="0">
                  <a:pos x="133" y="155"/>
                </a:cxn>
                <a:cxn ang="0">
                  <a:pos x="141" y="160"/>
                </a:cxn>
                <a:cxn ang="0">
                  <a:pos x="160" y="142"/>
                </a:cxn>
                <a:cxn ang="0">
                  <a:pos x="181" y="138"/>
                </a:cxn>
                <a:cxn ang="0">
                  <a:pos x="205" y="112"/>
                </a:cxn>
                <a:cxn ang="0">
                  <a:pos x="203" y="85"/>
                </a:cxn>
                <a:cxn ang="0">
                  <a:pos x="307" y="71"/>
                </a:cxn>
                <a:cxn ang="0">
                  <a:pos x="411" y="54"/>
                </a:cxn>
                <a:cxn ang="0">
                  <a:pos x="487" y="41"/>
                </a:cxn>
                <a:cxn ang="0">
                  <a:pos x="582" y="22"/>
                </a:cxn>
                <a:cxn ang="0">
                  <a:pos x="652" y="7"/>
                </a:cxn>
                <a:cxn ang="0">
                  <a:pos x="685" y="13"/>
                </a:cxn>
                <a:cxn ang="0">
                  <a:pos x="692" y="22"/>
                </a:cxn>
                <a:cxn ang="0">
                  <a:pos x="690" y="32"/>
                </a:cxn>
                <a:cxn ang="0">
                  <a:pos x="671" y="30"/>
                </a:cxn>
                <a:cxn ang="0">
                  <a:pos x="663" y="42"/>
                </a:cxn>
                <a:cxn ang="0">
                  <a:pos x="642" y="70"/>
                </a:cxn>
                <a:cxn ang="0">
                  <a:pos x="629" y="41"/>
                </a:cxn>
                <a:cxn ang="0">
                  <a:pos x="625" y="48"/>
                </a:cxn>
                <a:cxn ang="0">
                  <a:pos x="659" y="70"/>
                </a:cxn>
                <a:cxn ang="0">
                  <a:pos x="692" y="87"/>
                </a:cxn>
                <a:cxn ang="0">
                  <a:pos x="697" y="71"/>
                </a:cxn>
                <a:cxn ang="0">
                  <a:pos x="711" y="97"/>
                </a:cxn>
                <a:cxn ang="0">
                  <a:pos x="666" y="121"/>
                </a:cxn>
                <a:cxn ang="0">
                  <a:pos x="652" y="130"/>
                </a:cxn>
                <a:cxn ang="0">
                  <a:pos x="658" y="148"/>
                </a:cxn>
                <a:cxn ang="0">
                  <a:pos x="661" y="162"/>
                </a:cxn>
                <a:cxn ang="0">
                  <a:pos x="634" y="174"/>
                </a:cxn>
                <a:cxn ang="0">
                  <a:pos x="639" y="188"/>
                </a:cxn>
                <a:cxn ang="0">
                  <a:pos x="680" y="179"/>
                </a:cxn>
                <a:cxn ang="0">
                  <a:pos x="668" y="206"/>
                </a:cxn>
                <a:cxn ang="0">
                  <a:pos x="596" y="249"/>
                </a:cxn>
                <a:cxn ang="0">
                  <a:pos x="572" y="283"/>
                </a:cxn>
                <a:cxn ang="0">
                  <a:pos x="564" y="316"/>
                </a:cxn>
                <a:cxn ang="0">
                  <a:pos x="427" y="261"/>
                </a:cxn>
                <a:cxn ang="0">
                  <a:pos x="328" y="259"/>
                </a:cxn>
                <a:cxn ang="0">
                  <a:pos x="292" y="234"/>
                </a:cxn>
                <a:cxn ang="0">
                  <a:pos x="280" y="230"/>
                </a:cxn>
                <a:cxn ang="0">
                  <a:pos x="200" y="239"/>
                </a:cxn>
                <a:cxn ang="0">
                  <a:pos x="167" y="244"/>
                </a:cxn>
                <a:cxn ang="0">
                  <a:pos x="153" y="249"/>
                </a:cxn>
                <a:cxn ang="0">
                  <a:pos x="138" y="258"/>
                </a:cxn>
                <a:cxn ang="0">
                  <a:pos x="70" y="278"/>
                </a:cxn>
                <a:cxn ang="0">
                  <a:pos x="682" y="1"/>
                </a:cxn>
                <a:cxn ang="0">
                  <a:pos x="678" y="1"/>
                </a:cxn>
                <a:cxn ang="0">
                  <a:pos x="717" y="49"/>
                </a:cxn>
                <a:cxn ang="0">
                  <a:pos x="738" y="75"/>
                </a:cxn>
                <a:cxn ang="0">
                  <a:pos x="750" y="126"/>
                </a:cxn>
                <a:cxn ang="0">
                  <a:pos x="724" y="145"/>
                </a:cxn>
                <a:cxn ang="0">
                  <a:pos x="712" y="159"/>
                </a:cxn>
                <a:cxn ang="0">
                  <a:pos x="683" y="198"/>
                </a:cxn>
              </a:cxnLst>
              <a:rect l="0" t="0" r="r" b="b"/>
              <a:pathLst>
                <a:path w="752" h="328">
                  <a:moveTo>
                    <a:pt x="29" y="283"/>
                  </a:moveTo>
                  <a:lnTo>
                    <a:pt x="17" y="285"/>
                  </a:lnTo>
                  <a:lnTo>
                    <a:pt x="0" y="287"/>
                  </a:lnTo>
                  <a:lnTo>
                    <a:pt x="0" y="263"/>
                  </a:lnTo>
                  <a:lnTo>
                    <a:pt x="5" y="256"/>
                  </a:lnTo>
                  <a:lnTo>
                    <a:pt x="8" y="258"/>
                  </a:lnTo>
                  <a:lnTo>
                    <a:pt x="15" y="258"/>
                  </a:lnTo>
                  <a:lnTo>
                    <a:pt x="20" y="254"/>
                  </a:lnTo>
                  <a:lnTo>
                    <a:pt x="20" y="251"/>
                  </a:lnTo>
                  <a:lnTo>
                    <a:pt x="20" y="247"/>
                  </a:lnTo>
                  <a:lnTo>
                    <a:pt x="22" y="242"/>
                  </a:lnTo>
                  <a:lnTo>
                    <a:pt x="20" y="239"/>
                  </a:lnTo>
                  <a:lnTo>
                    <a:pt x="25" y="234"/>
                  </a:lnTo>
                  <a:lnTo>
                    <a:pt x="29" y="230"/>
                  </a:lnTo>
                  <a:lnTo>
                    <a:pt x="30" y="227"/>
                  </a:lnTo>
                  <a:lnTo>
                    <a:pt x="35" y="225"/>
                  </a:lnTo>
                  <a:lnTo>
                    <a:pt x="39" y="220"/>
                  </a:lnTo>
                  <a:lnTo>
                    <a:pt x="47" y="218"/>
                  </a:lnTo>
                  <a:lnTo>
                    <a:pt x="53" y="217"/>
                  </a:lnTo>
                  <a:lnTo>
                    <a:pt x="58" y="218"/>
                  </a:lnTo>
                  <a:lnTo>
                    <a:pt x="63" y="217"/>
                  </a:lnTo>
                  <a:lnTo>
                    <a:pt x="66" y="212"/>
                  </a:lnTo>
                  <a:lnTo>
                    <a:pt x="71" y="208"/>
                  </a:lnTo>
                  <a:lnTo>
                    <a:pt x="75" y="205"/>
                  </a:lnTo>
                  <a:lnTo>
                    <a:pt x="78" y="205"/>
                  </a:lnTo>
                  <a:lnTo>
                    <a:pt x="82" y="200"/>
                  </a:lnTo>
                  <a:lnTo>
                    <a:pt x="82" y="200"/>
                  </a:lnTo>
                  <a:lnTo>
                    <a:pt x="83" y="196"/>
                  </a:lnTo>
                  <a:lnTo>
                    <a:pt x="87" y="195"/>
                  </a:lnTo>
                  <a:lnTo>
                    <a:pt x="90" y="191"/>
                  </a:lnTo>
                  <a:lnTo>
                    <a:pt x="92" y="191"/>
                  </a:lnTo>
                  <a:lnTo>
                    <a:pt x="97" y="188"/>
                  </a:lnTo>
                  <a:lnTo>
                    <a:pt x="104" y="188"/>
                  </a:lnTo>
                  <a:lnTo>
                    <a:pt x="106" y="186"/>
                  </a:lnTo>
                  <a:lnTo>
                    <a:pt x="109" y="176"/>
                  </a:lnTo>
                  <a:lnTo>
                    <a:pt x="107" y="171"/>
                  </a:lnTo>
                  <a:lnTo>
                    <a:pt x="109" y="169"/>
                  </a:lnTo>
                  <a:lnTo>
                    <a:pt x="112" y="167"/>
                  </a:lnTo>
                  <a:lnTo>
                    <a:pt x="118" y="171"/>
                  </a:lnTo>
                  <a:lnTo>
                    <a:pt x="119" y="165"/>
                  </a:lnTo>
                  <a:lnTo>
                    <a:pt x="119" y="162"/>
                  </a:lnTo>
                  <a:lnTo>
                    <a:pt x="119" y="162"/>
                  </a:lnTo>
                  <a:lnTo>
                    <a:pt x="129" y="153"/>
                  </a:lnTo>
                  <a:lnTo>
                    <a:pt x="129" y="153"/>
                  </a:lnTo>
                  <a:lnTo>
                    <a:pt x="133" y="155"/>
                  </a:lnTo>
                  <a:lnTo>
                    <a:pt x="133" y="157"/>
                  </a:lnTo>
                  <a:lnTo>
                    <a:pt x="133" y="159"/>
                  </a:lnTo>
                  <a:lnTo>
                    <a:pt x="135" y="164"/>
                  </a:lnTo>
                  <a:lnTo>
                    <a:pt x="138" y="164"/>
                  </a:lnTo>
                  <a:lnTo>
                    <a:pt x="141" y="160"/>
                  </a:lnTo>
                  <a:lnTo>
                    <a:pt x="145" y="159"/>
                  </a:lnTo>
                  <a:lnTo>
                    <a:pt x="148" y="148"/>
                  </a:lnTo>
                  <a:lnTo>
                    <a:pt x="152" y="147"/>
                  </a:lnTo>
                  <a:lnTo>
                    <a:pt x="157" y="143"/>
                  </a:lnTo>
                  <a:lnTo>
                    <a:pt x="160" y="142"/>
                  </a:lnTo>
                  <a:lnTo>
                    <a:pt x="165" y="138"/>
                  </a:lnTo>
                  <a:lnTo>
                    <a:pt x="169" y="138"/>
                  </a:lnTo>
                  <a:lnTo>
                    <a:pt x="172" y="143"/>
                  </a:lnTo>
                  <a:lnTo>
                    <a:pt x="176" y="142"/>
                  </a:lnTo>
                  <a:lnTo>
                    <a:pt x="181" y="138"/>
                  </a:lnTo>
                  <a:lnTo>
                    <a:pt x="186" y="123"/>
                  </a:lnTo>
                  <a:lnTo>
                    <a:pt x="188" y="119"/>
                  </a:lnTo>
                  <a:lnTo>
                    <a:pt x="194" y="114"/>
                  </a:lnTo>
                  <a:lnTo>
                    <a:pt x="203" y="112"/>
                  </a:lnTo>
                  <a:lnTo>
                    <a:pt x="205" y="112"/>
                  </a:lnTo>
                  <a:lnTo>
                    <a:pt x="201" y="109"/>
                  </a:lnTo>
                  <a:lnTo>
                    <a:pt x="200" y="107"/>
                  </a:lnTo>
                  <a:lnTo>
                    <a:pt x="203" y="97"/>
                  </a:lnTo>
                  <a:lnTo>
                    <a:pt x="201" y="92"/>
                  </a:lnTo>
                  <a:lnTo>
                    <a:pt x="203" y="85"/>
                  </a:lnTo>
                  <a:lnTo>
                    <a:pt x="230" y="82"/>
                  </a:lnTo>
                  <a:lnTo>
                    <a:pt x="268" y="77"/>
                  </a:lnTo>
                  <a:lnTo>
                    <a:pt x="273" y="77"/>
                  </a:lnTo>
                  <a:lnTo>
                    <a:pt x="294" y="73"/>
                  </a:lnTo>
                  <a:lnTo>
                    <a:pt x="307" y="71"/>
                  </a:lnTo>
                  <a:lnTo>
                    <a:pt x="341" y="66"/>
                  </a:lnTo>
                  <a:lnTo>
                    <a:pt x="343" y="66"/>
                  </a:lnTo>
                  <a:lnTo>
                    <a:pt x="369" y="63"/>
                  </a:lnTo>
                  <a:lnTo>
                    <a:pt x="386" y="60"/>
                  </a:lnTo>
                  <a:lnTo>
                    <a:pt x="411" y="54"/>
                  </a:lnTo>
                  <a:lnTo>
                    <a:pt x="417" y="54"/>
                  </a:lnTo>
                  <a:lnTo>
                    <a:pt x="446" y="49"/>
                  </a:lnTo>
                  <a:lnTo>
                    <a:pt x="451" y="48"/>
                  </a:lnTo>
                  <a:lnTo>
                    <a:pt x="475" y="44"/>
                  </a:lnTo>
                  <a:lnTo>
                    <a:pt x="487" y="41"/>
                  </a:lnTo>
                  <a:lnTo>
                    <a:pt x="509" y="36"/>
                  </a:lnTo>
                  <a:lnTo>
                    <a:pt x="521" y="34"/>
                  </a:lnTo>
                  <a:lnTo>
                    <a:pt x="533" y="32"/>
                  </a:lnTo>
                  <a:lnTo>
                    <a:pt x="570" y="24"/>
                  </a:lnTo>
                  <a:lnTo>
                    <a:pt x="582" y="22"/>
                  </a:lnTo>
                  <a:lnTo>
                    <a:pt x="603" y="17"/>
                  </a:lnTo>
                  <a:lnTo>
                    <a:pt x="603" y="17"/>
                  </a:lnTo>
                  <a:lnTo>
                    <a:pt x="634" y="12"/>
                  </a:lnTo>
                  <a:lnTo>
                    <a:pt x="639" y="10"/>
                  </a:lnTo>
                  <a:lnTo>
                    <a:pt x="652" y="7"/>
                  </a:lnTo>
                  <a:lnTo>
                    <a:pt x="670" y="3"/>
                  </a:lnTo>
                  <a:lnTo>
                    <a:pt x="676" y="1"/>
                  </a:lnTo>
                  <a:lnTo>
                    <a:pt x="678" y="7"/>
                  </a:lnTo>
                  <a:lnTo>
                    <a:pt x="675" y="8"/>
                  </a:lnTo>
                  <a:lnTo>
                    <a:pt x="685" y="13"/>
                  </a:lnTo>
                  <a:lnTo>
                    <a:pt x="687" y="15"/>
                  </a:lnTo>
                  <a:lnTo>
                    <a:pt x="683" y="15"/>
                  </a:lnTo>
                  <a:lnTo>
                    <a:pt x="688" y="20"/>
                  </a:lnTo>
                  <a:lnTo>
                    <a:pt x="690" y="13"/>
                  </a:lnTo>
                  <a:lnTo>
                    <a:pt x="692" y="22"/>
                  </a:lnTo>
                  <a:lnTo>
                    <a:pt x="707" y="44"/>
                  </a:lnTo>
                  <a:lnTo>
                    <a:pt x="709" y="49"/>
                  </a:lnTo>
                  <a:lnTo>
                    <a:pt x="704" y="46"/>
                  </a:lnTo>
                  <a:lnTo>
                    <a:pt x="695" y="32"/>
                  </a:lnTo>
                  <a:lnTo>
                    <a:pt x="690" y="32"/>
                  </a:lnTo>
                  <a:lnTo>
                    <a:pt x="692" y="27"/>
                  </a:lnTo>
                  <a:lnTo>
                    <a:pt x="685" y="27"/>
                  </a:lnTo>
                  <a:lnTo>
                    <a:pt x="692" y="39"/>
                  </a:lnTo>
                  <a:lnTo>
                    <a:pt x="690" y="42"/>
                  </a:lnTo>
                  <a:lnTo>
                    <a:pt x="671" y="30"/>
                  </a:lnTo>
                  <a:lnTo>
                    <a:pt x="668" y="32"/>
                  </a:lnTo>
                  <a:lnTo>
                    <a:pt x="680" y="44"/>
                  </a:lnTo>
                  <a:lnTo>
                    <a:pt x="678" y="48"/>
                  </a:lnTo>
                  <a:lnTo>
                    <a:pt x="670" y="48"/>
                  </a:lnTo>
                  <a:lnTo>
                    <a:pt x="663" y="42"/>
                  </a:lnTo>
                  <a:lnTo>
                    <a:pt x="668" y="53"/>
                  </a:lnTo>
                  <a:lnTo>
                    <a:pt x="651" y="60"/>
                  </a:lnTo>
                  <a:lnTo>
                    <a:pt x="656" y="61"/>
                  </a:lnTo>
                  <a:lnTo>
                    <a:pt x="649" y="68"/>
                  </a:lnTo>
                  <a:lnTo>
                    <a:pt x="642" y="70"/>
                  </a:lnTo>
                  <a:lnTo>
                    <a:pt x="637" y="65"/>
                  </a:lnTo>
                  <a:lnTo>
                    <a:pt x="639" y="66"/>
                  </a:lnTo>
                  <a:lnTo>
                    <a:pt x="634" y="66"/>
                  </a:lnTo>
                  <a:lnTo>
                    <a:pt x="629" y="56"/>
                  </a:lnTo>
                  <a:lnTo>
                    <a:pt x="629" y="41"/>
                  </a:lnTo>
                  <a:lnTo>
                    <a:pt x="620" y="36"/>
                  </a:lnTo>
                  <a:lnTo>
                    <a:pt x="606" y="34"/>
                  </a:lnTo>
                  <a:lnTo>
                    <a:pt x="623" y="39"/>
                  </a:lnTo>
                  <a:lnTo>
                    <a:pt x="627" y="44"/>
                  </a:lnTo>
                  <a:lnTo>
                    <a:pt x="625" y="48"/>
                  </a:lnTo>
                  <a:lnTo>
                    <a:pt x="625" y="58"/>
                  </a:lnTo>
                  <a:lnTo>
                    <a:pt x="635" y="73"/>
                  </a:lnTo>
                  <a:lnTo>
                    <a:pt x="632" y="80"/>
                  </a:lnTo>
                  <a:lnTo>
                    <a:pt x="635" y="78"/>
                  </a:lnTo>
                  <a:lnTo>
                    <a:pt x="659" y="70"/>
                  </a:lnTo>
                  <a:lnTo>
                    <a:pt x="663" y="73"/>
                  </a:lnTo>
                  <a:lnTo>
                    <a:pt x="676" y="66"/>
                  </a:lnTo>
                  <a:lnTo>
                    <a:pt x="687" y="65"/>
                  </a:lnTo>
                  <a:lnTo>
                    <a:pt x="693" y="68"/>
                  </a:lnTo>
                  <a:lnTo>
                    <a:pt x="692" y="87"/>
                  </a:lnTo>
                  <a:lnTo>
                    <a:pt x="697" y="94"/>
                  </a:lnTo>
                  <a:lnTo>
                    <a:pt x="687" y="95"/>
                  </a:lnTo>
                  <a:lnTo>
                    <a:pt x="692" y="97"/>
                  </a:lnTo>
                  <a:lnTo>
                    <a:pt x="699" y="95"/>
                  </a:lnTo>
                  <a:lnTo>
                    <a:pt x="697" y="71"/>
                  </a:lnTo>
                  <a:lnTo>
                    <a:pt x="711" y="65"/>
                  </a:lnTo>
                  <a:lnTo>
                    <a:pt x="717" y="70"/>
                  </a:lnTo>
                  <a:lnTo>
                    <a:pt x="724" y="90"/>
                  </a:lnTo>
                  <a:lnTo>
                    <a:pt x="721" y="101"/>
                  </a:lnTo>
                  <a:lnTo>
                    <a:pt x="711" y="97"/>
                  </a:lnTo>
                  <a:lnTo>
                    <a:pt x="702" y="123"/>
                  </a:lnTo>
                  <a:lnTo>
                    <a:pt x="692" y="133"/>
                  </a:lnTo>
                  <a:lnTo>
                    <a:pt x="664" y="130"/>
                  </a:lnTo>
                  <a:lnTo>
                    <a:pt x="661" y="128"/>
                  </a:lnTo>
                  <a:lnTo>
                    <a:pt x="666" y="121"/>
                  </a:lnTo>
                  <a:lnTo>
                    <a:pt x="666" y="116"/>
                  </a:lnTo>
                  <a:lnTo>
                    <a:pt x="659" y="114"/>
                  </a:lnTo>
                  <a:lnTo>
                    <a:pt x="661" y="118"/>
                  </a:lnTo>
                  <a:lnTo>
                    <a:pt x="649" y="121"/>
                  </a:lnTo>
                  <a:lnTo>
                    <a:pt x="652" y="130"/>
                  </a:lnTo>
                  <a:lnTo>
                    <a:pt x="646" y="135"/>
                  </a:lnTo>
                  <a:lnTo>
                    <a:pt x="610" y="126"/>
                  </a:lnTo>
                  <a:lnTo>
                    <a:pt x="622" y="136"/>
                  </a:lnTo>
                  <a:lnTo>
                    <a:pt x="649" y="142"/>
                  </a:lnTo>
                  <a:lnTo>
                    <a:pt x="658" y="148"/>
                  </a:lnTo>
                  <a:lnTo>
                    <a:pt x="658" y="143"/>
                  </a:lnTo>
                  <a:lnTo>
                    <a:pt x="663" y="143"/>
                  </a:lnTo>
                  <a:lnTo>
                    <a:pt x="666" y="148"/>
                  </a:lnTo>
                  <a:lnTo>
                    <a:pt x="658" y="159"/>
                  </a:lnTo>
                  <a:lnTo>
                    <a:pt x="661" y="162"/>
                  </a:lnTo>
                  <a:lnTo>
                    <a:pt x="661" y="171"/>
                  </a:lnTo>
                  <a:lnTo>
                    <a:pt x="658" y="176"/>
                  </a:lnTo>
                  <a:lnTo>
                    <a:pt x="644" y="183"/>
                  </a:lnTo>
                  <a:lnTo>
                    <a:pt x="635" y="179"/>
                  </a:lnTo>
                  <a:lnTo>
                    <a:pt x="634" y="174"/>
                  </a:lnTo>
                  <a:lnTo>
                    <a:pt x="623" y="174"/>
                  </a:lnTo>
                  <a:lnTo>
                    <a:pt x="620" y="176"/>
                  </a:lnTo>
                  <a:lnTo>
                    <a:pt x="620" y="177"/>
                  </a:lnTo>
                  <a:lnTo>
                    <a:pt x="629" y="177"/>
                  </a:lnTo>
                  <a:lnTo>
                    <a:pt x="639" y="188"/>
                  </a:lnTo>
                  <a:lnTo>
                    <a:pt x="663" y="188"/>
                  </a:lnTo>
                  <a:lnTo>
                    <a:pt x="659" y="181"/>
                  </a:lnTo>
                  <a:lnTo>
                    <a:pt x="671" y="177"/>
                  </a:lnTo>
                  <a:lnTo>
                    <a:pt x="678" y="172"/>
                  </a:lnTo>
                  <a:lnTo>
                    <a:pt x="680" y="179"/>
                  </a:lnTo>
                  <a:lnTo>
                    <a:pt x="687" y="177"/>
                  </a:lnTo>
                  <a:lnTo>
                    <a:pt x="688" y="174"/>
                  </a:lnTo>
                  <a:lnTo>
                    <a:pt x="690" y="176"/>
                  </a:lnTo>
                  <a:lnTo>
                    <a:pt x="680" y="196"/>
                  </a:lnTo>
                  <a:lnTo>
                    <a:pt x="668" y="206"/>
                  </a:lnTo>
                  <a:lnTo>
                    <a:pt x="632" y="215"/>
                  </a:lnTo>
                  <a:lnTo>
                    <a:pt x="622" y="210"/>
                  </a:lnTo>
                  <a:lnTo>
                    <a:pt x="625" y="218"/>
                  </a:lnTo>
                  <a:lnTo>
                    <a:pt x="623" y="222"/>
                  </a:lnTo>
                  <a:lnTo>
                    <a:pt x="596" y="249"/>
                  </a:lnTo>
                  <a:lnTo>
                    <a:pt x="593" y="254"/>
                  </a:lnTo>
                  <a:lnTo>
                    <a:pt x="589" y="253"/>
                  </a:lnTo>
                  <a:lnTo>
                    <a:pt x="591" y="256"/>
                  </a:lnTo>
                  <a:lnTo>
                    <a:pt x="581" y="270"/>
                  </a:lnTo>
                  <a:lnTo>
                    <a:pt x="572" y="283"/>
                  </a:lnTo>
                  <a:lnTo>
                    <a:pt x="572" y="297"/>
                  </a:lnTo>
                  <a:lnTo>
                    <a:pt x="570" y="299"/>
                  </a:lnTo>
                  <a:lnTo>
                    <a:pt x="565" y="285"/>
                  </a:lnTo>
                  <a:lnTo>
                    <a:pt x="569" y="306"/>
                  </a:lnTo>
                  <a:lnTo>
                    <a:pt x="564" y="316"/>
                  </a:lnTo>
                  <a:lnTo>
                    <a:pt x="517" y="328"/>
                  </a:lnTo>
                  <a:lnTo>
                    <a:pt x="509" y="323"/>
                  </a:lnTo>
                  <a:lnTo>
                    <a:pt x="466" y="290"/>
                  </a:lnTo>
                  <a:lnTo>
                    <a:pt x="427" y="263"/>
                  </a:lnTo>
                  <a:lnTo>
                    <a:pt x="427" y="261"/>
                  </a:lnTo>
                  <a:lnTo>
                    <a:pt x="405" y="247"/>
                  </a:lnTo>
                  <a:lnTo>
                    <a:pt x="403" y="247"/>
                  </a:lnTo>
                  <a:lnTo>
                    <a:pt x="382" y="251"/>
                  </a:lnTo>
                  <a:lnTo>
                    <a:pt x="348" y="256"/>
                  </a:lnTo>
                  <a:lnTo>
                    <a:pt x="328" y="259"/>
                  </a:lnTo>
                  <a:lnTo>
                    <a:pt x="307" y="263"/>
                  </a:lnTo>
                  <a:lnTo>
                    <a:pt x="306" y="249"/>
                  </a:lnTo>
                  <a:lnTo>
                    <a:pt x="300" y="242"/>
                  </a:lnTo>
                  <a:lnTo>
                    <a:pt x="295" y="237"/>
                  </a:lnTo>
                  <a:lnTo>
                    <a:pt x="292" y="234"/>
                  </a:lnTo>
                  <a:lnTo>
                    <a:pt x="283" y="242"/>
                  </a:lnTo>
                  <a:lnTo>
                    <a:pt x="280" y="239"/>
                  </a:lnTo>
                  <a:lnTo>
                    <a:pt x="283" y="234"/>
                  </a:lnTo>
                  <a:lnTo>
                    <a:pt x="280" y="232"/>
                  </a:lnTo>
                  <a:lnTo>
                    <a:pt x="280" y="230"/>
                  </a:lnTo>
                  <a:lnTo>
                    <a:pt x="256" y="232"/>
                  </a:lnTo>
                  <a:lnTo>
                    <a:pt x="253" y="232"/>
                  </a:lnTo>
                  <a:lnTo>
                    <a:pt x="218" y="236"/>
                  </a:lnTo>
                  <a:lnTo>
                    <a:pt x="208" y="237"/>
                  </a:lnTo>
                  <a:lnTo>
                    <a:pt x="200" y="239"/>
                  </a:lnTo>
                  <a:lnTo>
                    <a:pt x="179" y="241"/>
                  </a:lnTo>
                  <a:lnTo>
                    <a:pt x="174" y="241"/>
                  </a:lnTo>
                  <a:lnTo>
                    <a:pt x="170" y="242"/>
                  </a:lnTo>
                  <a:lnTo>
                    <a:pt x="167" y="242"/>
                  </a:lnTo>
                  <a:lnTo>
                    <a:pt x="167" y="244"/>
                  </a:lnTo>
                  <a:lnTo>
                    <a:pt x="165" y="244"/>
                  </a:lnTo>
                  <a:lnTo>
                    <a:pt x="164" y="241"/>
                  </a:lnTo>
                  <a:lnTo>
                    <a:pt x="160" y="246"/>
                  </a:lnTo>
                  <a:lnTo>
                    <a:pt x="157" y="246"/>
                  </a:lnTo>
                  <a:lnTo>
                    <a:pt x="153" y="249"/>
                  </a:lnTo>
                  <a:lnTo>
                    <a:pt x="148" y="249"/>
                  </a:lnTo>
                  <a:lnTo>
                    <a:pt x="141" y="254"/>
                  </a:lnTo>
                  <a:lnTo>
                    <a:pt x="140" y="254"/>
                  </a:lnTo>
                  <a:lnTo>
                    <a:pt x="140" y="256"/>
                  </a:lnTo>
                  <a:lnTo>
                    <a:pt x="138" y="258"/>
                  </a:lnTo>
                  <a:lnTo>
                    <a:pt x="133" y="259"/>
                  </a:lnTo>
                  <a:lnTo>
                    <a:pt x="123" y="263"/>
                  </a:lnTo>
                  <a:lnTo>
                    <a:pt x="112" y="268"/>
                  </a:lnTo>
                  <a:lnTo>
                    <a:pt x="106" y="271"/>
                  </a:lnTo>
                  <a:lnTo>
                    <a:pt x="70" y="278"/>
                  </a:lnTo>
                  <a:lnTo>
                    <a:pt x="66" y="278"/>
                  </a:lnTo>
                  <a:lnTo>
                    <a:pt x="34" y="283"/>
                  </a:lnTo>
                  <a:lnTo>
                    <a:pt x="29" y="283"/>
                  </a:lnTo>
                  <a:close/>
                  <a:moveTo>
                    <a:pt x="678" y="1"/>
                  </a:moveTo>
                  <a:lnTo>
                    <a:pt x="682" y="1"/>
                  </a:lnTo>
                  <a:lnTo>
                    <a:pt x="688" y="1"/>
                  </a:lnTo>
                  <a:lnTo>
                    <a:pt x="688" y="8"/>
                  </a:lnTo>
                  <a:lnTo>
                    <a:pt x="685" y="8"/>
                  </a:lnTo>
                  <a:lnTo>
                    <a:pt x="683" y="5"/>
                  </a:lnTo>
                  <a:lnTo>
                    <a:pt x="678" y="1"/>
                  </a:lnTo>
                  <a:close/>
                  <a:moveTo>
                    <a:pt x="688" y="0"/>
                  </a:moveTo>
                  <a:lnTo>
                    <a:pt x="690" y="0"/>
                  </a:lnTo>
                  <a:lnTo>
                    <a:pt x="707" y="32"/>
                  </a:lnTo>
                  <a:lnTo>
                    <a:pt x="736" y="73"/>
                  </a:lnTo>
                  <a:lnTo>
                    <a:pt x="717" y="49"/>
                  </a:lnTo>
                  <a:lnTo>
                    <a:pt x="714" y="49"/>
                  </a:lnTo>
                  <a:lnTo>
                    <a:pt x="705" y="32"/>
                  </a:lnTo>
                  <a:lnTo>
                    <a:pt x="688" y="0"/>
                  </a:lnTo>
                  <a:close/>
                  <a:moveTo>
                    <a:pt x="743" y="85"/>
                  </a:moveTo>
                  <a:lnTo>
                    <a:pt x="738" y="75"/>
                  </a:lnTo>
                  <a:lnTo>
                    <a:pt x="748" y="90"/>
                  </a:lnTo>
                  <a:lnTo>
                    <a:pt x="752" y="133"/>
                  </a:lnTo>
                  <a:lnTo>
                    <a:pt x="733" y="142"/>
                  </a:lnTo>
                  <a:lnTo>
                    <a:pt x="736" y="135"/>
                  </a:lnTo>
                  <a:lnTo>
                    <a:pt x="750" y="126"/>
                  </a:lnTo>
                  <a:lnTo>
                    <a:pt x="748" y="95"/>
                  </a:lnTo>
                  <a:lnTo>
                    <a:pt x="743" y="85"/>
                  </a:lnTo>
                  <a:close/>
                  <a:moveTo>
                    <a:pt x="712" y="159"/>
                  </a:moveTo>
                  <a:lnTo>
                    <a:pt x="716" y="153"/>
                  </a:lnTo>
                  <a:lnTo>
                    <a:pt x="724" y="145"/>
                  </a:lnTo>
                  <a:lnTo>
                    <a:pt x="731" y="142"/>
                  </a:lnTo>
                  <a:lnTo>
                    <a:pt x="728" y="145"/>
                  </a:lnTo>
                  <a:lnTo>
                    <a:pt x="721" y="150"/>
                  </a:lnTo>
                  <a:lnTo>
                    <a:pt x="714" y="159"/>
                  </a:lnTo>
                  <a:lnTo>
                    <a:pt x="712" y="159"/>
                  </a:lnTo>
                  <a:close/>
                  <a:moveTo>
                    <a:pt x="678" y="218"/>
                  </a:moveTo>
                  <a:lnTo>
                    <a:pt x="676" y="217"/>
                  </a:lnTo>
                  <a:lnTo>
                    <a:pt x="678" y="215"/>
                  </a:lnTo>
                  <a:lnTo>
                    <a:pt x="682" y="206"/>
                  </a:lnTo>
                  <a:lnTo>
                    <a:pt x="683" y="198"/>
                  </a:lnTo>
                  <a:lnTo>
                    <a:pt x="688" y="191"/>
                  </a:lnTo>
                  <a:lnTo>
                    <a:pt x="693" y="184"/>
                  </a:lnTo>
                  <a:lnTo>
                    <a:pt x="682" y="206"/>
                  </a:lnTo>
                  <a:lnTo>
                    <a:pt x="678" y="218"/>
                  </a:lnTo>
                  <a:close/>
                </a:path>
              </a:pathLst>
            </a:custGeom>
            <a:grpFill/>
            <a:ln w="28575" cap="flat" cmpd="sng">
              <a:solidFill>
                <a:sysClr val="window" lastClr="FFFFFF"/>
              </a:solidFill>
              <a:prstDash val="solid"/>
              <a:round/>
              <a:headEnd type="none" w="med" len="med"/>
              <a:tailEnd type="none" w="med" len="me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5" name="Freeform 44"/>
            <p:cNvSpPr>
              <a:spLocks/>
            </p:cNvSpPr>
            <p:nvPr/>
          </p:nvSpPr>
          <p:spPr bwMode="gray">
            <a:xfrm>
              <a:off x="6065313" y="4026680"/>
              <a:ext cx="1167440" cy="404176"/>
            </a:xfrm>
            <a:custGeom>
              <a:avLst/>
              <a:gdLst/>
              <a:ahLst/>
              <a:cxnLst>
                <a:cxn ang="0">
                  <a:pos x="540" y="165"/>
                </a:cxn>
                <a:cxn ang="0">
                  <a:pos x="528" y="176"/>
                </a:cxn>
                <a:cxn ang="0">
                  <a:pos x="494" y="208"/>
                </a:cxn>
                <a:cxn ang="0">
                  <a:pos x="463" y="212"/>
                </a:cxn>
                <a:cxn ang="0">
                  <a:pos x="408" y="218"/>
                </a:cxn>
                <a:cxn ang="0">
                  <a:pos x="306" y="227"/>
                </a:cxn>
                <a:cxn ang="0">
                  <a:pos x="234" y="232"/>
                </a:cxn>
                <a:cxn ang="0">
                  <a:pos x="169" y="239"/>
                </a:cxn>
                <a:cxn ang="0">
                  <a:pos x="113" y="244"/>
                </a:cxn>
                <a:cxn ang="0">
                  <a:pos x="51" y="248"/>
                </a:cxn>
                <a:cxn ang="0">
                  <a:pos x="10" y="242"/>
                </a:cxn>
                <a:cxn ang="0">
                  <a:pos x="19" y="237"/>
                </a:cxn>
                <a:cxn ang="0">
                  <a:pos x="19" y="227"/>
                </a:cxn>
                <a:cxn ang="0">
                  <a:pos x="10" y="220"/>
                </a:cxn>
                <a:cxn ang="0">
                  <a:pos x="15" y="212"/>
                </a:cxn>
                <a:cxn ang="0">
                  <a:pos x="14" y="205"/>
                </a:cxn>
                <a:cxn ang="0">
                  <a:pos x="9" y="205"/>
                </a:cxn>
                <a:cxn ang="0">
                  <a:pos x="17" y="200"/>
                </a:cxn>
                <a:cxn ang="0">
                  <a:pos x="24" y="201"/>
                </a:cxn>
                <a:cxn ang="0">
                  <a:pos x="24" y="189"/>
                </a:cxn>
                <a:cxn ang="0">
                  <a:pos x="29" y="191"/>
                </a:cxn>
                <a:cxn ang="0">
                  <a:pos x="34" y="181"/>
                </a:cxn>
                <a:cxn ang="0">
                  <a:pos x="31" y="179"/>
                </a:cxn>
                <a:cxn ang="0">
                  <a:pos x="29" y="169"/>
                </a:cxn>
                <a:cxn ang="0">
                  <a:pos x="39" y="162"/>
                </a:cxn>
                <a:cxn ang="0">
                  <a:pos x="46" y="157"/>
                </a:cxn>
                <a:cxn ang="0">
                  <a:pos x="43" y="150"/>
                </a:cxn>
                <a:cxn ang="0">
                  <a:pos x="51" y="150"/>
                </a:cxn>
                <a:cxn ang="0">
                  <a:pos x="46" y="138"/>
                </a:cxn>
                <a:cxn ang="0">
                  <a:pos x="53" y="123"/>
                </a:cxn>
                <a:cxn ang="0">
                  <a:pos x="44" y="113"/>
                </a:cxn>
                <a:cxn ang="0">
                  <a:pos x="58" y="111"/>
                </a:cxn>
                <a:cxn ang="0">
                  <a:pos x="51" y="102"/>
                </a:cxn>
                <a:cxn ang="0">
                  <a:pos x="55" y="92"/>
                </a:cxn>
                <a:cxn ang="0">
                  <a:pos x="60" y="89"/>
                </a:cxn>
                <a:cxn ang="0">
                  <a:pos x="72" y="83"/>
                </a:cxn>
                <a:cxn ang="0">
                  <a:pos x="144" y="80"/>
                </a:cxn>
                <a:cxn ang="0">
                  <a:pos x="183" y="66"/>
                </a:cxn>
                <a:cxn ang="0">
                  <a:pos x="212" y="58"/>
                </a:cxn>
                <a:cxn ang="0">
                  <a:pos x="265" y="53"/>
                </a:cxn>
                <a:cxn ang="0">
                  <a:pos x="338" y="46"/>
                </a:cxn>
                <a:cxn ang="0">
                  <a:pos x="415" y="39"/>
                </a:cxn>
                <a:cxn ang="0">
                  <a:pos x="460" y="37"/>
                </a:cxn>
                <a:cxn ang="0">
                  <a:pos x="532" y="29"/>
                </a:cxn>
                <a:cxn ang="0">
                  <a:pos x="588" y="20"/>
                </a:cxn>
                <a:cxn ang="0">
                  <a:pos x="624" y="17"/>
                </a:cxn>
                <a:cxn ang="0">
                  <a:pos x="682" y="8"/>
                </a:cxn>
                <a:cxn ang="0">
                  <a:pos x="725" y="0"/>
                </a:cxn>
                <a:cxn ang="0">
                  <a:pos x="720" y="25"/>
                </a:cxn>
                <a:cxn ang="0">
                  <a:pos x="714" y="32"/>
                </a:cxn>
                <a:cxn ang="0">
                  <a:pos x="696" y="60"/>
                </a:cxn>
                <a:cxn ang="0">
                  <a:pos x="680" y="60"/>
                </a:cxn>
                <a:cxn ang="0">
                  <a:pos x="665" y="77"/>
                </a:cxn>
                <a:cxn ang="0">
                  <a:pos x="653" y="77"/>
                </a:cxn>
                <a:cxn ang="0">
                  <a:pos x="649" y="71"/>
                </a:cxn>
                <a:cxn ang="0">
                  <a:pos x="638" y="89"/>
                </a:cxn>
                <a:cxn ang="0">
                  <a:pos x="629" y="94"/>
                </a:cxn>
                <a:cxn ang="0">
                  <a:pos x="612" y="109"/>
                </a:cxn>
                <a:cxn ang="0">
                  <a:pos x="602" y="118"/>
                </a:cxn>
                <a:cxn ang="0">
                  <a:pos x="591" y="126"/>
                </a:cxn>
                <a:cxn ang="0">
                  <a:pos x="573" y="135"/>
                </a:cxn>
                <a:cxn ang="0">
                  <a:pos x="550" y="145"/>
                </a:cxn>
              </a:cxnLst>
              <a:rect l="0" t="0" r="r" b="b"/>
              <a:pathLst>
                <a:path w="725" h="251">
                  <a:moveTo>
                    <a:pt x="545" y="152"/>
                  </a:moveTo>
                  <a:lnTo>
                    <a:pt x="540" y="157"/>
                  </a:lnTo>
                  <a:lnTo>
                    <a:pt x="542" y="160"/>
                  </a:lnTo>
                  <a:lnTo>
                    <a:pt x="540" y="165"/>
                  </a:lnTo>
                  <a:lnTo>
                    <a:pt x="540" y="169"/>
                  </a:lnTo>
                  <a:lnTo>
                    <a:pt x="540" y="172"/>
                  </a:lnTo>
                  <a:lnTo>
                    <a:pt x="535" y="176"/>
                  </a:lnTo>
                  <a:lnTo>
                    <a:pt x="528" y="176"/>
                  </a:lnTo>
                  <a:lnTo>
                    <a:pt x="525" y="174"/>
                  </a:lnTo>
                  <a:lnTo>
                    <a:pt x="520" y="181"/>
                  </a:lnTo>
                  <a:lnTo>
                    <a:pt x="520" y="205"/>
                  </a:lnTo>
                  <a:lnTo>
                    <a:pt x="494" y="208"/>
                  </a:lnTo>
                  <a:lnTo>
                    <a:pt x="480" y="210"/>
                  </a:lnTo>
                  <a:lnTo>
                    <a:pt x="479" y="210"/>
                  </a:lnTo>
                  <a:lnTo>
                    <a:pt x="463" y="212"/>
                  </a:lnTo>
                  <a:lnTo>
                    <a:pt x="463" y="212"/>
                  </a:lnTo>
                  <a:lnTo>
                    <a:pt x="438" y="215"/>
                  </a:lnTo>
                  <a:lnTo>
                    <a:pt x="429" y="215"/>
                  </a:lnTo>
                  <a:lnTo>
                    <a:pt x="420" y="217"/>
                  </a:lnTo>
                  <a:lnTo>
                    <a:pt x="408" y="218"/>
                  </a:lnTo>
                  <a:lnTo>
                    <a:pt x="386" y="220"/>
                  </a:lnTo>
                  <a:lnTo>
                    <a:pt x="347" y="224"/>
                  </a:lnTo>
                  <a:lnTo>
                    <a:pt x="347" y="224"/>
                  </a:lnTo>
                  <a:lnTo>
                    <a:pt x="306" y="227"/>
                  </a:lnTo>
                  <a:lnTo>
                    <a:pt x="303" y="229"/>
                  </a:lnTo>
                  <a:lnTo>
                    <a:pt x="268" y="230"/>
                  </a:lnTo>
                  <a:lnTo>
                    <a:pt x="268" y="230"/>
                  </a:lnTo>
                  <a:lnTo>
                    <a:pt x="234" y="232"/>
                  </a:lnTo>
                  <a:lnTo>
                    <a:pt x="202" y="236"/>
                  </a:lnTo>
                  <a:lnTo>
                    <a:pt x="183" y="237"/>
                  </a:lnTo>
                  <a:lnTo>
                    <a:pt x="183" y="237"/>
                  </a:lnTo>
                  <a:lnTo>
                    <a:pt x="169" y="239"/>
                  </a:lnTo>
                  <a:lnTo>
                    <a:pt x="168" y="239"/>
                  </a:lnTo>
                  <a:lnTo>
                    <a:pt x="132" y="242"/>
                  </a:lnTo>
                  <a:lnTo>
                    <a:pt x="130" y="242"/>
                  </a:lnTo>
                  <a:lnTo>
                    <a:pt x="113" y="244"/>
                  </a:lnTo>
                  <a:lnTo>
                    <a:pt x="96" y="246"/>
                  </a:lnTo>
                  <a:lnTo>
                    <a:pt x="84" y="246"/>
                  </a:lnTo>
                  <a:lnTo>
                    <a:pt x="56" y="248"/>
                  </a:lnTo>
                  <a:lnTo>
                    <a:pt x="51" y="248"/>
                  </a:lnTo>
                  <a:lnTo>
                    <a:pt x="0" y="251"/>
                  </a:lnTo>
                  <a:lnTo>
                    <a:pt x="0" y="246"/>
                  </a:lnTo>
                  <a:lnTo>
                    <a:pt x="9" y="246"/>
                  </a:lnTo>
                  <a:lnTo>
                    <a:pt x="10" y="242"/>
                  </a:lnTo>
                  <a:lnTo>
                    <a:pt x="10" y="239"/>
                  </a:lnTo>
                  <a:lnTo>
                    <a:pt x="10" y="237"/>
                  </a:lnTo>
                  <a:lnTo>
                    <a:pt x="12" y="236"/>
                  </a:lnTo>
                  <a:lnTo>
                    <a:pt x="19" y="237"/>
                  </a:lnTo>
                  <a:lnTo>
                    <a:pt x="19" y="234"/>
                  </a:lnTo>
                  <a:lnTo>
                    <a:pt x="19" y="232"/>
                  </a:lnTo>
                  <a:lnTo>
                    <a:pt x="19" y="230"/>
                  </a:lnTo>
                  <a:lnTo>
                    <a:pt x="19" y="227"/>
                  </a:lnTo>
                  <a:lnTo>
                    <a:pt x="17" y="224"/>
                  </a:lnTo>
                  <a:lnTo>
                    <a:pt x="15" y="222"/>
                  </a:lnTo>
                  <a:lnTo>
                    <a:pt x="12" y="222"/>
                  </a:lnTo>
                  <a:lnTo>
                    <a:pt x="10" y="220"/>
                  </a:lnTo>
                  <a:lnTo>
                    <a:pt x="10" y="218"/>
                  </a:lnTo>
                  <a:lnTo>
                    <a:pt x="15" y="217"/>
                  </a:lnTo>
                  <a:lnTo>
                    <a:pt x="15" y="213"/>
                  </a:lnTo>
                  <a:lnTo>
                    <a:pt x="15" y="212"/>
                  </a:lnTo>
                  <a:lnTo>
                    <a:pt x="15" y="210"/>
                  </a:lnTo>
                  <a:lnTo>
                    <a:pt x="17" y="206"/>
                  </a:lnTo>
                  <a:lnTo>
                    <a:pt x="15" y="205"/>
                  </a:lnTo>
                  <a:lnTo>
                    <a:pt x="14" y="205"/>
                  </a:lnTo>
                  <a:lnTo>
                    <a:pt x="12" y="206"/>
                  </a:lnTo>
                  <a:lnTo>
                    <a:pt x="12" y="210"/>
                  </a:lnTo>
                  <a:lnTo>
                    <a:pt x="9" y="210"/>
                  </a:lnTo>
                  <a:lnTo>
                    <a:pt x="9" y="205"/>
                  </a:lnTo>
                  <a:lnTo>
                    <a:pt x="12" y="203"/>
                  </a:lnTo>
                  <a:lnTo>
                    <a:pt x="14" y="200"/>
                  </a:lnTo>
                  <a:lnTo>
                    <a:pt x="15" y="200"/>
                  </a:lnTo>
                  <a:lnTo>
                    <a:pt x="17" y="200"/>
                  </a:lnTo>
                  <a:lnTo>
                    <a:pt x="17" y="205"/>
                  </a:lnTo>
                  <a:lnTo>
                    <a:pt x="19" y="206"/>
                  </a:lnTo>
                  <a:lnTo>
                    <a:pt x="19" y="205"/>
                  </a:lnTo>
                  <a:lnTo>
                    <a:pt x="24" y="201"/>
                  </a:lnTo>
                  <a:lnTo>
                    <a:pt x="19" y="195"/>
                  </a:lnTo>
                  <a:lnTo>
                    <a:pt x="19" y="191"/>
                  </a:lnTo>
                  <a:lnTo>
                    <a:pt x="19" y="191"/>
                  </a:lnTo>
                  <a:lnTo>
                    <a:pt x="24" y="189"/>
                  </a:lnTo>
                  <a:lnTo>
                    <a:pt x="26" y="193"/>
                  </a:lnTo>
                  <a:lnTo>
                    <a:pt x="27" y="193"/>
                  </a:lnTo>
                  <a:lnTo>
                    <a:pt x="29" y="193"/>
                  </a:lnTo>
                  <a:lnTo>
                    <a:pt x="29" y="191"/>
                  </a:lnTo>
                  <a:lnTo>
                    <a:pt x="26" y="188"/>
                  </a:lnTo>
                  <a:lnTo>
                    <a:pt x="26" y="184"/>
                  </a:lnTo>
                  <a:lnTo>
                    <a:pt x="32" y="181"/>
                  </a:lnTo>
                  <a:lnTo>
                    <a:pt x="34" y="181"/>
                  </a:lnTo>
                  <a:lnTo>
                    <a:pt x="34" y="179"/>
                  </a:lnTo>
                  <a:lnTo>
                    <a:pt x="34" y="177"/>
                  </a:lnTo>
                  <a:lnTo>
                    <a:pt x="32" y="177"/>
                  </a:lnTo>
                  <a:lnTo>
                    <a:pt x="31" y="179"/>
                  </a:lnTo>
                  <a:lnTo>
                    <a:pt x="27" y="177"/>
                  </a:lnTo>
                  <a:lnTo>
                    <a:pt x="26" y="172"/>
                  </a:lnTo>
                  <a:lnTo>
                    <a:pt x="26" y="171"/>
                  </a:lnTo>
                  <a:lnTo>
                    <a:pt x="29" y="169"/>
                  </a:lnTo>
                  <a:lnTo>
                    <a:pt x="32" y="169"/>
                  </a:lnTo>
                  <a:lnTo>
                    <a:pt x="36" y="167"/>
                  </a:lnTo>
                  <a:lnTo>
                    <a:pt x="38" y="165"/>
                  </a:lnTo>
                  <a:lnTo>
                    <a:pt x="39" y="162"/>
                  </a:lnTo>
                  <a:lnTo>
                    <a:pt x="41" y="160"/>
                  </a:lnTo>
                  <a:lnTo>
                    <a:pt x="43" y="162"/>
                  </a:lnTo>
                  <a:lnTo>
                    <a:pt x="46" y="159"/>
                  </a:lnTo>
                  <a:lnTo>
                    <a:pt x="46" y="157"/>
                  </a:lnTo>
                  <a:lnTo>
                    <a:pt x="41" y="155"/>
                  </a:lnTo>
                  <a:lnTo>
                    <a:pt x="41" y="154"/>
                  </a:lnTo>
                  <a:lnTo>
                    <a:pt x="41" y="152"/>
                  </a:lnTo>
                  <a:lnTo>
                    <a:pt x="43" y="150"/>
                  </a:lnTo>
                  <a:lnTo>
                    <a:pt x="44" y="150"/>
                  </a:lnTo>
                  <a:lnTo>
                    <a:pt x="50" y="152"/>
                  </a:lnTo>
                  <a:lnTo>
                    <a:pt x="50" y="152"/>
                  </a:lnTo>
                  <a:lnTo>
                    <a:pt x="51" y="150"/>
                  </a:lnTo>
                  <a:lnTo>
                    <a:pt x="50" y="147"/>
                  </a:lnTo>
                  <a:lnTo>
                    <a:pt x="44" y="145"/>
                  </a:lnTo>
                  <a:lnTo>
                    <a:pt x="43" y="140"/>
                  </a:lnTo>
                  <a:lnTo>
                    <a:pt x="46" y="138"/>
                  </a:lnTo>
                  <a:lnTo>
                    <a:pt x="46" y="131"/>
                  </a:lnTo>
                  <a:lnTo>
                    <a:pt x="48" y="130"/>
                  </a:lnTo>
                  <a:lnTo>
                    <a:pt x="53" y="126"/>
                  </a:lnTo>
                  <a:lnTo>
                    <a:pt x="53" y="123"/>
                  </a:lnTo>
                  <a:lnTo>
                    <a:pt x="51" y="121"/>
                  </a:lnTo>
                  <a:lnTo>
                    <a:pt x="46" y="116"/>
                  </a:lnTo>
                  <a:lnTo>
                    <a:pt x="44" y="114"/>
                  </a:lnTo>
                  <a:lnTo>
                    <a:pt x="44" y="113"/>
                  </a:lnTo>
                  <a:lnTo>
                    <a:pt x="46" y="113"/>
                  </a:lnTo>
                  <a:lnTo>
                    <a:pt x="51" y="114"/>
                  </a:lnTo>
                  <a:lnTo>
                    <a:pt x="56" y="113"/>
                  </a:lnTo>
                  <a:lnTo>
                    <a:pt x="58" y="111"/>
                  </a:lnTo>
                  <a:lnTo>
                    <a:pt x="56" y="109"/>
                  </a:lnTo>
                  <a:lnTo>
                    <a:pt x="51" y="107"/>
                  </a:lnTo>
                  <a:lnTo>
                    <a:pt x="50" y="104"/>
                  </a:lnTo>
                  <a:lnTo>
                    <a:pt x="51" y="102"/>
                  </a:lnTo>
                  <a:lnTo>
                    <a:pt x="56" y="102"/>
                  </a:lnTo>
                  <a:lnTo>
                    <a:pt x="58" y="101"/>
                  </a:lnTo>
                  <a:lnTo>
                    <a:pt x="58" y="95"/>
                  </a:lnTo>
                  <a:lnTo>
                    <a:pt x="55" y="92"/>
                  </a:lnTo>
                  <a:lnTo>
                    <a:pt x="58" y="89"/>
                  </a:lnTo>
                  <a:lnTo>
                    <a:pt x="56" y="85"/>
                  </a:lnTo>
                  <a:lnTo>
                    <a:pt x="62" y="85"/>
                  </a:lnTo>
                  <a:lnTo>
                    <a:pt x="60" y="89"/>
                  </a:lnTo>
                  <a:lnTo>
                    <a:pt x="62" y="90"/>
                  </a:lnTo>
                  <a:lnTo>
                    <a:pt x="63" y="90"/>
                  </a:lnTo>
                  <a:lnTo>
                    <a:pt x="67" y="85"/>
                  </a:lnTo>
                  <a:lnTo>
                    <a:pt x="72" y="83"/>
                  </a:lnTo>
                  <a:lnTo>
                    <a:pt x="116" y="82"/>
                  </a:lnTo>
                  <a:lnTo>
                    <a:pt x="116" y="82"/>
                  </a:lnTo>
                  <a:lnTo>
                    <a:pt x="118" y="82"/>
                  </a:lnTo>
                  <a:lnTo>
                    <a:pt x="144" y="80"/>
                  </a:lnTo>
                  <a:lnTo>
                    <a:pt x="144" y="80"/>
                  </a:lnTo>
                  <a:lnTo>
                    <a:pt x="183" y="77"/>
                  </a:lnTo>
                  <a:lnTo>
                    <a:pt x="183" y="71"/>
                  </a:lnTo>
                  <a:lnTo>
                    <a:pt x="183" y="66"/>
                  </a:lnTo>
                  <a:lnTo>
                    <a:pt x="179" y="56"/>
                  </a:lnTo>
                  <a:lnTo>
                    <a:pt x="197" y="56"/>
                  </a:lnTo>
                  <a:lnTo>
                    <a:pt x="198" y="60"/>
                  </a:lnTo>
                  <a:lnTo>
                    <a:pt x="212" y="58"/>
                  </a:lnTo>
                  <a:lnTo>
                    <a:pt x="215" y="58"/>
                  </a:lnTo>
                  <a:lnTo>
                    <a:pt x="241" y="54"/>
                  </a:lnTo>
                  <a:lnTo>
                    <a:pt x="262" y="53"/>
                  </a:lnTo>
                  <a:lnTo>
                    <a:pt x="265" y="53"/>
                  </a:lnTo>
                  <a:lnTo>
                    <a:pt x="291" y="49"/>
                  </a:lnTo>
                  <a:lnTo>
                    <a:pt x="313" y="48"/>
                  </a:lnTo>
                  <a:lnTo>
                    <a:pt x="320" y="48"/>
                  </a:lnTo>
                  <a:lnTo>
                    <a:pt x="338" y="46"/>
                  </a:lnTo>
                  <a:lnTo>
                    <a:pt x="357" y="46"/>
                  </a:lnTo>
                  <a:lnTo>
                    <a:pt x="374" y="44"/>
                  </a:lnTo>
                  <a:lnTo>
                    <a:pt x="403" y="42"/>
                  </a:lnTo>
                  <a:lnTo>
                    <a:pt x="415" y="39"/>
                  </a:lnTo>
                  <a:lnTo>
                    <a:pt x="417" y="39"/>
                  </a:lnTo>
                  <a:lnTo>
                    <a:pt x="441" y="37"/>
                  </a:lnTo>
                  <a:lnTo>
                    <a:pt x="458" y="37"/>
                  </a:lnTo>
                  <a:lnTo>
                    <a:pt x="460" y="37"/>
                  </a:lnTo>
                  <a:lnTo>
                    <a:pt x="504" y="32"/>
                  </a:lnTo>
                  <a:lnTo>
                    <a:pt x="504" y="32"/>
                  </a:lnTo>
                  <a:lnTo>
                    <a:pt x="525" y="30"/>
                  </a:lnTo>
                  <a:lnTo>
                    <a:pt x="532" y="29"/>
                  </a:lnTo>
                  <a:lnTo>
                    <a:pt x="552" y="27"/>
                  </a:lnTo>
                  <a:lnTo>
                    <a:pt x="554" y="25"/>
                  </a:lnTo>
                  <a:lnTo>
                    <a:pt x="571" y="24"/>
                  </a:lnTo>
                  <a:lnTo>
                    <a:pt x="588" y="20"/>
                  </a:lnTo>
                  <a:lnTo>
                    <a:pt x="590" y="22"/>
                  </a:lnTo>
                  <a:lnTo>
                    <a:pt x="593" y="22"/>
                  </a:lnTo>
                  <a:lnTo>
                    <a:pt x="612" y="19"/>
                  </a:lnTo>
                  <a:lnTo>
                    <a:pt x="624" y="17"/>
                  </a:lnTo>
                  <a:lnTo>
                    <a:pt x="644" y="13"/>
                  </a:lnTo>
                  <a:lnTo>
                    <a:pt x="670" y="10"/>
                  </a:lnTo>
                  <a:lnTo>
                    <a:pt x="677" y="8"/>
                  </a:lnTo>
                  <a:lnTo>
                    <a:pt x="682" y="8"/>
                  </a:lnTo>
                  <a:lnTo>
                    <a:pt x="701" y="5"/>
                  </a:lnTo>
                  <a:lnTo>
                    <a:pt x="702" y="3"/>
                  </a:lnTo>
                  <a:lnTo>
                    <a:pt x="709" y="3"/>
                  </a:lnTo>
                  <a:lnTo>
                    <a:pt x="725" y="0"/>
                  </a:lnTo>
                  <a:lnTo>
                    <a:pt x="723" y="3"/>
                  </a:lnTo>
                  <a:lnTo>
                    <a:pt x="721" y="10"/>
                  </a:lnTo>
                  <a:lnTo>
                    <a:pt x="723" y="15"/>
                  </a:lnTo>
                  <a:lnTo>
                    <a:pt x="720" y="25"/>
                  </a:lnTo>
                  <a:lnTo>
                    <a:pt x="721" y="27"/>
                  </a:lnTo>
                  <a:lnTo>
                    <a:pt x="725" y="30"/>
                  </a:lnTo>
                  <a:lnTo>
                    <a:pt x="723" y="30"/>
                  </a:lnTo>
                  <a:lnTo>
                    <a:pt x="714" y="32"/>
                  </a:lnTo>
                  <a:lnTo>
                    <a:pt x="708" y="37"/>
                  </a:lnTo>
                  <a:lnTo>
                    <a:pt x="706" y="41"/>
                  </a:lnTo>
                  <a:lnTo>
                    <a:pt x="701" y="56"/>
                  </a:lnTo>
                  <a:lnTo>
                    <a:pt x="696" y="60"/>
                  </a:lnTo>
                  <a:lnTo>
                    <a:pt x="692" y="61"/>
                  </a:lnTo>
                  <a:lnTo>
                    <a:pt x="689" y="56"/>
                  </a:lnTo>
                  <a:lnTo>
                    <a:pt x="685" y="56"/>
                  </a:lnTo>
                  <a:lnTo>
                    <a:pt x="680" y="60"/>
                  </a:lnTo>
                  <a:lnTo>
                    <a:pt x="677" y="61"/>
                  </a:lnTo>
                  <a:lnTo>
                    <a:pt x="672" y="65"/>
                  </a:lnTo>
                  <a:lnTo>
                    <a:pt x="668" y="66"/>
                  </a:lnTo>
                  <a:lnTo>
                    <a:pt x="665" y="77"/>
                  </a:lnTo>
                  <a:lnTo>
                    <a:pt x="661" y="78"/>
                  </a:lnTo>
                  <a:lnTo>
                    <a:pt x="658" y="82"/>
                  </a:lnTo>
                  <a:lnTo>
                    <a:pt x="655" y="82"/>
                  </a:lnTo>
                  <a:lnTo>
                    <a:pt x="653" y="77"/>
                  </a:lnTo>
                  <a:lnTo>
                    <a:pt x="653" y="75"/>
                  </a:lnTo>
                  <a:lnTo>
                    <a:pt x="653" y="73"/>
                  </a:lnTo>
                  <a:lnTo>
                    <a:pt x="649" y="71"/>
                  </a:lnTo>
                  <a:lnTo>
                    <a:pt x="649" y="71"/>
                  </a:lnTo>
                  <a:lnTo>
                    <a:pt x="639" y="80"/>
                  </a:lnTo>
                  <a:lnTo>
                    <a:pt x="639" y="80"/>
                  </a:lnTo>
                  <a:lnTo>
                    <a:pt x="639" y="83"/>
                  </a:lnTo>
                  <a:lnTo>
                    <a:pt x="638" y="89"/>
                  </a:lnTo>
                  <a:lnTo>
                    <a:pt x="632" y="85"/>
                  </a:lnTo>
                  <a:lnTo>
                    <a:pt x="629" y="87"/>
                  </a:lnTo>
                  <a:lnTo>
                    <a:pt x="627" y="89"/>
                  </a:lnTo>
                  <a:lnTo>
                    <a:pt x="629" y="94"/>
                  </a:lnTo>
                  <a:lnTo>
                    <a:pt x="626" y="104"/>
                  </a:lnTo>
                  <a:lnTo>
                    <a:pt x="624" y="106"/>
                  </a:lnTo>
                  <a:lnTo>
                    <a:pt x="617" y="106"/>
                  </a:lnTo>
                  <a:lnTo>
                    <a:pt x="612" y="109"/>
                  </a:lnTo>
                  <a:lnTo>
                    <a:pt x="610" y="109"/>
                  </a:lnTo>
                  <a:lnTo>
                    <a:pt x="607" y="113"/>
                  </a:lnTo>
                  <a:lnTo>
                    <a:pt x="603" y="114"/>
                  </a:lnTo>
                  <a:lnTo>
                    <a:pt x="602" y="118"/>
                  </a:lnTo>
                  <a:lnTo>
                    <a:pt x="602" y="118"/>
                  </a:lnTo>
                  <a:lnTo>
                    <a:pt x="598" y="123"/>
                  </a:lnTo>
                  <a:lnTo>
                    <a:pt x="595" y="123"/>
                  </a:lnTo>
                  <a:lnTo>
                    <a:pt x="591" y="126"/>
                  </a:lnTo>
                  <a:lnTo>
                    <a:pt x="586" y="130"/>
                  </a:lnTo>
                  <a:lnTo>
                    <a:pt x="583" y="135"/>
                  </a:lnTo>
                  <a:lnTo>
                    <a:pt x="578" y="136"/>
                  </a:lnTo>
                  <a:lnTo>
                    <a:pt x="573" y="135"/>
                  </a:lnTo>
                  <a:lnTo>
                    <a:pt x="567" y="136"/>
                  </a:lnTo>
                  <a:lnTo>
                    <a:pt x="559" y="138"/>
                  </a:lnTo>
                  <a:lnTo>
                    <a:pt x="555" y="143"/>
                  </a:lnTo>
                  <a:lnTo>
                    <a:pt x="550" y="145"/>
                  </a:lnTo>
                  <a:lnTo>
                    <a:pt x="549" y="148"/>
                  </a:lnTo>
                  <a:lnTo>
                    <a:pt x="545" y="152"/>
                  </a:lnTo>
                  <a:close/>
                </a:path>
              </a:pathLst>
            </a:custGeom>
            <a:grpFill/>
            <a:ln w="28575" cap="flat" cmpd="sng">
              <a:solidFill>
                <a:sysClr val="window" lastClr="FFFFFF"/>
              </a:solidFill>
              <a:prstDash val="solid"/>
              <a:round/>
              <a:headEnd type="none" w="med" len="med"/>
              <a:tailEnd type="none" w="med" len="me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6" name="Freeform 45"/>
            <p:cNvSpPr>
              <a:spLocks noEditPoints="1"/>
            </p:cNvSpPr>
            <p:nvPr/>
          </p:nvSpPr>
          <p:spPr bwMode="gray">
            <a:xfrm>
              <a:off x="3712721" y="4160333"/>
              <a:ext cx="1921042" cy="1872735"/>
            </a:xfrm>
            <a:custGeom>
              <a:avLst/>
              <a:gdLst/>
              <a:ahLst/>
              <a:cxnLst>
                <a:cxn ang="0">
                  <a:pos x="58" y="458"/>
                </a:cxn>
                <a:cxn ang="0">
                  <a:pos x="342" y="288"/>
                </a:cxn>
                <a:cxn ang="0">
                  <a:pos x="528" y="11"/>
                </a:cxn>
                <a:cxn ang="0">
                  <a:pos x="615" y="223"/>
                </a:cxn>
                <a:cxn ang="0">
                  <a:pos x="661" y="247"/>
                </a:cxn>
                <a:cxn ang="0">
                  <a:pos x="688" y="265"/>
                </a:cxn>
                <a:cxn ang="0">
                  <a:pos x="736" y="272"/>
                </a:cxn>
                <a:cxn ang="0">
                  <a:pos x="777" y="274"/>
                </a:cxn>
                <a:cxn ang="0">
                  <a:pos x="798" y="305"/>
                </a:cxn>
                <a:cxn ang="0">
                  <a:pos x="834" y="301"/>
                </a:cxn>
                <a:cxn ang="0">
                  <a:pos x="859" y="301"/>
                </a:cxn>
                <a:cxn ang="0">
                  <a:pos x="868" y="306"/>
                </a:cxn>
                <a:cxn ang="0">
                  <a:pos x="892" y="305"/>
                </a:cxn>
                <a:cxn ang="0">
                  <a:pos x="921" y="315"/>
                </a:cxn>
                <a:cxn ang="0">
                  <a:pos x="950" y="310"/>
                </a:cxn>
                <a:cxn ang="0">
                  <a:pos x="969" y="303"/>
                </a:cxn>
                <a:cxn ang="0">
                  <a:pos x="1000" y="298"/>
                </a:cxn>
                <a:cxn ang="0">
                  <a:pos x="1027" y="303"/>
                </a:cxn>
                <a:cxn ang="0">
                  <a:pos x="1046" y="303"/>
                </a:cxn>
                <a:cxn ang="0">
                  <a:pos x="1059" y="313"/>
                </a:cxn>
                <a:cxn ang="0">
                  <a:pos x="1075" y="323"/>
                </a:cxn>
                <a:cxn ang="0">
                  <a:pos x="1090" y="327"/>
                </a:cxn>
                <a:cxn ang="0">
                  <a:pos x="1102" y="334"/>
                </a:cxn>
                <a:cxn ang="0">
                  <a:pos x="1117" y="337"/>
                </a:cxn>
                <a:cxn ang="0">
                  <a:pos x="1140" y="395"/>
                </a:cxn>
                <a:cxn ang="0">
                  <a:pos x="1155" y="518"/>
                </a:cxn>
                <a:cxn ang="0">
                  <a:pos x="1164" y="542"/>
                </a:cxn>
                <a:cxn ang="0">
                  <a:pos x="1174" y="563"/>
                </a:cxn>
                <a:cxn ang="0">
                  <a:pos x="1184" y="587"/>
                </a:cxn>
                <a:cxn ang="0">
                  <a:pos x="1188" y="599"/>
                </a:cxn>
                <a:cxn ang="0">
                  <a:pos x="1189" y="616"/>
                </a:cxn>
                <a:cxn ang="0">
                  <a:pos x="1186" y="633"/>
                </a:cxn>
                <a:cxn ang="0">
                  <a:pos x="1172" y="660"/>
                </a:cxn>
                <a:cxn ang="0">
                  <a:pos x="1174" y="686"/>
                </a:cxn>
                <a:cxn ang="0">
                  <a:pos x="1164" y="722"/>
                </a:cxn>
                <a:cxn ang="0">
                  <a:pos x="1104" y="768"/>
                </a:cxn>
                <a:cxn ang="0">
                  <a:pos x="1056" y="768"/>
                </a:cxn>
                <a:cxn ang="0">
                  <a:pos x="1042" y="805"/>
                </a:cxn>
                <a:cxn ang="0">
                  <a:pos x="965" y="865"/>
                </a:cxn>
                <a:cxn ang="0">
                  <a:pos x="924" y="858"/>
                </a:cxn>
                <a:cxn ang="0">
                  <a:pos x="911" y="860"/>
                </a:cxn>
                <a:cxn ang="0">
                  <a:pos x="926" y="887"/>
                </a:cxn>
                <a:cxn ang="0">
                  <a:pos x="888" y="904"/>
                </a:cxn>
                <a:cxn ang="0">
                  <a:pos x="854" y="922"/>
                </a:cxn>
                <a:cxn ang="0">
                  <a:pos x="834" y="951"/>
                </a:cxn>
                <a:cxn ang="0">
                  <a:pos x="830" y="973"/>
                </a:cxn>
                <a:cxn ang="0">
                  <a:pos x="815" y="1016"/>
                </a:cxn>
                <a:cxn ang="0">
                  <a:pos x="842" y="1139"/>
                </a:cxn>
                <a:cxn ang="0">
                  <a:pos x="782" y="1139"/>
                </a:cxn>
                <a:cxn ang="0">
                  <a:pos x="711" y="1116"/>
                </a:cxn>
                <a:cxn ang="0">
                  <a:pos x="634" y="1014"/>
                </a:cxn>
                <a:cxn ang="0">
                  <a:pos x="564" y="899"/>
                </a:cxn>
                <a:cxn ang="0">
                  <a:pos x="514" y="790"/>
                </a:cxn>
                <a:cxn ang="0">
                  <a:pos x="448" y="727"/>
                </a:cxn>
                <a:cxn ang="0">
                  <a:pos x="354" y="727"/>
                </a:cxn>
                <a:cxn ang="0">
                  <a:pos x="275" y="795"/>
                </a:cxn>
                <a:cxn ang="0">
                  <a:pos x="169" y="720"/>
                </a:cxn>
                <a:cxn ang="0">
                  <a:pos x="118" y="593"/>
                </a:cxn>
                <a:cxn ang="0">
                  <a:pos x="1047" y="817"/>
                </a:cxn>
                <a:cxn ang="0">
                  <a:pos x="883" y="928"/>
                </a:cxn>
                <a:cxn ang="0">
                  <a:pos x="853" y="964"/>
                </a:cxn>
                <a:cxn ang="0">
                  <a:pos x="830" y="1029"/>
                </a:cxn>
                <a:cxn ang="0">
                  <a:pos x="837" y="1082"/>
                </a:cxn>
              </a:cxnLst>
              <a:rect l="0" t="0" r="r" b="b"/>
              <a:pathLst>
                <a:path w="1193" h="1163">
                  <a:moveTo>
                    <a:pt x="53" y="523"/>
                  </a:moveTo>
                  <a:lnTo>
                    <a:pt x="34" y="513"/>
                  </a:lnTo>
                  <a:lnTo>
                    <a:pt x="20" y="484"/>
                  </a:lnTo>
                  <a:lnTo>
                    <a:pt x="8" y="476"/>
                  </a:lnTo>
                  <a:lnTo>
                    <a:pt x="1" y="472"/>
                  </a:lnTo>
                  <a:lnTo>
                    <a:pt x="1" y="469"/>
                  </a:lnTo>
                  <a:lnTo>
                    <a:pt x="0" y="464"/>
                  </a:lnTo>
                  <a:lnTo>
                    <a:pt x="1" y="462"/>
                  </a:lnTo>
                  <a:lnTo>
                    <a:pt x="1" y="455"/>
                  </a:lnTo>
                  <a:lnTo>
                    <a:pt x="0" y="455"/>
                  </a:lnTo>
                  <a:lnTo>
                    <a:pt x="3" y="453"/>
                  </a:lnTo>
                  <a:lnTo>
                    <a:pt x="25" y="455"/>
                  </a:lnTo>
                  <a:lnTo>
                    <a:pt x="58" y="458"/>
                  </a:lnTo>
                  <a:lnTo>
                    <a:pt x="155" y="469"/>
                  </a:lnTo>
                  <a:lnTo>
                    <a:pt x="162" y="469"/>
                  </a:lnTo>
                  <a:lnTo>
                    <a:pt x="237" y="476"/>
                  </a:lnTo>
                  <a:lnTo>
                    <a:pt x="241" y="476"/>
                  </a:lnTo>
                  <a:lnTo>
                    <a:pt x="265" y="477"/>
                  </a:lnTo>
                  <a:lnTo>
                    <a:pt x="301" y="481"/>
                  </a:lnTo>
                  <a:lnTo>
                    <a:pt x="324" y="482"/>
                  </a:lnTo>
                  <a:lnTo>
                    <a:pt x="326" y="474"/>
                  </a:lnTo>
                  <a:lnTo>
                    <a:pt x="328" y="428"/>
                  </a:lnTo>
                  <a:lnTo>
                    <a:pt x="333" y="380"/>
                  </a:lnTo>
                  <a:lnTo>
                    <a:pt x="336" y="335"/>
                  </a:lnTo>
                  <a:lnTo>
                    <a:pt x="338" y="315"/>
                  </a:lnTo>
                  <a:lnTo>
                    <a:pt x="342" y="288"/>
                  </a:lnTo>
                  <a:lnTo>
                    <a:pt x="345" y="235"/>
                  </a:lnTo>
                  <a:lnTo>
                    <a:pt x="350" y="188"/>
                  </a:lnTo>
                  <a:lnTo>
                    <a:pt x="352" y="165"/>
                  </a:lnTo>
                  <a:lnTo>
                    <a:pt x="352" y="142"/>
                  </a:lnTo>
                  <a:lnTo>
                    <a:pt x="357" y="94"/>
                  </a:lnTo>
                  <a:lnTo>
                    <a:pt x="357" y="81"/>
                  </a:lnTo>
                  <a:lnTo>
                    <a:pt x="360" y="47"/>
                  </a:lnTo>
                  <a:lnTo>
                    <a:pt x="364" y="0"/>
                  </a:lnTo>
                  <a:lnTo>
                    <a:pt x="365" y="0"/>
                  </a:lnTo>
                  <a:lnTo>
                    <a:pt x="437" y="6"/>
                  </a:lnTo>
                  <a:lnTo>
                    <a:pt x="448" y="6"/>
                  </a:lnTo>
                  <a:lnTo>
                    <a:pt x="483" y="7"/>
                  </a:lnTo>
                  <a:lnTo>
                    <a:pt x="528" y="11"/>
                  </a:lnTo>
                  <a:lnTo>
                    <a:pt x="540" y="11"/>
                  </a:lnTo>
                  <a:lnTo>
                    <a:pt x="574" y="14"/>
                  </a:lnTo>
                  <a:lnTo>
                    <a:pt x="622" y="14"/>
                  </a:lnTo>
                  <a:lnTo>
                    <a:pt x="622" y="16"/>
                  </a:lnTo>
                  <a:lnTo>
                    <a:pt x="620" y="62"/>
                  </a:lnTo>
                  <a:lnTo>
                    <a:pt x="618" y="81"/>
                  </a:lnTo>
                  <a:lnTo>
                    <a:pt x="618" y="110"/>
                  </a:lnTo>
                  <a:lnTo>
                    <a:pt x="617" y="130"/>
                  </a:lnTo>
                  <a:lnTo>
                    <a:pt x="617" y="156"/>
                  </a:lnTo>
                  <a:lnTo>
                    <a:pt x="615" y="173"/>
                  </a:lnTo>
                  <a:lnTo>
                    <a:pt x="613" y="204"/>
                  </a:lnTo>
                  <a:lnTo>
                    <a:pt x="613" y="223"/>
                  </a:lnTo>
                  <a:lnTo>
                    <a:pt x="615" y="223"/>
                  </a:lnTo>
                  <a:lnTo>
                    <a:pt x="618" y="221"/>
                  </a:lnTo>
                  <a:lnTo>
                    <a:pt x="624" y="224"/>
                  </a:lnTo>
                  <a:lnTo>
                    <a:pt x="625" y="228"/>
                  </a:lnTo>
                  <a:lnTo>
                    <a:pt x="627" y="231"/>
                  </a:lnTo>
                  <a:lnTo>
                    <a:pt x="632" y="236"/>
                  </a:lnTo>
                  <a:lnTo>
                    <a:pt x="639" y="245"/>
                  </a:lnTo>
                  <a:lnTo>
                    <a:pt x="647" y="245"/>
                  </a:lnTo>
                  <a:lnTo>
                    <a:pt x="649" y="243"/>
                  </a:lnTo>
                  <a:lnTo>
                    <a:pt x="649" y="241"/>
                  </a:lnTo>
                  <a:lnTo>
                    <a:pt x="651" y="241"/>
                  </a:lnTo>
                  <a:lnTo>
                    <a:pt x="656" y="241"/>
                  </a:lnTo>
                  <a:lnTo>
                    <a:pt x="658" y="245"/>
                  </a:lnTo>
                  <a:lnTo>
                    <a:pt x="661" y="247"/>
                  </a:lnTo>
                  <a:lnTo>
                    <a:pt x="665" y="247"/>
                  </a:lnTo>
                  <a:lnTo>
                    <a:pt x="665" y="243"/>
                  </a:lnTo>
                  <a:lnTo>
                    <a:pt x="666" y="240"/>
                  </a:lnTo>
                  <a:lnTo>
                    <a:pt x="668" y="238"/>
                  </a:lnTo>
                  <a:lnTo>
                    <a:pt x="671" y="241"/>
                  </a:lnTo>
                  <a:lnTo>
                    <a:pt x="677" y="243"/>
                  </a:lnTo>
                  <a:lnTo>
                    <a:pt x="678" y="247"/>
                  </a:lnTo>
                  <a:lnTo>
                    <a:pt x="682" y="250"/>
                  </a:lnTo>
                  <a:lnTo>
                    <a:pt x="682" y="253"/>
                  </a:lnTo>
                  <a:lnTo>
                    <a:pt x="682" y="259"/>
                  </a:lnTo>
                  <a:lnTo>
                    <a:pt x="683" y="262"/>
                  </a:lnTo>
                  <a:lnTo>
                    <a:pt x="683" y="264"/>
                  </a:lnTo>
                  <a:lnTo>
                    <a:pt x="688" y="265"/>
                  </a:lnTo>
                  <a:lnTo>
                    <a:pt x="692" y="264"/>
                  </a:lnTo>
                  <a:lnTo>
                    <a:pt x="697" y="265"/>
                  </a:lnTo>
                  <a:lnTo>
                    <a:pt x="700" y="264"/>
                  </a:lnTo>
                  <a:lnTo>
                    <a:pt x="704" y="265"/>
                  </a:lnTo>
                  <a:lnTo>
                    <a:pt x="709" y="270"/>
                  </a:lnTo>
                  <a:lnTo>
                    <a:pt x="716" y="272"/>
                  </a:lnTo>
                  <a:lnTo>
                    <a:pt x="719" y="274"/>
                  </a:lnTo>
                  <a:lnTo>
                    <a:pt x="724" y="274"/>
                  </a:lnTo>
                  <a:lnTo>
                    <a:pt x="728" y="272"/>
                  </a:lnTo>
                  <a:lnTo>
                    <a:pt x="730" y="272"/>
                  </a:lnTo>
                  <a:lnTo>
                    <a:pt x="733" y="270"/>
                  </a:lnTo>
                  <a:lnTo>
                    <a:pt x="735" y="272"/>
                  </a:lnTo>
                  <a:lnTo>
                    <a:pt x="736" y="272"/>
                  </a:lnTo>
                  <a:lnTo>
                    <a:pt x="738" y="277"/>
                  </a:lnTo>
                  <a:lnTo>
                    <a:pt x="743" y="281"/>
                  </a:lnTo>
                  <a:lnTo>
                    <a:pt x="748" y="282"/>
                  </a:lnTo>
                  <a:lnTo>
                    <a:pt x="750" y="281"/>
                  </a:lnTo>
                  <a:lnTo>
                    <a:pt x="752" y="279"/>
                  </a:lnTo>
                  <a:lnTo>
                    <a:pt x="753" y="279"/>
                  </a:lnTo>
                  <a:lnTo>
                    <a:pt x="753" y="276"/>
                  </a:lnTo>
                  <a:lnTo>
                    <a:pt x="757" y="274"/>
                  </a:lnTo>
                  <a:lnTo>
                    <a:pt x="759" y="274"/>
                  </a:lnTo>
                  <a:lnTo>
                    <a:pt x="764" y="276"/>
                  </a:lnTo>
                  <a:lnTo>
                    <a:pt x="772" y="277"/>
                  </a:lnTo>
                  <a:lnTo>
                    <a:pt x="776" y="274"/>
                  </a:lnTo>
                  <a:lnTo>
                    <a:pt x="777" y="274"/>
                  </a:lnTo>
                  <a:lnTo>
                    <a:pt x="779" y="274"/>
                  </a:lnTo>
                  <a:lnTo>
                    <a:pt x="777" y="282"/>
                  </a:lnTo>
                  <a:lnTo>
                    <a:pt x="779" y="289"/>
                  </a:lnTo>
                  <a:lnTo>
                    <a:pt x="782" y="291"/>
                  </a:lnTo>
                  <a:lnTo>
                    <a:pt x="784" y="291"/>
                  </a:lnTo>
                  <a:lnTo>
                    <a:pt x="789" y="289"/>
                  </a:lnTo>
                  <a:lnTo>
                    <a:pt x="791" y="293"/>
                  </a:lnTo>
                  <a:lnTo>
                    <a:pt x="791" y="294"/>
                  </a:lnTo>
                  <a:lnTo>
                    <a:pt x="791" y="296"/>
                  </a:lnTo>
                  <a:lnTo>
                    <a:pt x="789" y="300"/>
                  </a:lnTo>
                  <a:lnTo>
                    <a:pt x="791" y="301"/>
                  </a:lnTo>
                  <a:lnTo>
                    <a:pt x="794" y="303"/>
                  </a:lnTo>
                  <a:lnTo>
                    <a:pt x="798" y="305"/>
                  </a:lnTo>
                  <a:lnTo>
                    <a:pt x="800" y="305"/>
                  </a:lnTo>
                  <a:lnTo>
                    <a:pt x="805" y="301"/>
                  </a:lnTo>
                  <a:lnTo>
                    <a:pt x="808" y="298"/>
                  </a:lnTo>
                  <a:lnTo>
                    <a:pt x="812" y="296"/>
                  </a:lnTo>
                  <a:lnTo>
                    <a:pt x="813" y="293"/>
                  </a:lnTo>
                  <a:lnTo>
                    <a:pt x="817" y="291"/>
                  </a:lnTo>
                  <a:lnTo>
                    <a:pt x="822" y="293"/>
                  </a:lnTo>
                  <a:lnTo>
                    <a:pt x="824" y="300"/>
                  </a:lnTo>
                  <a:lnTo>
                    <a:pt x="825" y="301"/>
                  </a:lnTo>
                  <a:lnTo>
                    <a:pt x="827" y="301"/>
                  </a:lnTo>
                  <a:lnTo>
                    <a:pt x="830" y="300"/>
                  </a:lnTo>
                  <a:lnTo>
                    <a:pt x="834" y="300"/>
                  </a:lnTo>
                  <a:lnTo>
                    <a:pt x="834" y="301"/>
                  </a:lnTo>
                  <a:lnTo>
                    <a:pt x="835" y="301"/>
                  </a:lnTo>
                  <a:lnTo>
                    <a:pt x="835" y="308"/>
                  </a:lnTo>
                  <a:lnTo>
                    <a:pt x="839" y="310"/>
                  </a:lnTo>
                  <a:lnTo>
                    <a:pt x="842" y="308"/>
                  </a:lnTo>
                  <a:lnTo>
                    <a:pt x="846" y="305"/>
                  </a:lnTo>
                  <a:lnTo>
                    <a:pt x="847" y="305"/>
                  </a:lnTo>
                  <a:lnTo>
                    <a:pt x="847" y="301"/>
                  </a:lnTo>
                  <a:lnTo>
                    <a:pt x="851" y="305"/>
                  </a:lnTo>
                  <a:lnTo>
                    <a:pt x="853" y="306"/>
                  </a:lnTo>
                  <a:lnTo>
                    <a:pt x="853" y="305"/>
                  </a:lnTo>
                  <a:lnTo>
                    <a:pt x="854" y="301"/>
                  </a:lnTo>
                  <a:lnTo>
                    <a:pt x="856" y="301"/>
                  </a:lnTo>
                  <a:lnTo>
                    <a:pt x="859" y="301"/>
                  </a:lnTo>
                  <a:lnTo>
                    <a:pt x="861" y="305"/>
                  </a:lnTo>
                  <a:lnTo>
                    <a:pt x="861" y="306"/>
                  </a:lnTo>
                  <a:lnTo>
                    <a:pt x="858" y="308"/>
                  </a:lnTo>
                  <a:lnTo>
                    <a:pt x="856" y="310"/>
                  </a:lnTo>
                  <a:lnTo>
                    <a:pt x="858" y="317"/>
                  </a:lnTo>
                  <a:lnTo>
                    <a:pt x="861" y="320"/>
                  </a:lnTo>
                  <a:lnTo>
                    <a:pt x="865" y="320"/>
                  </a:lnTo>
                  <a:lnTo>
                    <a:pt x="868" y="320"/>
                  </a:lnTo>
                  <a:lnTo>
                    <a:pt x="868" y="318"/>
                  </a:lnTo>
                  <a:lnTo>
                    <a:pt x="868" y="311"/>
                  </a:lnTo>
                  <a:lnTo>
                    <a:pt x="871" y="310"/>
                  </a:lnTo>
                  <a:lnTo>
                    <a:pt x="868" y="308"/>
                  </a:lnTo>
                  <a:lnTo>
                    <a:pt x="868" y="306"/>
                  </a:lnTo>
                  <a:lnTo>
                    <a:pt x="870" y="306"/>
                  </a:lnTo>
                  <a:lnTo>
                    <a:pt x="873" y="308"/>
                  </a:lnTo>
                  <a:lnTo>
                    <a:pt x="875" y="306"/>
                  </a:lnTo>
                  <a:lnTo>
                    <a:pt x="876" y="305"/>
                  </a:lnTo>
                  <a:lnTo>
                    <a:pt x="876" y="296"/>
                  </a:lnTo>
                  <a:lnTo>
                    <a:pt x="878" y="298"/>
                  </a:lnTo>
                  <a:lnTo>
                    <a:pt x="882" y="296"/>
                  </a:lnTo>
                  <a:lnTo>
                    <a:pt x="882" y="294"/>
                  </a:lnTo>
                  <a:lnTo>
                    <a:pt x="885" y="296"/>
                  </a:lnTo>
                  <a:lnTo>
                    <a:pt x="885" y="300"/>
                  </a:lnTo>
                  <a:lnTo>
                    <a:pt x="887" y="303"/>
                  </a:lnTo>
                  <a:lnTo>
                    <a:pt x="888" y="306"/>
                  </a:lnTo>
                  <a:lnTo>
                    <a:pt x="892" y="305"/>
                  </a:lnTo>
                  <a:lnTo>
                    <a:pt x="894" y="305"/>
                  </a:lnTo>
                  <a:lnTo>
                    <a:pt x="897" y="310"/>
                  </a:lnTo>
                  <a:lnTo>
                    <a:pt x="900" y="308"/>
                  </a:lnTo>
                  <a:lnTo>
                    <a:pt x="902" y="308"/>
                  </a:lnTo>
                  <a:lnTo>
                    <a:pt x="904" y="301"/>
                  </a:lnTo>
                  <a:lnTo>
                    <a:pt x="906" y="300"/>
                  </a:lnTo>
                  <a:lnTo>
                    <a:pt x="912" y="303"/>
                  </a:lnTo>
                  <a:lnTo>
                    <a:pt x="909" y="306"/>
                  </a:lnTo>
                  <a:lnTo>
                    <a:pt x="911" y="308"/>
                  </a:lnTo>
                  <a:lnTo>
                    <a:pt x="914" y="310"/>
                  </a:lnTo>
                  <a:lnTo>
                    <a:pt x="919" y="311"/>
                  </a:lnTo>
                  <a:lnTo>
                    <a:pt x="919" y="313"/>
                  </a:lnTo>
                  <a:lnTo>
                    <a:pt x="921" y="315"/>
                  </a:lnTo>
                  <a:lnTo>
                    <a:pt x="926" y="313"/>
                  </a:lnTo>
                  <a:lnTo>
                    <a:pt x="931" y="318"/>
                  </a:lnTo>
                  <a:lnTo>
                    <a:pt x="933" y="323"/>
                  </a:lnTo>
                  <a:lnTo>
                    <a:pt x="936" y="323"/>
                  </a:lnTo>
                  <a:lnTo>
                    <a:pt x="938" y="322"/>
                  </a:lnTo>
                  <a:lnTo>
                    <a:pt x="938" y="317"/>
                  </a:lnTo>
                  <a:lnTo>
                    <a:pt x="940" y="315"/>
                  </a:lnTo>
                  <a:lnTo>
                    <a:pt x="945" y="317"/>
                  </a:lnTo>
                  <a:lnTo>
                    <a:pt x="947" y="317"/>
                  </a:lnTo>
                  <a:lnTo>
                    <a:pt x="948" y="317"/>
                  </a:lnTo>
                  <a:lnTo>
                    <a:pt x="950" y="313"/>
                  </a:lnTo>
                  <a:lnTo>
                    <a:pt x="952" y="310"/>
                  </a:lnTo>
                  <a:lnTo>
                    <a:pt x="950" y="310"/>
                  </a:lnTo>
                  <a:lnTo>
                    <a:pt x="948" y="311"/>
                  </a:lnTo>
                  <a:lnTo>
                    <a:pt x="948" y="310"/>
                  </a:lnTo>
                  <a:lnTo>
                    <a:pt x="950" y="308"/>
                  </a:lnTo>
                  <a:lnTo>
                    <a:pt x="953" y="310"/>
                  </a:lnTo>
                  <a:lnTo>
                    <a:pt x="955" y="308"/>
                  </a:lnTo>
                  <a:lnTo>
                    <a:pt x="960" y="308"/>
                  </a:lnTo>
                  <a:lnTo>
                    <a:pt x="962" y="306"/>
                  </a:lnTo>
                  <a:lnTo>
                    <a:pt x="962" y="308"/>
                  </a:lnTo>
                  <a:lnTo>
                    <a:pt x="964" y="306"/>
                  </a:lnTo>
                  <a:lnTo>
                    <a:pt x="964" y="305"/>
                  </a:lnTo>
                  <a:lnTo>
                    <a:pt x="965" y="306"/>
                  </a:lnTo>
                  <a:lnTo>
                    <a:pt x="967" y="306"/>
                  </a:lnTo>
                  <a:lnTo>
                    <a:pt x="969" y="303"/>
                  </a:lnTo>
                  <a:lnTo>
                    <a:pt x="971" y="303"/>
                  </a:lnTo>
                  <a:lnTo>
                    <a:pt x="977" y="308"/>
                  </a:lnTo>
                  <a:lnTo>
                    <a:pt x="979" y="308"/>
                  </a:lnTo>
                  <a:lnTo>
                    <a:pt x="982" y="306"/>
                  </a:lnTo>
                  <a:lnTo>
                    <a:pt x="984" y="306"/>
                  </a:lnTo>
                  <a:lnTo>
                    <a:pt x="984" y="305"/>
                  </a:lnTo>
                  <a:lnTo>
                    <a:pt x="986" y="303"/>
                  </a:lnTo>
                  <a:lnTo>
                    <a:pt x="986" y="301"/>
                  </a:lnTo>
                  <a:lnTo>
                    <a:pt x="991" y="303"/>
                  </a:lnTo>
                  <a:lnTo>
                    <a:pt x="996" y="300"/>
                  </a:lnTo>
                  <a:lnTo>
                    <a:pt x="998" y="300"/>
                  </a:lnTo>
                  <a:lnTo>
                    <a:pt x="998" y="298"/>
                  </a:lnTo>
                  <a:lnTo>
                    <a:pt x="1000" y="298"/>
                  </a:lnTo>
                  <a:lnTo>
                    <a:pt x="1003" y="298"/>
                  </a:lnTo>
                  <a:lnTo>
                    <a:pt x="1005" y="301"/>
                  </a:lnTo>
                  <a:lnTo>
                    <a:pt x="1006" y="301"/>
                  </a:lnTo>
                  <a:lnTo>
                    <a:pt x="1006" y="303"/>
                  </a:lnTo>
                  <a:lnTo>
                    <a:pt x="1005" y="303"/>
                  </a:lnTo>
                  <a:lnTo>
                    <a:pt x="1006" y="303"/>
                  </a:lnTo>
                  <a:lnTo>
                    <a:pt x="1008" y="305"/>
                  </a:lnTo>
                  <a:lnTo>
                    <a:pt x="1012" y="303"/>
                  </a:lnTo>
                  <a:lnTo>
                    <a:pt x="1013" y="306"/>
                  </a:lnTo>
                  <a:lnTo>
                    <a:pt x="1023" y="305"/>
                  </a:lnTo>
                  <a:lnTo>
                    <a:pt x="1023" y="301"/>
                  </a:lnTo>
                  <a:lnTo>
                    <a:pt x="1025" y="303"/>
                  </a:lnTo>
                  <a:lnTo>
                    <a:pt x="1027" y="303"/>
                  </a:lnTo>
                  <a:lnTo>
                    <a:pt x="1029" y="300"/>
                  </a:lnTo>
                  <a:lnTo>
                    <a:pt x="1029" y="301"/>
                  </a:lnTo>
                  <a:lnTo>
                    <a:pt x="1030" y="301"/>
                  </a:lnTo>
                  <a:lnTo>
                    <a:pt x="1030" y="298"/>
                  </a:lnTo>
                  <a:lnTo>
                    <a:pt x="1032" y="294"/>
                  </a:lnTo>
                  <a:lnTo>
                    <a:pt x="1039" y="296"/>
                  </a:lnTo>
                  <a:lnTo>
                    <a:pt x="1041" y="298"/>
                  </a:lnTo>
                  <a:lnTo>
                    <a:pt x="1041" y="300"/>
                  </a:lnTo>
                  <a:lnTo>
                    <a:pt x="1042" y="300"/>
                  </a:lnTo>
                  <a:lnTo>
                    <a:pt x="1044" y="300"/>
                  </a:lnTo>
                  <a:lnTo>
                    <a:pt x="1046" y="300"/>
                  </a:lnTo>
                  <a:lnTo>
                    <a:pt x="1044" y="301"/>
                  </a:lnTo>
                  <a:lnTo>
                    <a:pt x="1046" y="303"/>
                  </a:lnTo>
                  <a:lnTo>
                    <a:pt x="1047" y="300"/>
                  </a:lnTo>
                  <a:lnTo>
                    <a:pt x="1047" y="301"/>
                  </a:lnTo>
                  <a:lnTo>
                    <a:pt x="1049" y="303"/>
                  </a:lnTo>
                  <a:lnTo>
                    <a:pt x="1049" y="305"/>
                  </a:lnTo>
                  <a:lnTo>
                    <a:pt x="1051" y="305"/>
                  </a:lnTo>
                  <a:lnTo>
                    <a:pt x="1054" y="306"/>
                  </a:lnTo>
                  <a:lnTo>
                    <a:pt x="1056" y="305"/>
                  </a:lnTo>
                  <a:lnTo>
                    <a:pt x="1056" y="306"/>
                  </a:lnTo>
                  <a:lnTo>
                    <a:pt x="1058" y="308"/>
                  </a:lnTo>
                  <a:lnTo>
                    <a:pt x="1058" y="310"/>
                  </a:lnTo>
                  <a:lnTo>
                    <a:pt x="1059" y="310"/>
                  </a:lnTo>
                  <a:lnTo>
                    <a:pt x="1061" y="311"/>
                  </a:lnTo>
                  <a:lnTo>
                    <a:pt x="1059" y="313"/>
                  </a:lnTo>
                  <a:lnTo>
                    <a:pt x="1063" y="315"/>
                  </a:lnTo>
                  <a:lnTo>
                    <a:pt x="1065" y="318"/>
                  </a:lnTo>
                  <a:lnTo>
                    <a:pt x="1068" y="318"/>
                  </a:lnTo>
                  <a:lnTo>
                    <a:pt x="1070" y="318"/>
                  </a:lnTo>
                  <a:lnTo>
                    <a:pt x="1071" y="317"/>
                  </a:lnTo>
                  <a:lnTo>
                    <a:pt x="1073" y="317"/>
                  </a:lnTo>
                  <a:lnTo>
                    <a:pt x="1071" y="318"/>
                  </a:lnTo>
                  <a:lnTo>
                    <a:pt x="1071" y="320"/>
                  </a:lnTo>
                  <a:lnTo>
                    <a:pt x="1075" y="318"/>
                  </a:lnTo>
                  <a:lnTo>
                    <a:pt x="1073" y="322"/>
                  </a:lnTo>
                  <a:lnTo>
                    <a:pt x="1075" y="320"/>
                  </a:lnTo>
                  <a:lnTo>
                    <a:pt x="1075" y="322"/>
                  </a:lnTo>
                  <a:lnTo>
                    <a:pt x="1075" y="323"/>
                  </a:lnTo>
                  <a:lnTo>
                    <a:pt x="1080" y="323"/>
                  </a:lnTo>
                  <a:lnTo>
                    <a:pt x="1082" y="323"/>
                  </a:lnTo>
                  <a:lnTo>
                    <a:pt x="1083" y="323"/>
                  </a:lnTo>
                  <a:lnTo>
                    <a:pt x="1085" y="325"/>
                  </a:lnTo>
                  <a:lnTo>
                    <a:pt x="1082" y="325"/>
                  </a:lnTo>
                  <a:lnTo>
                    <a:pt x="1082" y="327"/>
                  </a:lnTo>
                  <a:lnTo>
                    <a:pt x="1083" y="327"/>
                  </a:lnTo>
                  <a:lnTo>
                    <a:pt x="1085" y="325"/>
                  </a:lnTo>
                  <a:lnTo>
                    <a:pt x="1088" y="327"/>
                  </a:lnTo>
                  <a:lnTo>
                    <a:pt x="1090" y="325"/>
                  </a:lnTo>
                  <a:lnTo>
                    <a:pt x="1092" y="325"/>
                  </a:lnTo>
                  <a:lnTo>
                    <a:pt x="1092" y="327"/>
                  </a:lnTo>
                  <a:lnTo>
                    <a:pt x="1090" y="327"/>
                  </a:lnTo>
                  <a:lnTo>
                    <a:pt x="1088" y="327"/>
                  </a:lnTo>
                  <a:lnTo>
                    <a:pt x="1090" y="329"/>
                  </a:lnTo>
                  <a:lnTo>
                    <a:pt x="1094" y="327"/>
                  </a:lnTo>
                  <a:lnTo>
                    <a:pt x="1094" y="329"/>
                  </a:lnTo>
                  <a:lnTo>
                    <a:pt x="1092" y="329"/>
                  </a:lnTo>
                  <a:lnTo>
                    <a:pt x="1092" y="330"/>
                  </a:lnTo>
                  <a:lnTo>
                    <a:pt x="1095" y="329"/>
                  </a:lnTo>
                  <a:lnTo>
                    <a:pt x="1095" y="330"/>
                  </a:lnTo>
                  <a:lnTo>
                    <a:pt x="1097" y="330"/>
                  </a:lnTo>
                  <a:lnTo>
                    <a:pt x="1099" y="330"/>
                  </a:lnTo>
                  <a:lnTo>
                    <a:pt x="1102" y="329"/>
                  </a:lnTo>
                  <a:lnTo>
                    <a:pt x="1102" y="332"/>
                  </a:lnTo>
                  <a:lnTo>
                    <a:pt x="1102" y="334"/>
                  </a:lnTo>
                  <a:lnTo>
                    <a:pt x="1104" y="334"/>
                  </a:lnTo>
                  <a:lnTo>
                    <a:pt x="1106" y="335"/>
                  </a:lnTo>
                  <a:lnTo>
                    <a:pt x="1107" y="335"/>
                  </a:lnTo>
                  <a:lnTo>
                    <a:pt x="1107" y="334"/>
                  </a:lnTo>
                  <a:lnTo>
                    <a:pt x="1109" y="334"/>
                  </a:lnTo>
                  <a:lnTo>
                    <a:pt x="1109" y="335"/>
                  </a:lnTo>
                  <a:lnTo>
                    <a:pt x="1107" y="337"/>
                  </a:lnTo>
                  <a:lnTo>
                    <a:pt x="1109" y="339"/>
                  </a:lnTo>
                  <a:lnTo>
                    <a:pt x="1112" y="335"/>
                  </a:lnTo>
                  <a:lnTo>
                    <a:pt x="1114" y="337"/>
                  </a:lnTo>
                  <a:lnTo>
                    <a:pt x="1116" y="335"/>
                  </a:lnTo>
                  <a:lnTo>
                    <a:pt x="1117" y="334"/>
                  </a:lnTo>
                  <a:lnTo>
                    <a:pt x="1117" y="337"/>
                  </a:lnTo>
                  <a:lnTo>
                    <a:pt x="1121" y="334"/>
                  </a:lnTo>
                  <a:lnTo>
                    <a:pt x="1123" y="334"/>
                  </a:lnTo>
                  <a:lnTo>
                    <a:pt x="1121" y="337"/>
                  </a:lnTo>
                  <a:lnTo>
                    <a:pt x="1123" y="337"/>
                  </a:lnTo>
                  <a:lnTo>
                    <a:pt x="1123" y="334"/>
                  </a:lnTo>
                  <a:lnTo>
                    <a:pt x="1128" y="334"/>
                  </a:lnTo>
                  <a:lnTo>
                    <a:pt x="1128" y="335"/>
                  </a:lnTo>
                  <a:lnTo>
                    <a:pt x="1133" y="335"/>
                  </a:lnTo>
                  <a:lnTo>
                    <a:pt x="1135" y="334"/>
                  </a:lnTo>
                  <a:lnTo>
                    <a:pt x="1136" y="335"/>
                  </a:lnTo>
                  <a:lnTo>
                    <a:pt x="1138" y="337"/>
                  </a:lnTo>
                  <a:lnTo>
                    <a:pt x="1140" y="368"/>
                  </a:lnTo>
                  <a:lnTo>
                    <a:pt x="1140" y="395"/>
                  </a:lnTo>
                  <a:lnTo>
                    <a:pt x="1140" y="409"/>
                  </a:lnTo>
                  <a:lnTo>
                    <a:pt x="1140" y="429"/>
                  </a:lnTo>
                  <a:lnTo>
                    <a:pt x="1141" y="462"/>
                  </a:lnTo>
                  <a:lnTo>
                    <a:pt x="1141" y="482"/>
                  </a:lnTo>
                  <a:lnTo>
                    <a:pt x="1141" y="505"/>
                  </a:lnTo>
                  <a:lnTo>
                    <a:pt x="1145" y="506"/>
                  </a:lnTo>
                  <a:lnTo>
                    <a:pt x="1148" y="510"/>
                  </a:lnTo>
                  <a:lnTo>
                    <a:pt x="1148" y="513"/>
                  </a:lnTo>
                  <a:lnTo>
                    <a:pt x="1152" y="515"/>
                  </a:lnTo>
                  <a:lnTo>
                    <a:pt x="1153" y="515"/>
                  </a:lnTo>
                  <a:lnTo>
                    <a:pt x="1152" y="517"/>
                  </a:lnTo>
                  <a:lnTo>
                    <a:pt x="1155" y="515"/>
                  </a:lnTo>
                  <a:lnTo>
                    <a:pt x="1155" y="518"/>
                  </a:lnTo>
                  <a:lnTo>
                    <a:pt x="1157" y="518"/>
                  </a:lnTo>
                  <a:lnTo>
                    <a:pt x="1157" y="520"/>
                  </a:lnTo>
                  <a:lnTo>
                    <a:pt x="1159" y="523"/>
                  </a:lnTo>
                  <a:lnTo>
                    <a:pt x="1160" y="525"/>
                  </a:lnTo>
                  <a:lnTo>
                    <a:pt x="1162" y="529"/>
                  </a:lnTo>
                  <a:lnTo>
                    <a:pt x="1162" y="530"/>
                  </a:lnTo>
                  <a:lnTo>
                    <a:pt x="1164" y="534"/>
                  </a:lnTo>
                  <a:lnTo>
                    <a:pt x="1162" y="535"/>
                  </a:lnTo>
                  <a:lnTo>
                    <a:pt x="1164" y="535"/>
                  </a:lnTo>
                  <a:lnTo>
                    <a:pt x="1165" y="535"/>
                  </a:lnTo>
                  <a:lnTo>
                    <a:pt x="1164" y="539"/>
                  </a:lnTo>
                  <a:lnTo>
                    <a:pt x="1164" y="540"/>
                  </a:lnTo>
                  <a:lnTo>
                    <a:pt x="1164" y="542"/>
                  </a:lnTo>
                  <a:lnTo>
                    <a:pt x="1162" y="546"/>
                  </a:lnTo>
                  <a:lnTo>
                    <a:pt x="1162" y="547"/>
                  </a:lnTo>
                  <a:lnTo>
                    <a:pt x="1164" y="549"/>
                  </a:lnTo>
                  <a:lnTo>
                    <a:pt x="1164" y="551"/>
                  </a:lnTo>
                  <a:lnTo>
                    <a:pt x="1167" y="554"/>
                  </a:lnTo>
                  <a:lnTo>
                    <a:pt x="1169" y="554"/>
                  </a:lnTo>
                  <a:lnTo>
                    <a:pt x="1170" y="556"/>
                  </a:lnTo>
                  <a:lnTo>
                    <a:pt x="1174" y="556"/>
                  </a:lnTo>
                  <a:lnTo>
                    <a:pt x="1172" y="558"/>
                  </a:lnTo>
                  <a:lnTo>
                    <a:pt x="1169" y="559"/>
                  </a:lnTo>
                  <a:lnTo>
                    <a:pt x="1172" y="563"/>
                  </a:lnTo>
                  <a:lnTo>
                    <a:pt x="1174" y="561"/>
                  </a:lnTo>
                  <a:lnTo>
                    <a:pt x="1174" y="563"/>
                  </a:lnTo>
                  <a:lnTo>
                    <a:pt x="1176" y="564"/>
                  </a:lnTo>
                  <a:lnTo>
                    <a:pt x="1174" y="566"/>
                  </a:lnTo>
                  <a:lnTo>
                    <a:pt x="1176" y="568"/>
                  </a:lnTo>
                  <a:lnTo>
                    <a:pt x="1177" y="568"/>
                  </a:lnTo>
                  <a:lnTo>
                    <a:pt x="1177" y="571"/>
                  </a:lnTo>
                  <a:lnTo>
                    <a:pt x="1181" y="571"/>
                  </a:lnTo>
                  <a:lnTo>
                    <a:pt x="1176" y="576"/>
                  </a:lnTo>
                  <a:lnTo>
                    <a:pt x="1176" y="578"/>
                  </a:lnTo>
                  <a:lnTo>
                    <a:pt x="1179" y="580"/>
                  </a:lnTo>
                  <a:lnTo>
                    <a:pt x="1181" y="581"/>
                  </a:lnTo>
                  <a:lnTo>
                    <a:pt x="1182" y="581"/>
                  </a:lnTo>
                  <a:lnTo>
                    <a:pt x="1182" y="585"/>
                  </a:lnTo>
                  <a:lnTo>
                    <a:pt x="1184" y="587"/>
                  </a:lnTo>
                  <a:lnTo>
                    <a:pt x="1184" y="590"/>
                  </a:lnTo>
                  <a:lnTo>
                    <a:pt x="1184" y="592"/>
                  </a:lnTo>
                  <a:lnTo>
                    <a:pt x="1186" y="592"/>
                  </a:lnTo>
                  <a:lnTo>
                    <a:pt x="1188" y="590"/>
                  </a:lnTo>
                  <a:lnTo>
                    <a:pt x="1191" y="590"/>
                  </a:lnTo>
                  <a:lnTo>
                    <a:pt x="1191" y="592"/>
                  </a:lnTo>
                  <a:lnTo>
                    <a:pt x="1189" y="592"/>
                  </a:lnTo>
                  <a:lnTo>
                    <a:pt x="1191" y="593"/>
                  </a:lnTo>
                  <a:lnTo>
                    <a:pt x="1189" y="593"/>
                  </a:lnTo>
                  <a:lnTo>
                    <a:pt x="1189" y="597"/>
                  </a:lnTo>
                  <a:lnTo>
                    <a:pt x="1191" y="597"/>
                  </a:lnTo>
                  <a:lnTo>
                    <a:pt x="1189" y="599"/>
                  </a:lnTo>
                  <a:lnTo>
                    <a:pt x="1188" y="599"/>
                  </a:lnTo>
                  <a:lnTo>
                    <a:pt x="1188" y="600"/>
                  </a:lnTo>
                  <a:lnTo>
                    <a:pt x="1189" y="600"/>
                  </a:lnTo>
                  <a:lnTo>
                    <a:pt x="1189" y="602"/>
                  </a:lnTo>
                  <a:lnTo>
                    <a:pt x="1191" y="602"/>
                  </a:lnTo>
                  <a:lnTo>
                    <a:pt x="1191" y="605"/>
                  </a:lnTo>
                  <a:lnTo>
                    <a:pt x="1193" y="607"/>
                  </a:lnTo>
                  <a:lnTo>
                    <a:pt x="1189" y="609"/>
                  </a:lnTo>
                  <a:lnTo>
                    <a:pt x="1188" y="609"/>
                  </a:lnTo>
                  <a:lnTo>
                    <a:pt x="1188" y="611"/>
                  </a:lnTo>
                  <a:lnTo>
                    <a:pt x="1188" y="612"/>
                  </a:lnTo>
                  <a:lnTo>
                    <a:pt x="1188" y="614"/>
                  </a:lnTo>
                  <a:lnTo>
                    <a:pt x="1189" y="614"/>
                  </a:lnTo>
                  <a:lnTo>
                    <a:pt x="1189" y="616"/>
                  </a:lnTo>
                  <a:lnTo>
                    <a:pt x="1191" y="616"/>
                  </a:lnTo>
                  <a:lnTo>
                    <a:pt x="1191" y="617"/>
                  </a:lnTo>
                  <a:lnTo>
                    <a:pt x="1191" y="619"/>
                  </a:lnTo>
                  <a:lnTo>
                    <a:pt x="1189" y="619"/>
                  </a:lnTo>
                  <a:lnTo>
                    <a:pt x="1189" y="621"/>
                  </a:lnTo>
                  <a:lnTo>
                    <a:pt x="1188" y="621"/>
                  </a:lnTo>
                  <a:lnTo>
                    <a:pt x="1188" y="623"/>
                  </a:lnTo>
                  <a:lnTo>
                    <a:pt x="1188" y="624"/>
                  </a:lnTo>
                  <a:lnTo>
                    <a:pt x="1189" y="626"/>
                  </a:lnTo>
                  <a:lnTo>
                    <a:pt x="1188" y="628"/>
                  </a:lnTo>
                  <a:lnTo>
                    <a:pt x="1189" y="628"/>
                  </a:lnTo>
                  <a:lnTo>
                    <a:pt x="1189" y="629"/>
                  </a:lnTo>
                  <a:lnTo>
                    <a:pt x="1186" y="633"/>
                  </a:lnTo>
                  <a:lnTo>
                    <a:pt x="1186" y="634"/>
                  </a:lnTo>
                  <a:lnTo>
                    <a:pt x="1182" y="638"/>
                  </a:lnTo>
                  <a:lnTo>
                    <a:pt x="1184" y="640"/>
                  </a:lnTo>
                  <a:lnTo>
                    <a:pt x="1184" y="641"/>
                  </a:lnTo>
                  <a:lnTo>
                    <a:pt x="1184" y="645"/>
                  </a:lnTo>
                  <a:lnTo>
                    <a:pt x="1179" y="646"/>
                  </a:lnTo>
                  <a:lnTo>
                    <a:pt x="1177" y="650"/>
                  </a:lnTo>
                  <a:lnTo>
                    <a:pt x="1177" y="652"/>
                  </a:lnTo>
                  <a:lnTo>
                    <a:pt x="1179" y="655"/>
                  </a:lnTo>
                  <a:lnTo>
                    <a:pt x="1177" y="653"/>
                  </a:lnTo>
                  <a:lnTo>
                    <a:pt x="1174" y="655"/>
                  </a:lnTo>
                  <a:lnTo>
                    <a:pt x="1174" y="657"/>
                  </a:lnTo>
                  <a:lnTo>
                    <a:pt x="1172" y="660"/>
                  </a:lnTo>
                  <a:lnTo>
                    <a:pt x="1176" y="662"/>
                  </a:lnTo>
                  <a:lnTo>
                    <a:pt x="1176" y="664"/>
                  </a:lnTo>
                  <a:lnTo>
                    <a:pt x="1176" y="665"/>
                  </a:lnTo>
                  <a:lnTo>
                    <a:pt x="1177" y="669"/>
                  </a:lnTo>
                  <a:lnTo>
                    <a:pt x="1176" y="669"/>
                  </a:lnTo>
                  <a:lnTo>
                    <a:pt x="1177" y="670"/>
                  </a:lnTo>
                  <a:lnTo>
                    <a:pt x="1174" y="672"/>
                  </a:lnTo>
                  <a:lnTo>
                    <a:pt x="1172" y="674"/>
                  </a:lnTo>
                  <a:lnTo>
                    <a:pt x="1172" y="677"/>
                  </a:lnTo>
                  <a:lnTo>
                    <a:pt x="1172" y="679"/>
                  </a:lnTo>
                  <a:lnTo>
                    <a:pt x="1170" y="681"/>
                  </a:lnTo>
                  <a:lnTo>
                    <a:pt x="1170" y="682"/>
                  </a:lnTo>
                  <a:lnTo>
                    <a:pt x="1174" y="686"/>
                  </a:lnTo>
                  <a:lnTo>
                    <a:pt x="1177" y="686"/>
                  </a:lnTo>
                  <a:lnTo>
                    <a:pt x="1176" y="693"/>
                  </a:lnTo>
                  <a:lnTo>
                    <a:pt x="1176" y="694"/>
                  </a:lnTo>
                  <a:lnTo>
                    <a:pt x="1177" y="699"/>
                  </a:lnTo>
                  <a:lnTo>
                    <a:pt x="1177" y="703"/>
                  </a:lnTo>
                  <a:lnTo>
                    <a:pt x="1179" y="703"/>
                  </a:lnTo>
                  <a:lnTo>
                    <a:pt x="1177" y="703"/>
                  </a:lnTo>
                  <a:lnTo>
                    <a:pt x="1177" y="706"/>
                  </a:lnTo>
                  <a:lnTo>
                    <a:pt x="1176" y="708"/>
                  </a:lnTo>
                  <a:lnTo>
                    <a:pt x="1176" y="711"/>
                  </a:lnTo>
                  <a:lnTo>
                    <a:pt x="1172" y="718"/>
                  </a:lnTo>
                  <a:lnTo>
                    <a:pt x="1164" y="720"/>
                  </a:lnTo>
                  <a:lnTo>
                    <a:pt x="1164" y="722"/>
                  </a:lnTo>
                  <a:lnTo>
                    <a:pt x="1155" y="739"/>
                  </a:lnTo>
                  <a:lnTo>
                    <a:pt x="1165" y="754"/>
                  </a:lnTo>
                  <a:lnTo>
                    <a:pt x="1145" y="754"/>
                  </a:lnTo>
                  <a:lnTo>
                    <a:pt x="1117" y="766"/>
                  </a:lnTo>
                  <a:lnTo>
                    <a:pt x="1116" y="768"/>
                  </a:lnTo>
                  <a:lnTo>
                    <a:pt x="1087" y="780"/>
                  </a:lnTo>
                  <a:lnTo>
                    <a:pt x="1080" y="788"/>
                  </a:lnTo>
                  <a:lnTo>
                    <a:pt x="1078" y="787"/>
                  </a:lnTo>
                  <a:lnTo>
                    <a:pt x="1087" y="776"/>
                  </a:lnTo>
                  <a:lnTo>
                    <a:pt x="1097" y="769"/>
                  </a:lnTo>
                  <a:lnTo>
                    <a:pt x="1104" y="771"/>
                  </a:lnTo>
                  <a:lnTo>
                    <a:pt x="1107" y="768"/>
                  </a:lnTo>
                  <a:lnTo>
                    <a:pt x="1104" y="768"/>
                  </a:lnTo>
                  <a:lnTo>
                    <a:pt x="1100" y="768"/>
                  </a:lnTo>
                  <a:lnTo>
                    <a:pt x="1099" y="764"/>
                  </a:lnTo>
                  <a:lnTo>
                    <a:pt x="1076" y="769"/>
                  </a:lnTo>
                  <a:lnTo>
                    <a:pt x="1085" y="756"/>
                  </a:lnTo>
                  <a:lnTo>
                    <a:pt x="1085" y="746"/>
                  </a:lnTo>
                  <a:lnTo>
                    <a:pt x="1082" y="742"/>
                  </a:lnTo>
                  <a:lnTo>
                    <a:pt x="1073" y="746"/>
                  </a:lnTo>
                  <a:lnTo>
                    <a:pt x="1068" y="756"/>
                  </a:lnTo>
                  <a:lnTo>
                    <a:pt x="1063" y="754"/>
                  </a:lnTo>
                  <a:lnTo>
                    <a:pt x="1049" y="742"/>
                  </a:lnTo>
                  <a:lnTo>
                    <a:pt x="1053" y="751"/>
                  </a:lnTo>
                  <a:lnTo>
                    <a:pt x="1058" y="754"/>
                  </a:lnTo>
                  <a:lnTo>
                    <a:pt x="1056" y="768"/>
                  </a:lnTo>
                  <a:lnTo>
                    <a:pt x="1066" y="773"/>
                  </a:lnTo>
                  <a:lnTo>
                    <a:pt x="1059" y="778"/>
                  </a:lnTo>
                  <a:lnTo>
                    <a:pt x="1063" y="778"/>
                  </a:lnTo>
                  <a:lnTo>
                    <a:pt x="1061" y="781"/>
                  </a:lnTo>
                  <a:lnTo>
                    <a:pt x="1066" y="781"/>
                  </a:lnTo>
                  <a:lnTo>
                    <a:pt x="1065" y="780"/>
                  </a:lnTo>
                  <a:lnTo>
                    <a:pt x="1068" y="785"/>
                  </a:lnTo>
                  <a:lnTo>
                    <a:pt x="1075" y="787"/>
                  </a:lnTo>
                  <a:lnTo>
                    <a:pt x="1068" y="785"/>
                  </a:lnTo>
                  <a:lnTo>
                    <a:pt x="1068" y="793"/>
                  </a:lnTo>
                  <a:lnTo>
                    <a:pt x="1063" y="792"/>
                  </a:lnTo>
                  <a:lnTo>
                    <a:pt x="1051" y="807"/>
                  </a:lnTo>
                  <a:lnTo>
                    <a:pt x="1042" y="805"/>
                  </a:lnTo>
                  <a:lnTo>
                    <a:pt x="1042" y="816"/>
                  </a:lnTo>
                  <a:lnTo>
                    <a:pt x="1039" y="816"/>
                  </a:lnTo>
                  <a:lnTo>
                    <a:pt x="1034" y="829"/>
                  </a:lnTo>
                  <a:lnTo>
                    <a:pt x="1008" y="848"/>
                  </a:lnTo>
                  <a:lnTo>
                    <a:pt x="994" y="857"/>
                  </a:lnTo>
                  <a:lnTo>
                    <a:pt x="994" y="853"/>
                  </a:lnTo>
                  <a:lnTo>
                    <a:pt x="984" y="855"/>
                  </a:lnTo>
                  <a:lnTo>
                    <a:pt x="971" y="860"/>
                  </a:lnTo>
                  <a:lnTo>
                    <a:pt x="969" y="869"/>
                  </a:lnTo>
                  <a:lnTo>
                    <a:pt x="993" y="858"/>
                  </a:lnTo>
                  <a:lnTo>
                    <a:pt x="945" y="882"/>
                  </a:lnTo>
                  <a:lnTo>
                    <a:pt x="965" y="870"/>
                  </a:lnTo>
                  <a:lnTo>
                    <a:pt x="965" y="865"/>
                  </a:lnTo>
                  <a:lnTo>
                    <a:pt x="941" y="874"/>
                  </a:lnTo>
                  <a:lnTo>
                    <a:pt x="941" y="870"/>
                  </a:lnTo>
                  <a:lnTo>
                    <a:pt x="948" y="869"/>
                  </a:lnTo>
                  <a:lnTo>
                    <a:pt x="941" y="867"/>
                  </a:lnTo>
                  <a:lnTo>
                    <a:pt x="950" y="853"/>
                  </a:lnTo>
                  <a:lnTo>
                    <a:pt x="943" y="862"/>
                  </a:lnTo>
                  <a:lnTo>
                    <a:pt x="936" y="863"/>
                  </a:lnTo>
                  <a:lnTo>
                    <a:pt x="938" y="858"/>
                  </a:lnTo>
                  <a:lnTo>
                    <a:pt x="933" y="867"/>
                  </a:lnTo>
                  <a:lnTo>
                    <a:pt x="929" y="869"/>
                  </a:lnTo>
                  <a:lnTo>
                    <a:pt x="926" y="863"/>
                  </a:lnTo>
                  <a:lnTo>
                    <a:pt x="926" y="857"/>
                  </a:lnTo>
                  <a:lnTo>
                    <a:pt x="924" y="858"/>
                  </a:lnTo>
                  <a:lnTo>
                    <a:pt x="921" y="853"/>
                  </a:lnTo>
                  <a:lnTo>
                    <a:pt x="923" y="860"/>
                  </a:lnTo>
                  <a:lnTo>
                    <a:pt x="926" y="858"/>
                  </a:lnTo>
                  <a:lnTo>
                    <a:pt x="924" y="867"/>
                  </a:lnTo>
                  <a:lnTo>
                    <a:pt x="928" y="869"/>
                  </a:lnTo>
                  <a:lnTo>
                    <a:pt x="918" y="875"/>
                  </a:lnTo>
                  <a:lnTo>
                    <a:pt x="923" y="870"/>
                  </a:lnTo>
                  <a:lnTo>
                    <a:pt x="921" y="863"/>
                  </a:lnTo>
                  <a:lnTo>
                    <a:pt x="918" y="870"/>
                  </a:lnTo>
                  <a:lnTo>
                    <a:pt x="916" y="869"/>
                  </a:lnTo>
                  <a:lnTo>
                    <a:pt x="916" y="865"/>
                  </a:lnTo>
                  <a:lnTo>
                    <a:pt x="911" y="867"/>
                  </a:lnTo>
                  <a:lnTo>
                    <a:pt x="911" y="860"/>
                  </a:lnTo>
                  <a:lnTo>
                    <a:pt x="911" y="848"/>
                  </a:lnTo>
                  <a:lnTo>
                    <a:pt x="909" y="860"/>
                  </a:lnTo>
                  <a:lnTo>
                    <a:pt x="907" y="858"/>
                  </a:lnTo>
                  <a:lnTo>
                    <a:pt x="902" y="858"/>
                  </a:lnTo>
                  <a:lnTo>
                    <a:pt x="902" y="862"/>
                  </a:lnTo>
                  <a:lnTo>
                    <a:pt x="907" y="867"/>
                  </a:lnTo>
                  <a:lnTo>
                    <a:pt x="906" y="874"/>
                  </a:lnTo>
                  <a:lnTo>
                    <a:pt x="911" y="874"/>
                  </a:lnTo>
                  <a:lnTo>
                    <a:pt x="918" y="881"/>
                  </a:lnTo>
                  <a:lnTo>
                    <a:pt x="911" y="884"/>
                  </a:lnTo>
                  <a:lnTo>
                    <a:pt x="914" y="886"/>
                  </a:lnTo>
                  <a:lnTo>
                    <a:pt x="919" y="881"/>
                  </a:lnTo>
                  <a:lnTo>
                    <a:pt x="926" y="887"/>
                  </a:lnTo>
                  <a:lnTo>
                    <a:pt x="900" y="901"/>
                  </a:lnTo>
                  <a:lnTo>
                    <a:pt x="897" y="898"/>
                  </a:lnTo>
                  <a:lnTo>
                    <a:pt x="897" y="893"/>
                  </a:lnTo>
                  <a:lnTo>
                    <a:pt x="894" y="891"/>
                  </a:lnTo>
                  <a:lnTo>
                    <a:pt x="890" y="882"/>
                  </a:lnTo>
                  <a:lnTo>
                    <a:pt x="885" y="886"/>
                  </a:lnTo>
                  <a:lnTo>
                    <a:pt x="888" y="886"/>
                  </a:lnTo>
                  <a:lnTo>
                    <a:pt x="892" y="891"/>
                  </a:lnTo>
                  <a:lnTo>
                    <a:pt x="890" y="893"/>
                  </a:lnTo>
                  <a:lnTo>
                    <a:pt x="883" y="891"/>
                  </a:lnTo>
                  <a:lnTo>
                    <a:pt x="888" y="896"/>
                  </a:lnTo>
                  <a:lnTo>
                    <a:pt x="888" y="901"/>
                  </a:lnTo>
                  <a:lnTo>
                    <a:pt x="888" y="904"/>
                  </a:lnTo>
                  <a:lnTo>
                    <a:pt x="890" y="910"/>
                  </a:lnTo>
                  <a:lnTo>
                    <a:pt x="887" y="911"/>
                  </a:lnTo>
                  <a:lnTo>
                    <a:pt x="873" y="922"/>
                  </a:lnTo>
                  <a:lnTo>
                    <a:pt x="876" y="906"/>
                  </a:lnTo>
                  <a:lnTo>
                    <a:pt x="871" y="911"/>
                  </a:lnTo>
                  <a:lnTo>
                    <a:pt x="875" y="915"/>
                  </a:lnTo>
                  <a:lnTo>
                    <a:pt x="871" y="922"/>
                  </a:lnTo>
                  <a:lnTo>
                    <a:pt x="866" y="920"/>
                  </a:lnTo>
                  <a:lnTo>
                    <a:pt x="866" y="913"/>
                  </a:lnTo>
                  <a:lnTo>
                    <a:pt x="856" y="920"/>
                  </a:lnTo>
                  <a:lnTo>
                    <a:pt x="856" y="916"/>
                  </a:lnTo>
                  <a:lnTo>
                    <a:pt x="853" y="916"/>
                  </a:lnTo>
                  <a:lnTo>
                    <a:pt x="854" y="922"/>
                  </a:lnTo>
                  <a:lnTo>
                    <a:pt x="844" y="927"/>
                  </a:lnTo>
                  <a:lnTo>
                    <a:pt x="846" y="928"/>
                  </a:lnTo>
                  <a:lnTo>
                    <a:pt x="842" y="930"/>
                  </a:lnTo>
                  <a:lnTo>
                    <a:pt x="846" y="928"/>
                  </a:lnTo>
                  <a:lnTo>
                    <a:pt x="858" y="928"/>
                  </a:lnTo>
                  <a:lnTo>
                    <a:pt x="866" y="922"/>
                  </a:lnTo>
                  <a:lnTo>
                    <a:pt x="866" y="932"/>
                  </a:lnTo>
                  <a:lnTo>
                    <a:pt x="858" y="942"/>
                  </a:lnTo>
                  <a:lnTo>
                    <a:pt x="849" y="954"/>
                  </a:lnTo>
                  <a:lnTo>
                    <a:pt x="846" y="952"/>
                  </a:lnTo>
                  <a:lnTo>
                    <a:pt x="847" y="952"/>
                  </a:lnTo>
                  <a:lnTo>
                    <a:pt x="842" y="947"/>
                  </a:lnTo>
                  <a:lnTo>
                    <a:pt x="834" y="951"/>
                  </a:lnTo>
                  <a:lnTo>
                    <a:pt x="835" y="947"/>
                  </a:lnTo>
                  <a:lnTo>
                    <a:pt x="824" y="949"/>
                  </a:lnTo>
                  <a:lnTo>
                    <a:pt x="822" y="947"/>
                  </a:lnTo>
                  <a:lnTo>
                    <a:pt x="818" y="947"/>
                  </a:lnTo>
                  <a:lnTo>
                    <a:pt x="820" y="951"/>
                  </a:lnTo>
                  <a:lnTo>
                    <a:pt x="824" y="952"/>
                  </a:lnTo>
                  <a:lnTo>
                    <a:pt x="832" y="951"/>
                  </a:lnTo>
                  <a:lnTo>
                    <a:pt x="830" y="957"/>
                  </a:lnTo>
                  <a:lnTo>
                    <a:pt x="837" y="964"/>
                  </a:lnTo>
                  <a:lnTo>
                    <a:pt x="835" y="964"/>
                  </a:lnTo>
                  <a:lnTo>
                    <a:pt x="837" y="966"/>
                  </a:lnTo>
                  <a:lnTo>
                    <a:pt x="834" y="971"/>
                  </a:lnTo>
                  <a:lnTo>
                    <a:pt x="830" y="973"/>
                  </a:lnTo>
                  <a:lnTo>
                    <a:pt x="835" y="973"/>
                  </a:lnTo>
                  <a:lnTo>
                    <a:pt x="839" y="964"/>
                  </a:lnTo>
                  <a:lnTo>
                    <a:pt x="844" y="966"/>
                  </a:lnTo>
                  <a:lnTo>
                    <a:pt x="837" y="980"/>
                  </a:lnTo>
                  <a:lnTo>
                    <a:pt x="829" y="1005"/>
                  </a:lnTo>
                  <a:lnTo>
                    <a:pt x="820" y="1005"/>
                  </a:lnTo>
                  <a:lnTo>
                    <a:pt x="820" y="993"/>
                  </a:lnTo>
                  <a:lnTo>
                    <a:pt x="817" y="1004"/>
                  </a:lnTo>
                  <a:lnTo>
                    <a:pt x="810" y="1007"/>
                  </a:lnTo>
                  <a:lnTo>
                    <a:pt x="796" y="995"/>
                  </a:lnTo>
                  <a:lnTo>
                    <a:pt x="803" y="1009"/>
                  </a:lnTo>
                  <a:lnTo>
                    <a:pt x="793" y="1009"/>
                  </a:lnTo>
                  <a:lnTo>
                    <a:pt x="815" y="1016"/>
                  </a:lnTo>
                  <a:lnTo>
                    <a:pt x="827" y="1012"/>
                  </a:lnTo>
                  <a:lnTo>
                    <a:pt x="818" y="1031"/>
                  </a:lnTo>
                  <a:lnTo>
                    <a:pt x="822" y="1039"/>
                  </a:lnTo>
                  <a:lnTo>
                    <a:pt x="813" y="1041"/>
                  </a:lnTo>
                  <a:lnTo>
                    <a:pt x="813" y="1055"/>
                  </a:lnTo>
                  <a:lnTo>
                    <a:pt x="820" y="1062"/>
                  </a:lnTo>
                  <a:lnTo>
                    <a:pt x="824" y="1082"/>
                  </a:lnTo>
                  <a:lnTo>
                    <a:pt x="825" y="1091"/>
                  </a:lnTo>
                  <a:lnTo>
                    <a:pt x="822" y="1094"/>
                  </a:lnTo>
                  <a:lnTo>
                    <a:pt x="825" y="1104"/>
                  </a:lnTo>
                  <a:lnTo>
                    <a:pt x="830" y="1108"/>
                  </a:lnTo>
                  <a:lnTo>
                    <a:pt x="832" y="1127"/>
                  </a:lnTo>
                  <a:lnTo>
                    <a:pt x="842" y="1139"/>
                  </a:lnTo>
                  <a:lnTo>
                    <a:pt x="839" y="1145"/>
                  </a:lnTo>
                  <a:lnTo>
                    <a:pt x="846" y="1145"/>
                  </a:lnTo>
                  <a:lnTo>
                    <a:pt x="849" y="1151"/>
                  </a:lnTo>
                  <a:lnTo>
                    <a:pt x="837" y="1149"/>
                  </a:lnTo>
                  <a:lnTo>
                    <a:pt x="837" y="1152"/>
                  </a:lnTo>
                  <a:lnTo>
                    <a:pt x="829" y="1154"/>
                  </a:lnTo>
                  <a:lnTo>
                    <a:pt x="829" y="1163"/>
                  </a:lnTo>
                  <a:lnTo>
                    <a:pt x="824" y="1163"/>
                  </a:lnTo>
                  <a:lnTo>
                    <a:pt x="808" y="1152"/>
                  </a:lnTo>
                  <a:lnTo>
                    <a:pt x="810" y="1151"/>
                  </a:lnTo>
                  <a:lnTo>
                    <a:pt x="806" y="1149"/>
                  </a:lnTo>
                  <a:lnTo>
                    <a:pt x="803" y="1142"/>
                  </a:lnTo>
                  <a:lnTo>
                    <a:pt x="782" y="1139"/>
                  </a:lnTo>
                  <a:lnTo>
                    <a:pt x="765" y="1139"/>
                  </a:lnTo>
                  <a:lnTo>
                    <a:pt x="762" y="1140"/>
                  </a:lnTo>
                  <a:lnTo>
                    <a:pt x="760" y="1137"/>
                  </a:lnTo>
                  <a:lnTo>
                    <a:pt x="750" y="1139"/>
                  </a:lnTo>
                  <a:lnTo>
                    <a:pt x="741" y="1133"/>
                  </a:lnTo>
                  <a:lnTo>
                    <a:pt x="743" y="1132"/>
                  </a:lnTo>
                  <a:lnTo>
                    <a:pt x="741" y="1130"/>
                  </a:lnTo>
                  <a:lnTo>
                    <a:pt x="738" y="1132"/>
                  </a:lnTo>
                  <a:lnTo>
                    <a:pt x="736" y="1127"/>
                  </a:lnTo>
                  <a:lnTo>
                    <a:pt x="731" y="1127"/>
                  </a:lnTo>
                  <a:lnTo>
                    <a:pt x="726" y="1120"/>
                  </a:lnTo>
                  <a:lnTo>
                    <a:pt x="723" y="1122"/>
                  </a:lnTo>
                  <a:lnTo>
                    <a:pt x="711" y="1116"/>
                  </a:lnTo>
                  <a:lnTo>
                    <a:pt x="704" y="1118"/>
                  </a:lnTo>
                  <a:lnTo>
                    <a:pt x="690" y="1103"/>
                  </a:lnTo>
                  <a:lnTo>
                    <a:pt x="682" y="1104"/>
                  </a:lnTo>
                  <a:lnTo>
                    <a:pt x="678" y="1101"/>
                  </a:lnTo>
                  <a:lnTo>
                    <a:pt x="663" y="1098"/>
                  </a:lnTo>
                  <a:lnTo>
                    <a:pt x="663" y="1091"/>
                  </a:lnTo>
                  <a:lnTo>
                    <a:pt x="658" y="1084"/>
                  </a:lnTo>
                  <a:lnTo>
                    <a:pt x="658" y="1080"/>
                  </a:lnTo>
                  <a:lnTo>
                    <a:pt x="647" y="1050"/>
                  </a:lnTo>
                  <a:lnTo>
                    <a:pt x="637" y="1041"/>
                  </a:lnTo>
                  <a:lnTo>
                    <a:pt x="637" y="1036"/>
                  </a:lnTo>
                  <a:lnTo>
                    <a:pt x="632" y="1031"/>
                  </a:lnTo>
                  <a:lnTo>
                    <a:pt x="634" y="1014"/>
                  </a:lnTo>
                  <a:lnTo>
                    <a:pt x="632" y="1005"/>
                  </a:lnTo>
                  <a:lnTo>
                    <a:pt x="624" y="1000"/>
                  </a:lnTo>
                  <a:lnTo>
                    <a:pt x="630" y="983"/>
                  </a:lnTo>
                  <a:lnTo>
                    <a:pt x="627" y="981"/>
                  </a:lnTo>
                  <a:lnTo>
                    <a:pt x="625" y="969"/>
                  </a:lnTo>
                  <a:lnTo>
                    <a:pt x="608" y="963"/>
                  </a:lnTo>
                  <a:lnTo>
                    <a:pt x="600" y="951"/>
                  </a:lnTo>
                  <a:lnTo>
                    <a:pt x="594" y="949"/>
                  </a:lnTo>
                  <a:lnTo>
                    <a:pt x="589" y="928"/>
                  </a:lnTo>
                  <a:lnTo>
                    <a:pt x="584" y="927"/>
                  </a:lnTo>
                  <a:lnTo>
                    <a:pt x="574" y="910"/>
                  </a:lnTo>
                  <a:lnTo>
                    <a:pt x="564" y="904"/>
                  </a:lnTo>
                  <a:lnTo>
                    <a:pt x="564" y="899"/>
                  </a:lnTo>
                  <a:lnTo>
                    <a:pt x="557" y="896"/>
                  </a:lnTo>
                  <a:lnTo>
                    <a:pt x="557" y="891"/>
                  </a:lnTo>
                  <a:lnTo>
                    <a:pt x="552" y="882"/>
                  </a:lnTo>
                  <a:lnTo>
                    <a:pt x="550" y="874"/>
                  </a:lnTo>
                  <a:lnTo>
                    <a:pt x="553" y="872"/>
                  </a:lnTo>
                  <a:lnTo>
                    <a:pt x="547" y="867"/>
                  </a:lnTo>
                  <a:lnTo>
                    <a:pt x="548" y="862"/>
                  </a:lnTo>
                  <a:lnTo>
                    <a:pt x="540" y="853"/>
                  </a:lnTo>
                  <a:lnTo>
                    <a:pt x="531" y="829"/>
                  </a:lnTo>
                  <a:lnTo>
                    <a:pt x="526" y="826"/>
                  </a:lnTo>
                  <a:lnTo>
                    <a:pt x="526" y="809"/>
                  </a:lnTo>
                  <a:lnTo>
                    <a:pt x="516" y="799"/>
                  </a:lnTo>
                  <a:lnTo>
                    <a:pt x="514" y="790"/>
                  </a:lnTo>
                  <a:lnTo>
                    <a:pt x="495" y="775"/>
                  </a:lnTo>
                  <a:lnTo>
                    <a:pt x="490" y="764"/>
                  </a:lnTo>
                  <a:lnTo>
                    <a:pt x="473" y="758"/>
                  </a:lnTo>
                  <a:lnTo>
                    <a:pt x="473" y="747"/>
                  </a:lnTo>
                  <a:lnTo>
                    <a:pt x="468" y="752"/>
                  </a:lnTo>
                  <a:lnTo>
                    <a:pt x="470" y="744"/>
                  </a:lnTo>
                  <a:lnTo>
                    <a:pt x="463" y="744"/>
                  </a:lnTo>
                  <a:lnTo>
                    <a:pt x="459" y="734"/>
                  </a:lnTo>
                  <a:lnTo>
                    <a:pt x="461" y="732"/>
                  </a:lnTo>
                  <a:lnTo>
                    <a:pt x="456" y="732"/>
                  </a:lnTo>
                  <a:lnTo>
                    <a:pt x="454" y="728"/>
                  </a:lnTo>
                  <a:lnTo>
                    <a:pt x="448" y="732"/>
                  </a:lnTo>
                  <a:lnTo>
                    <a:pt x="448" y="727"/>
                  </a:lnTo>
                  <a:lnTo>
                    <a:pt x="444" y="730"/>
                  </a:lnTo>
                  <a:lnTo>
                    <a:pt x="439" y="732"/>
                  </a:lnTo>
                  <a:lnTo>
                    <a:pt x="427" y="727"/>
                  </a:lnTo>
                  <a:lnTo>
                    <a:pt x="424" y="728"/>
                  </a:lnTo>
                  <a:lnTo>
                    <a:pt x="422" y="723"/>
                  </a:lnTo>
                  <a:lnTo>
                    <a:pt x="412" y="727"/>
                  </a:lnTo>
                  <a:lnTo>
                    <a:pt x="408" y="723"/>
                  </a:lnTo>
                  <a:lnTo>
                    <a:pt x="400" y="725"/>
                  </a:lnTo>
                  <a:lnTo>
                    <a:pt x="376" y="715"/>
                  </a:lnTo>
                  <a:lnTo>
                    <a:pt x="371" y="718"/>
                  </a:lnTo>
                  <a:lnTo>
                    <a:pt x="369" y="725"/>
                  </a:lnTo>
                  <a:lnTo>
                    <a:pt x="359" y="723"/>
                  </a:lnTo>
                  <a:lnTo>
                    <a:pt x="354" y="727"/>
                  </a:lnTo>
                  <a:lnTo>
                    <a:pt x="352" y="723"/>
                  </a:lnTo>
                  <a:lnTo>
                    <a:pt x="345" y="728"/>
                  </a:lnTo>
                  <a:lnTo>
                    <a:pt x="342" y="727"/>
                  </a:lnTo>
                  <a:lnTo>
                    <a:pt x="328" y="749"/>
                  </a:lnTo>
                  <a:lnTo>
                    <a:pt x="326" y="761"/>
                  </a:lnTo>
                  <a:lnTo>
                    <a:pt x="319" y="766"/>
                  </a:lnTo>
                  <a:lnTo>
                    <a:pt x="316" y="775"/>
                  </a:lnTo>
                  <a:lnTo>
                    <a:pt x="321" y="780"/>
                  </a:lnTo>
                  <a:lnTo>
                    <a:pt x="309" y="783"/>
                  </a:lnTo>
                  <a:lnTo>
                    <a:pt x="292" y="805"/>
                  </a:lnTo>
                  <a:lnTo>
                    <a:pt x="282" y="800"/>
                  </a:lnTo>
                  <a:lnTo>
                    <a:pt x="280" y="804"/>
                  </a:lnTo>
                  <a:lnTo>
                    <a:pt x="275" y="795"/>
                  </a:lnTo>
                  <a:lnTo>
                    <a:pt x="271" y="797"/>
                  </a:lnTo>
                  <a:lnTo>
                    <a:pt x="263" y="792"/>
                  </a:lnTo>
                  <a:lnTo>
                    <a:pt x="258" y="785"/>
                  </a:lnTo>
                  <a:lnTo>
                    <a:pt x="241" y="778"/>
                  </a:lnTo>
                  <a:lnTo>
                    <a:pt x="239" y="773"/>
                  </a:lnTo>
                  <a:lnTo>
                    <a:pt x="234" y="773"/>
                  </a:lnTo>
                  <a:lnTo>
                    <a:pt x="237" y="768"/>
                  </a:lnTo>
                  <a:lnTo>
                    <a:pt x="234" y="769"/>
                  </a:lnTo>
                  <a:lnTo>
                    <a:pt x="212" y="761"/>
                  </a:lnTo>
                  <a:lnTo>
                    <a:pt x="200" y="752"/>
                  </a:lnTo>
                  <a:lnTo>
                    <a:pt x="198" y="742"/>
                  </a:lnTo>
                  <a:lnTo>
                    <a:pt x="183" y="734"/>
                  </a:lnTo>
                  <a:lnTo>
                    <a:pt x="169" y="720"/>
                  </a:lnTo>
                  <a:lnTo>
                    <a:pt x="166" y="705"/>
                  </a:lnTo>
                  <a:lnTo>
                    <a:pt x="159" y="694"/>
                  </a:lnTo>
                  <a:lnTo>
                    <a:pt x="157" y="677"/>
                  </a:lnTo>
                  <a:lnTo>
                    <a:pt x="160" y="669"/>
                  </a:lnTo>
                  <a:lnTo>
                    <a:pt x="159" y="658"/>
                  </a:lnTo>
                  <a:lnTo>
                    <a:pt x="150" y="645"/>
                  </a:lnTo>
                  <a:lnTo>
                    <a:pt x="150" y="643"/>
                  </a:lnTo>
                  <a:lnTo>
                    <a:pt x="147" y="641"/>
                  </a:lnTo>
                  <a:lnTo>
                    <a:pt x="145" y="621"/>
                  </a:lnTo>
                  <a:lnTo>
                    <a:pt x="136" y="612"/>
                  </a:lnTo>
                  <a:lnTo>
                    <a:pt x="136" y="609"/>
                  </a:lnTo>
                  <a:lnTo>
                    <a:pt x="130" y="607"/>
                  </a:lnTo>
                  <a:lnTo>
                    <a:pt x="118" y="593"/>
                  </a:lnTo>
                  <a:lnTo>
                    <a:pt x="113" y="593"/>
                  </a:lnTo>
                  <a:lnTo>
                    <a:pt x="111" y="590"/>
                  </a:lnTo>
                  <a:lnTo>
                    <a:pt x="107" y="592"/>
                  </a:lnTo>
                  <a:lnTo>
                    <a:pt x="102" y="587"/>
                  </a:lnTo>
                  <a:lnTo>
                    <a:pt x="101" y="581"/>
                  </a:lnTo>
                  <a:lnTo>
                    <a:pt x="89" y="570"/>
                  </a:lnTo>
                  <a:lnTo>
                    <a:pt x="85" y="559"/>
                  </a:lnTo>
                  <a:lnTo>
                    <a:pt x="70" y="549"/>
                  </a:lnTo>
                  <a:lnTo>
                    <a:pt x="53" y="523"/>
                  </a:lnTo>
                  <a:close/>
                  <a:moveTo>
                    <a:pt x="1066" y="800"/>
                  </a:moveTo>
                  <a:lnTo>
                    <a:pt x="1080" y="790"/>
                  </a:lnTo>
                  <a:lnTo>
                    <a:pt x="1082" y="793"/>
                  </a:lnTo>
                  <a:lnTo>
                    <a:pt x="1047" y="817"/>
                  </a:lnTo>
                  <a:lnTo>
                    <a:pt x="1066" y="800"/>
                  </a:lnTo>
                  <a:close/>
                  <a:moveTo>
                    <a:pt x="926" y="898"/>
                  </a:moveTo>
                  <a:lnTo>
                    <a:pt x="885" y="927"/>
                  </a:lnTo>
                  <a:lnTo>
                    <a:pt x="887" y="916"/>
                  </a:lnTo>
                  <a:lnTo>
                    <a:pt x="894" y="915"/>
                  </a:lnTo>
                  <a:lnTo>
                    <a:pt x="914" y="901"/>
                  </a:lnTo>
                  <a:lnTo>
                    <a:pt x="919" y="899"/>
                  </a:lnTo>
                  <a:lnTo>
                    <a:pt x="924" y="893"/>
                  </a:lnTo>
                  <a:lnTo>
                    <a:pt x="926" y="898"/>
                  </a:lnTo>
                  <a:close/>
                  <a:moveTo>
                    <a:pt x="875" y="928"/>
                  </a:moveTo>
                  <a:lnTo>
                    <a:pt x="882" y="920"/>
                  </a:lnTo>
                  <a:lnTo>
                    <a:pt x="885" y="923"/>
                  </a:lnTo>
                  <a:lnTo>
                    <a:pt x="883" y="928"/>
                  </a:lnTo>
                  <a:lnTo>
                    <a:pt x="865" y="951"/>
                  </a:lnTo>
                  <a:lnTo>
                    <a:pt x="866" y="942"/>
                  </a:lnTo>
                  <a:lnTo>
                    <a:pt x="873" y="935"/>
                  </a:lnTo>
                  <a:lnTo>
                    <a:pt x="871" y="934"/>
                  </a:lnTo>
                  <a:lnTo>
                    <a:pt x="875" y="928"/>
                  </a:lnTo>
                  <a:close/>
                  <a:moveTo>
                    <a:pt x="834" y="1009"/>
                  </a:moveTo>
                  <a:lnTo>
                    <a:pt x="832" y="1017"/>
                  </a:lnTo>
                  <a:lnTo>
                    <a:pt x="832" y="1009"/>
                  </a:lnTo>
                  <a:lnTo>
                    <a:pt x="835" y="993"/>
                  </a:lnTo>
                  <a:lnTo>
                    <a:pt x="844" y="978"/>
                  </a:lnTo>
                  <a:lnTo>
                    <a:pt x="844" y="971"/>
                  </a:lnTo>
                  <a:lnTo>
                    <a:pt x="849" y="975"/>
                  </a:lnTo>
                  <a:lnTo>
                    <a:pt x="853" y="964"/>
                  </a:lnTo>
                  <a:lnTo>
                    <a:pt x="861" y="954"/>
                  </a:lnTo>
                  <a:lnTo>
                    <a:pt x="858" y="952"/>
                  </a:lnTo>
                  <a:lnTo>
                    <a:pt x="863" y="952"/>
                  </a:lnTo>
                  <a:lnTo>
                    <a:pt x="847" y="980"/>
                  </a:lnTo>
                  <a:lnTo>
                    <a:pt x="834" y="1009"/>
                  </a:lnTo>
                  <a:close/>
                  <a:moveTo>
                    <a:pt x="837" y="1082"/>
                  </a:moveTo>
                  <a:lnTo>
                    <a:pt x="832" y="1070"/>
                  </a:lnTo>
                  <a:lnTo>
                    <a:pt x="830" y="1058"/>
                  </a:lnTo>
                  <a:lnTo>
                    <a:pt x="829" y="1048"/>
                  </a:lnTo>
                  <a:lnTo>
                    <a:pt x="829" y="1028"/>
                  </a:lnTo>
                  <a:lnTo>
                    <a:pt x="830" y="1019"/>
                  </a:lnTo>
                  <a:lnTo>
                    <a:pt x="832" y="1017"/>
                  </a:lnTo>
                  <a:lnTo>
                    <a:pt x="830" y="1029"/>
                  </a:lnTo>
                  <a:lnTo>
                    <a:pt x="830" y="1045"/>
                  </a:lnTo>
                  <a:lnTo>
                    <a:pt x="832" y="1060"/>
                  </a:lnTo>
                  <a:lnTo>
                    <a:pt x="839" y="1082"/>
                  </a:lnTo>
                  <a:lnTo>
                    <a:pt x="844" y="1101"/>
                  </a:lnTo>
                  <a:lnTo>
                    <a:pt x="847" y="1118"/>
                  </a:lnTo>
                  <a:lnTo>
                    <a:pt x="849" y="1137"/>
                  </a:lnTo>
                  <a:lnTo>
                    <a:pt x="849" y="1139"/>
                  </a:lnTo>
                  <a:lnTo>
                    <a:pt x="846" y="1120"/>
                  </a:lnTo>
                  <a:lnTo>
                    <a:pt x="846" y="1110"/>
                  </a:lnTo>
                  <a:lnTo>
                    <a:pt x="842" y="1101"/>
                  </a:lnTo>
                  <a:lnTo>
                    <a:pt x="841" y="1096"/>
                  </a:lnTo>
                  <a:lnTo>
                    <a:pt x="841" y="1089"/>
                  </a:lnTo>
                  <a:lnTo>
                    <a:pt x="837" y="108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7" name="Freeform 46"/>
            <p:cNvSpPr>
              <a:spLocks/>
            </p:cNvSpPr>
            <p:nvPr/>
          </p:nvSpPr>
          <p:spPr bwMode="gray">
            <a:xfrm>
              <a:off x="3352023" y="3984814"/>
              <a:ext cx="954885" cy="988701"/>
            </a:xfrm>
            <a:custGeom>
              <a:avLst/>
              <a:gdLst/>
              <a:ahLst/>
              <a:cxnLst>
                <a:cxn ang="0">
                  <a:pos x="15" y="487"/>
                </a:cxn>
                <a:cxn ang="0">
                  <a:pos x="20" y="451"/>
                </a:cxn>
                <a:cxn ang="0">
                  <a:pos x="25" y="405"/>
                </a:cxn>
                <a:cxn ang="0">
                  <a:pos x="34" y="344"/>
                </a:cxn>
                <a:cxn ang="0">
                  <a:pos x="46" y="258"/>
                </a:cxn>
                <a:cxn ang="0">
                  <a:pos x="53" y="219"/>
                </a:cxn>
                <a:cxn ang="0">
                  <a:pos x="68" y="108"/>
                </a:cxn>
                <a:cxn ang="0">
                  <a:pos x="82" y="0"/>
                </a:cxn>
                <a:cxn ang="0">
                  <a:pos x="138" y="9"/>
                </a:cxn>
                <a:cxn ang="0">
                  <a:pos x="215" y="17"/>
                </a:cxn>
                <a:cxn ang="0">
                  <a:pos x="220" y="19"/>
                </a:cxn>
                <a:cxn ang="0">
                  <a:pos x="265" y="24"/>
                </a:cxn>
                <a:cxn ang="0">
                  <a:pos x="266" y="26"/>
                </a:cxn>
                <a:cxn ang="0">
                  <a:pos x="299" y="29"/>
                </a:cxn>
                <a:cxn ang="0">
                  <a:pos x="340" y="33"/>
                </a:cxn>
                <a:cxn ang="0">
                  <a:pos x="364" y="34"/>
                </a:cxn>
                <a:cxn ang="0">
                  <a:pos x="407" y="39"/>
                </a:cxn>
                <a:cxn ang="0">
                  <a:pos x="412" y="39"/>
                </a:cxn>
                <a:cxn ang="0">
                  <a:pos x="509" y="48"/>
                </a:cxn>
                <a:cxn ang="0">
                  <a:pos x="586" y="55"/>
                </a:cxn>
                <a:cxn ang="0">
                  <a:pos x="593" y="55"/>
                </a:cxn>
                <a:cxn ang="0">
                  <a:pos x="589" y="109"/>
                </a:cxn>
                <a:cxn ang="0">
                  <a:pos x="588" y="109"/>
                </a:cxn>
                <a:cxn ang="0">
                  <a:pos x="584" y="156"/>
                </a:cxn>
                <a:cxn ang="0">
                  <a:pos x="581" y="190"/>
                </a:cxn>
                <a:cxn ang="0">
                  <a:pos x="581" y="203"/>
                </a:cxn>
                <a:cxn ang="0">
                  <a:pos x="576" y="251"/>
                </a:cxn>
                <a:cxn ang="0">
                  <a:pos x="576" y="274"/>
                </a:cxn>
                <a:cxn ang="0">
                  <a:pos x="574" y="297"/>
                </a:cxn>
                <a:cxn ang="0">
                  <a:pos x="569" y="344"/>
                </a:cxn>
                <a:cxn ang="0">
                  <a:pos x="566" y="397"/>
                </a:cxn>
                <a:cxn ang="0">
                  <a:pos x="562" y="424"/>
                </a:cxn>
                <a:cxn ang="0">
                  <a:pos x="560" y="444"/>
                </a:cxn>
                <a:cxn ang="0">
                  <a:pos x="557" y="489"/>
                </a:cxn>
                <a:cxn ang="0">
                  <a:pos x="552" y="537"/>
                </a:cxn>
                <a:cxn ang="0">
                  <a:pos x="550" y="583"/>
                </a:cxn>
                <a:cxn ang="0">
                  <a:pos x="548" y="591"/>
                </a:cxn>
                <a:cxn ang="0">
                  <a:pos x="525" y="590"/>
                </a:cxn>
                <a:cxn ang="0">
                  <a:pos x="489" y="586"/>
                </a:cxn>
                <a:cxn ang="0">
                  <a:pos x="465" y="585"/>
                </a:cxn>
                <a:cxn ang="0">
                  <a:pos x="461" y="585"/>
                </a:cxn>
                <a:cxn ang="0">
                  <a:pos x="386" y="578"/>
                </a:cxn>
                <a:cxn ang="0">
                  <a:pos x="379" y="578"/>
                </a:cxn>
                <a:cxn ang="0">
                  <a:pos x="282" y="567"/>
                </a:cxn>
                <a:cxn ang="0">
                  <a:pos x="249" y="564"/>
                </a:cxn>
                <a:cxn ang="0">
                  <a:pos x="227" y="562"/>
                </a:cxn>
                <a:cxn ang="0">
                  <a:pos x="224" y="564"/>
                </a:cxn>
                <a:cxn ang="0">
                  <a:pos x="225" y="564"/>
                </a:cxn>
                <a:cxn ang="0">
                  <a:pos x="225" y="571"/>
                </a:cxn>
                <a:cxn ang="0">
                  <a:pos x="224" y="573"/>
                </a:cxn>
                <a:cxn ang="0">
                  <a:pos x="225" y="578"/>
                </a:cxn>
                <a:cxn ang="0">
                  <a:pos x="225" y="581"/>
                </a:cxn>
                <a:cxn ang="0">
                  <a:pos x="232" y="585"/>
                </a:cxn>
                <a:cxn ang="0">
                  <a:pos x="164" y="578"/>
                </a:cxn>
                <a:cxn ang="0">
                  <a:pos x="82" y="567"/>
                </a:cxn>
                <a:cxn ang="0">
                  <a:pos x="75" y="614"/>
                </a:cxn>
                <a:cxn ang="0">
                  <a:pos x="0" y="603"/>
                </a:cxn>
                <a:cxn ang="0">
                  <a:pos x="15" y="487"/>
                </a:cxn>
              </a:cxnLst>
              <a:rect l="0" t="0" r="r" b="b"/>
              <a:pathLst>
                <a:path w="593" h="614">
                  <a:moveTo>
                    <a:pt x="15" y="487"/>
                  </a:moveTo>
                  <a:lnTo>
                    <a:pt x="20" y="451"/>
                  </a:lnTo>
                  <a:lnTo>
                    <a:pt x="25" y="405"/>
                  </a:lnTo>
                  <a:lnTo>
                    <a:pt x="34" y="344"/>
                  </a:lnTo>
                  <a:lnTo>
                    <a:pt x="46" y="258"/>
                  </a:lnTo>
                  <a:lnTo>
                    <a:pt x="53" y="219"/>
                  </a:lnTo>
                  <a:lnTo>
                    <a:pt x="68" y="108"/>
                  </a:lnTo>
                  <a:lnTo>
                    <a:pt x="82" y="0"/>
                  </a:lnTo>
                  <a:lnTo>
                    <a:pt x="138" y="9"/>
                  </a:lnTo>
                  <a:lnTo>
                    <a:pt x="215" y="17"/>
                  </a:lnTo>
                  <a:lnTo>
                    <a:pt x="220" y="19"/>
                  </a:lnTo>
                  <a:lnTo>
                    <a:pt x="265" y="24"/>
                  </a:lnTo>
                  <a:lnTo>
                    <a:pt x="266" y="26"/>
                  </a:lnTo>
                  <a:lnTo>
                    <a:pt x="299" y="29"/>
                  </a:lnTo>
                  <a:lnTo>
                    <a:pt x="340" y="33"/>
                  </a:lnTo>
                  <a:lnTo>
                    <a:pt x="364" y="34"/>
                  </a:lnTo>
                  <a:lnTo>
                    <a:pt x="407" y="39"/>
                  </a:lnTo>
                  <a:lnTo>
                    <a:pt x="412" y="39"/>
                  </a:lnTo>
                  <a:lnTo>
                    <a:pt x="509" y="48"/>
                  </a:lnTo>
                  <a:lnTo>
                    <a:pt x="586" y="55"/>
                  </a:lnTo>
                  <a:lnTo>
                    <a:pt x="593" y="55"/>
                  </a:lnTo>
                  <a:lnTo>
                    <a:pt x="589" y="109"/>
                  </a:lnTo>
                  <a:lnTo>
                    <a:pt x="588" y="109"/>
                  </a:lnTo>
                  <a:lnTo>
                    <a:pt x="584" y="156"/>
                  </a:lnTo>
                  <a:lnTo>
                    <a:pt x="581" y="190"/>
                  </a:lnTo>
                  <a:lnTo>
                    <a:pt x="581" y="203"/>
                  </a:lnTo>
                  <a:lnTo>
                    <a:pt x="576" y="251"/>
                  </a:lnTo>
                  <a:lnTo>
                    <a:pt x="576" y="274"/>
                  </a:lnTo>
                  <a:lnTo>
                    <a:pt x="574" y="297"/>
                  </a:lnTo>
                  <a:lnTo>
                    <a:pt x="569" y="344"/>
                  </a:lnTo>
                  <a:lnTo>
                    <a:pt x="566" y="397"/>
                  </a:lnTo>
                  <a:lnTo>
                    <a:pt x="562" y="424"/>
                  </a:lnTo>
                  <a:lnTo>
                    <a:pt x="560" y="444"/>
                  </a:lnTo>
                  <a:lnTo>
                    <a:pt x="557" y="489"/>
                  </a:lnTo>
                  <a:lnTo>
                    <a:pt x="552" y="537"/>
                  </a:lnTo>
                  <a:lnTo>
                    <a:pt x="550" y="583"/>
                  </a:lnTo>
                  <a:lnTo>
                    <a:pt x="548" y="591"/>
                  </a:lnTo>
                  <a:lnTo>
                    <a:pt x="525" y="590"/>
                  </a:lnTo>
                  <a:lnTo>
                    <a:pt x="489" y="586"/>
                  </a:lnTo>
                  <a:lnTo>
                    <a:pt x="465" y="585"/>
                  </a:lnTo>
                  <a:lnTo>
                    <a:pt x="461" y="585"/>
                  </a:lnTo>
                  <a:lnTo>
                    <a:pt x="386" y="578"/>
                  </a:lnTo>
                  <a:lnTo>
                    <a:pt x="379" y="578"/>
                  </a:lnTo>
                  <a:lnTo>
                    <a:pt x="282" y="567"/>
                  </a:lnTo>
                  <a:lnTo>
                    <a:pt x="249" y="564"/>
                  </a:lnTo>
                  <a:lnTo>
                    <a:pt x="227" y="562"/>
                  </a:lnTo>
                  <a:lnTo>
                    <a:pt x="224" y="564"/>
                  </a:lnTo>
                  <a:lnTo>
                    <a:pt x="225" y="564"/>
                  </a:lnTo>
                  <a:lnTo>
                    <a:pt x="225" y="571"/>
                  </a:lnTo>
                  <a:lnTo>
                    <a:pt x="224" y="573"/>
                  </a:lnTo>
                  <a:lnTo>
                    <a:pt x="225" y="578"/>
                  </a:lnTo>
                  <a:lnTo>
                    <a:pt x="225" y="581"/>
                  </a:lnTo>
                  <a:lnTo>
                    <a:pt x="232" y="585"/>
                  </a:lnTo>
                  <a:lnTo>
                    <a:pt x="164" y="578"/>
                  </a:lnTo>
                  <a:lnTo>
                    <a:pt x="82" y="567"/>
                  </a:lnTo>
                  <a:lnTo>
                    <a:pt x="75" y="614"/>
                  </a:lnTo>
                  <a:lnTo>
                    <a:pt x="0" y="603"/>
                  </a:lnTo>
                  <a:lnTo>
                    <a:pt x="15" y="487"/>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8" name="Freeform 47"/>
            <p:cNvSpPr>
              <a:spLocks/>
            </p:cNvSpPr>
            <p:nvPr/>
          </p:nvSpPr>
          <p:spPr bwMode="gray">
            <a:xfrm>
              <a:off x="6359992" y="4377718"/>
              <a:ext cx="528166" cy="853439"/>
            </a:xfrm>
            <a:custGeom>
              <a:avLst/>
              <a:gdLst/>
              <a:ahLst/>
              <a:cxnLst>
                <a:cxn ang="0">
                  <a:pos x="304" y="330"/>
                </a:cxn>
                <a:cxn ang="0">
                  <a:pos x="308" y="344"/>
                </a:cxn>
                <a:cxn ang="0">
                  <a:pos x="314" y="354"/>
                </a:cxn>
                <a:cxn ang="0">
                  <a:pos x="316" y="370"/>
                </a:cxn>
                <a:cxn ang="0">
                  <a:pos x="316" y="385"/>
                </a:cxn>
                <a:cxn ang="0">
                  <a:pos x="316" y="397"/>
                </a:cxn>
                <a:cxn ang="0">
                  <a:pos x="319" y="404"/>
                </a:cxn>
                <a:cxn ang="0">
                  <a:pos x="328" y="421"/>
                </a:cxn>
                <a:cxn ang="0">
                  <a:pos x="234" y="431"/>
                </a:cxn>
                <a:cxn ang="0">
                  <a:pos x="173" y="438"/>
                </a:cxn>
                <a:cxn ang="0">
                  <a:pos x="90" y="445"/>
                </a:cxn>
                <a:cxn ang="0">
                  <a:pos x="90" y="460"/>
                </a:cxn>
                <a:cxn ang="0">
                  <a:pos x="106" y="476"/>
                </a:cxn>
                <a:cxn ang="0">
                  <a:pos x="113" y="484"/>
                </a:cxn>
                <a:cxn ang="0">
                  <a:pos x="111" y="498"/>
                </a:cxn>
                <a:cxn ang="0">
                  <a:pos x="97" y="517"/>
                </a:cxn>
                <a:cxn ang="0">
                  <a:pos x="60" y="530"/>
                </a:cxn>
                <a:cxn ang="0">
                  <a:pos x="68" y="508"/>
                </a:cxn>
                <a:cxn ang="0">
                  <a:pos x="48" y="520"/>
                </a:cxn>
                <a:cxn ang="0">
                  <a:pos x="17" y="479"/>
                </a:cxn>
                <a:cxn ang="0">
                  <a:pos x="8" y="405"/>
                </a:cxn>
                <a:cxn ang="0">
                  <a:pos x="3" y="320"/>
                </a:cxn>
                <a:cxn ang="0">
                  <a:pos x="5" y="245"/>
                </a:cxn>
                <a:cxn ang="0">
                  <a:pos x="7" y="178"/>
                </a:cxn>
                <a:cxn ang="0">
                  <a:pos x="8" y="118"/>
                </a:cxn>
                <a:cxn ang="0">
                  <a:pos x="8" y="65"/>
                </a:cxn>
                <a:cxn ang="0">
                  <a:pos x="5" y="28"/>
                </a:cxn>
                <a:cxn ang="0">
                  <a:pos x="19" y="18"/>
                </a:cxn>
                <a:cxn ang="0">
                  <a:pos x="85" y="12"/>
                </a:cxn>
                <a:cxn ang="0">
                  <a:pos x="164" y="6"/>
                </a:cxn>
                <a:cxn ang="0">
                  <a:pos x="225" y="0"/>
                </a:cxn>
                <a:cxn ang="0">
                  <a:pos x="237" y="43"/>
                </a:cxn>
                <a:cxn ang="0">
                  <a:pos x="253" y="94"/>
                </a:cxn>
                <a:cxn ang="0">
                  <a:pos x="265" y="141"/>
                </a:cxn>
                <a:cxn ang="0">
                  <a:pos x="280" y="195"/>
                </a:cxn>
                <a:cxn ang="0">
                  <a:pos x="290" y="229"/>
                </a:cxn>
                <a:cxn ang="0">
                  <a:pos x="296" y="236"/>
                </a:cxn>
                <a:cxn ang="0">
                  <a:pos x="299" y="243"/>
                </a:cxn>
                <a:cxn ang="0">
                  <a:pos x="301" y="250"/>
                </a:cxn>
                <a:cxn ang="0">
                  <a:pos x="311" y="265"/>
                </a:cxn>
                <a:cxn ang="0">
                  <a:pos x="311" y="272"/>
                </a:cxn>
                <a:cxn ang="0">
                  <a:pos x="311" y="279"/>
                </a:cxn>
                <a:cxn ang="0">
                  <a:pos x="321" y="284"/>
                </a:cxn>
                <a:cxn ang="0">
                  <a:pos x="319" y="289"/>
                </a:cxn>
                <a:cxn ang="0">
                  <a:pos x="316" y="293"/>
                </a:cxn>
                <a:cxn ang="0">
                  <a:pos x="309" y="301"/>
                </a:cxn>
                <a:cxn ang="0">
                  <a:pos x="309" y="310"/>
                </a:cxn>
              </a:cxnLst>
              <a:rect l="0" t="0" r="r" b="b"/>
              <a:pathLst>
                <a:path w="328" h="530">
                  <a:moveTo>
                    <a:pt x="309" y="317"/>
                  </a:moveTo>
                  <a:lnTo>
                    <a:pt x="306" y="325"/>
                  </a:lnTo>
                  <a:lnTo>
                    <a:pt x="304" y="330"/>
                  </a:lnTo>
                  <a:lnTo>
                    <a:pt x="306" y="339"/>
                  </a:lnTo>
                  <a:lnTo>
                    <a:pt x="306" y="339"/>
                  </a:lnTo>
                  <a:lnTo>
                    <a:pt x="308" y="344"/>
                  </a:lnTo>
                  <a:lnTo>
                    <a:pt x="308" y="346"/>
                  </a:lnTo>
                  <a:lnTo>
                    <a:pt x="309" y="349"/>
                  </a:lnTo>
                  <a:lnTo>
                    <a:pt x="314" y="354"/>
                  </a:lnTo>
                  <a:lnTo>
                    <a:pt x="316" y="361"/>
                  </a:lnTo>
                  <a:lnTo>
                    <a:pt x="318" y="366"/>
                  </a:lnTo>
                  <a:lnTo>
                    <a:pt x="316" y="370"/>
                  </a:lnTo>
                  <a:lnTo>
                    <a:pt x="316" y="375"/>
                  </a:lnTo>
                  <a:lnTo>
                    <a:pt x="314" y="382"/>
                  </a:lnTo>
                  <a:lnTo>
                    <a:pt x="316" y="385"/>
                  </a:lnTo>
                  <a:lnTo>
                    <a:pt x="316" y="388"/>
                  </a:lnTo>
                  <a:lnTo>
                    <a:pt x="314" y="392"/>
                  </a:lnTo>
                  <a:lnTo>
                    <a:pt x="316" y="397"/>
                  </a:lnTo>
                  <a:lnTo>
                    <a:pt x="316" y="400"/>
                  </a:lnTo>
                  <a:lnTo>
                    <a:pt x="316" y="404"/>
                  </a:lnTo>
                  <a:lnTo>
                    <a:pt x="319" y="404"/>
                  </a:lnTo>
                  <a:lnTo>
                    <a:pt x="323" y="407"/>
                  </a:lnTo>
                  <a:lnTo>
                    <a:pt x="325" y="412"/>
                  </a:lnTo>
                  <a:lnTo>
                    <a:pt x="328" y="421"/>
                  </a:lnTo>
                  <a:lnTo>
                    <a:pt x="284" y="426"/>
                  </a:lnTo>
                  <a:lnTo>
                    <a:pt x="284" y="426"/>
                  </a:lnTo>
                  <a:lnTo>
                    <a:pt x="234" y="431"/>
                  </a:lnTo>
                  <a:lnTo>
                    <a:pt x="220" y="433"/>
                  </a:lnTo>
                  <a:lnTo>
                    <a:pt x="202" y="435"/>
                  </a:lnTo>
                  <a:lnTo>
                    <a:pt x="173" y="438"/>
                  </a:lnTo>
                  <a:lnTo>
                    <a:pt x="166" y="438"/>
                  </a:lnTo>
                  <a:lnTo>
                    <a:pt x="130" y="441"/>
                  </a:lnTo>
                  <a:lnTo>
                    <a:pt x="90" y="445"/>
                  </a:lnTo>
                  <a:lnTo>
                    <a:pt x="92" y="450"/>
                  </a:lnTo>
                  <a:lnTo>
                    <a:pt x="89" y="458"/>
                  </a:lnTo>
                  <a:lnTo>
                    <a:pt x="90" y="460"/>
                  </a:lnTo>
                  <a:lnTo>
                    <a:pt x="97" y="467"/>
                  </a:lnTo>
                  <a:lnTo>
                    <a:pt x="99" y="470"/>
                  </a:lnTo>
                  <a:lnTo>
                    <a:pt x="106" y="476"/>
                  </a:lnTo>
                  <a:lnTo>
                    <a:pt x="109" y="476"/>
                  </a:lnTo>
                  <a:lnTo>
                    <a:pt x="111" y="479"/>
                  </a:lnTo>
                  <a:lnTo>
                    <a:pt x="113" y="484"/>
                  </a:lnTo>
                  <a:lnTo>
                    <a:pt x="111" y="491"/>
                  </a:lnTo>
                  <a:lnTo>
                    <a:pt x="109" y="493"/>
                  </a:lnTo>
                  <a:lnTo>
                    <a:pt x="111" y="498"/>
                  </a:lnTo>
                  <a:lnTo>
                    <a:pt x="113" y="503"/>
                  </a:lnTo>
                  <a:lnTo>
                    <a:pt x="109" y="511"/>
                  </a:lnTo>
                  <a:lnTo>
                    <a:pt x="97" y="517"/>
                  </a:lnTo>
                  <a:lnTo>
                    <a:pt x="97" y="522"/>
                  </a:lnTo>
                  <a:lnTo>
                    <a:pt x="79" y="529"/>
                  </a:lnTo>
                  <a:lnTo>
                    <a:pt x="60" y="530"/>
                  </a:lnTo>
                  <a:lnTo>
                    <a:pt x="80" y="523"/>
                  </a:lnTo>
                  <a:lnTo>
                    <a:pt x="82" y="520"/>
                  </a:lnTo>
                  <a:lnTo>
                    <a:pt x="68" y="508"/>
                  </a:lnTo>
                  <a:lnTo>
                    <a:pt x="65" y="488"/>
                  </a:lnTo>
                  <a:lnTo>
                    <a:pt x="55" y="476"/>
                  </a:lnTo>
                  <a:lnTo>
                    <a:pt x="48" y="520"/>
                  </a:lnTo>
                  <a:lnTo>
                    <a:pt x="29" y="513"/>
                  </a:lnTo>
                  <a:lnTo>
                    <a:pt x="22" y="515"/>
                  </a:lnTo>
                  <a:lnTo>
                    <a:pt x="17" y="479"/>
                  </a:lnTo>
                  <a:lnTo>
                    <a:pt x="14" y="452"/>
                  </a:lnTo>
                  <a:lnTo>
                    <a:pt x="12" y="438"/>
                  </a:lnTo>
                  <a:lnTo>
                    <a:pt x="8" y="405"/>
                  </a:lnTo>
                  <a:lnTo>
                    <a:pt x="5" y="376"/>
                  </a:lnTo>
                  <a:lnTo>
                    <a:pt x="3" y="356"/>
                  </a:lnTo>
                  <a:lnTo>
                    <a:pt x="3" y="320"/>
                  </a:lnTo>
                  <a:lnTo>
                    <a:pt x="3" y="311"/>
                  </a:lnTo>
                  <a:lnTo>
                    <a:pt x="3" y="282"/>
                  </a:lnTo>
                  <a:lnTo>
                    <a:pt x="5" y="245"/>
                  </a:lnTo>
                  <a:lnTo>
                    <a:pt x="5" y="238"/>
                  </a:lnTo>
                  <a:lnTo>
                    <a:pt x="5" y="206"/>
                  </a:lnTo>
                  <a:lnTo>
                    <a:pt x="7" y="178"/>
                  </a:lnTo>
                  <a:lnTo>
                    <a:pt x="7" y="156"/>
                  </a:lnTo>
                  <a:lnTo>
                    <a:pt x="8" y="122"/>
                  </a:lnTo>
                  <a:lnTo>
                    <a:pt x="8" y="118"/>
                  </a:lnTo>
                  <a:lnTo>
                    <a:pt x="8" y="93"/>
                  </a:lnTo>
                  <a:lnTo>
                    <a:pt x="8" y="77"/>
                  </a:lnTo>
                  <a:lnTo>
                    <a:pt x="8" y="65"/>
                  </a:lnTo>
                  <a:lnTo>
                    <a:pt x="10" y="31"/>
                  </a:lnTo>
                  <a:lnTo>
                    <a:pt x="8" y="31"/>
                  </a:lnTo>
                  <a:lnTo>
                    <a:pt x="5" y="28"/>
                  </a:lnTo>
                  <a:lnTo>
                    <a:pt x="0" y="19"/>
                  </a:lnTo>
                  <a:lnTo>
                    <a:pt x="0" y="19"/>
                  </a:lnTo>
                  <a:lnTo>
                    <a:pt x="19" y="18"/>
                  </a:lnTo>
                  <a:lnTo>
                    <a:pt x="51" y="14"/>
                  </a:lnTo>
                  <a:lnTo>
                    <a:pt x="85" y="12"/>
                  </a:lnTo>
                  <a:lnTo>
                    <a:pt x="85" y="12"/>
                  </a:lnTo>
                  <a:lnTo>
                    <a:pt x="120" y="11"/>
                  </a:lnTo>
                  <a:lnTo>
                    <a:pt x="123" y="9"/>
                  </a:lnTo>
                  <a:lnTo>
                    <a:pt x="164" y="6"/>
                  </a:lnTo>
                  <a:lnTo>
                    <a:pt x="164" y="6"/>
                  </a:lnTo>
                  <a:lnTo>
                    <a:pt x="203" y="2"/>
                  </a:lnTo>
                  <a:lnTo>
                    <a:pt x="225" y="0"/>
                  </a:lnTo>
                  <a:lnTo>
                    <a:pt x="229" y="14"/>
                  </a:lnTo>
                  <a:lnTo>
                    <a:pt x="236" y="38"/>
                  </a:lnTo>
                  <a:lnTo>
                    <a:pt x="237" y="43"/>
                  </a:lnTo>
                  <a:lnTo>
                    <a:pt x="239" y="48"/>
                  </a:lnTo>
                  <a:lnTo>
                    <a:pt x="246" y="74"/>
                  </a:lnTo>
                  <a:lnTo>
                    <a:pt x="253" y="94"/>
                  </a:lnTo>
                  <a:lnTo>
                    <a:pt x="256" y="108"/>
                  </a:lnTo>
                  <a:lnTo>
                    <a:pt x="258" y="113"/>
                  </a:lnTo>
                  <a:lnTo>
                    <a:pt x="265" y="141"/>
                  </a:lnTo>
                  <a:lnTo>
                    <a:pt x="270" y="158"/>
                  </a:lnTo>
                  <a:lnTo>
                    <a:pt x="272" y="165"/>
                  </a:lnTo>
                  <a:lnTo>
                    <a:pt x="280" y="195"/>
                  </a:lnTo>
                  <a:lnTo>
                    <a:pt x="280" y="197"/>
                  </a:lnTo>
                  <a:lnTo>
                    <a:pt x="289" y="223"/>
                  </a:lnTo>
                  <a:lnTo>
                    <a:pt x="290" y="229"/>
                  </a:lnTo>
                  <a:lnTo>
                    <a:pt x="294" y="233"/>
                  </a:lnTo>
                  <a:lnTo>
                    <a:pt x="294" y="235"/>
                  </a:lnTo>
                  <a:lnTo>
                    <a:pt x="296" y="236"/>
                  </a:lnTo>
                  <a:lnTo>
                    <a:pt x="296" y="236"/>
                  </a:lnTo>
                  <a:lnTo>
                    <a:pt x="297" y="241"/>
                  </a:lnTo>
                  <a:lnTo>
                    <a:pt x="299" y="243"/>
                  </a:lnTo>
                  <a:lnTo>
                    <a:pt x="297" y="247"/>
                  </a:lnTo>
                  <a:lnTo>
                    <a:pt x="299" y="248"/>
                  </a:lnTo>
                  <a:lnTo>
                    <a:pt x="301" y="250"/>
                  </a:lnTo>
                  <a:lnTo>
                    <a:pt x="302" y="252"/>
                  </a:lnTo>
                  <a:lnTo>
                    <a:pt x="309" y="259"/>
                  </a:lnTo>
                  <a:lnTo>
                    <a:pt x="311" y="265"/>
                  </a:lnTo>
                  <a:lnTo>
                    <a:pt x="313" y="267"/>
                  </a:lnTo>
                  <a:lnTo>
                    <a:pt x="313" y="270"/>
                  </a:lnTo>
                  <a:lnTo>
                    <a:pt x="311" y="272"/>
                  </a:lnTo>
                  <a:lnTo>
                    <a:pt x="313" y="274"/>
                  </a:lnTo>
                  <a:lnTo>
                    <a:pt x="311" y="277"/>
                  </a:lnTo>
                  <a:lnTo>
                    <a:pt x="311" y="279"/>
                  </a:lnTo>
                  <a:lnTo>
                    <a:pt x="318" y="282"/>
                  </a:lnTo>
                  <a:lnTo>
                    <a:pt x="321" y="284"/>
                  </a:lnTo>
                  <a:lnTo>
                    <a:pt x="321" y="284"/>
                  </a:lnTo>
                  <a:lnTo>
                    <a:pt x="321" y="286"/>
                  </a:lnTo>
                  <a:lnTo>
                    <a:pt x="319" y="286"/>
                  </a:lnTo>
                  <a:lnTo>
                    <a:pt x="319" y="289"/>
                  </a:lnTo>
                  <a:lnTo>
                    <a:pt x="319" y="289"/>
                  </a:lnTo>
                  <a:lnTo>
                    <a:pt x="314" y="291"/>
                  </a:lnTo>
                  <a:lnTo>
                    <a:pt x="316" y="293"/>
                  </a:lnTo>
                  <a:lnTo>
                    <a:pt x="313" y="294"/>
                  </a:lnTo>
                  <a:lnTo>
                    <a:pt x="311" y="296"/>
                  </a:lnTo>
                  <a:lnTo>
                    <a:pt x="309" y="301"/>
                  </a:lnTo>
                  <a:lnTo>
                    <a:pt x="309" y="305"/>
                  </a:lnTo>
                  <a:lnTo>
                    <a:pt x="309" y="306"/>
                  </a:lnTo>
                  <a:lnTo>
                    <a:pt x="309" y="310"/>
                  </a:lnTo>
                  <a:lnTo>
                    <a:pt x="309" y="313"/>
                  </a:lnTo>
                  <a:lnTo>
                    <a:pt x="309" y="317"/>
                  </a:lnTo>
                  <a:close/>
                </a:path>
              </a:pathLst>
            </a:custGeom>
            <a:grpFill/>
            <a:ln w="28575" cap="flat" cmpd="sng">
              <a:solidFill>
                <a:sysClr val="window" lastClr="FFFFFF"/>
              </a:solidFill>
              <a:prstDash val="solid"/>
              <a:round/>
              <a:headEnd type="none" w="med" len="med"/>
              <a:tailEnd type="none" w="med" len="me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49" name="Freeform 48"/>
            <p:cNvSpPr>
              <a:spLocks/>
            </p:cNvSpPr>
            <p:nvPr/>
          </p:nvSpPr>
          <p:spPr bwMode="gray">
            <a:xfrm>
              <a:off x="5905898" y="4408313"/>
              <a:ext cx="489519" cy="848609"/>
            </a:xfrm>
            <a:custGeom>
              <a:avLst/>
              <a:gdLst/>
              <a:ahLst/>
              <a:cxnLst>
                <a:cxn ang="0">
                  <a:pos x="299" y="504"/>
                </a:cxn>
                <a:cxn ang="0">
                  <a:pos x="224" y="504"/>
                </a:cxn>
                <a:cxn ang="0">
                  <a:pos x="193" y="521"/>
                </a:cxn>
                <a:cxn ang="0">
                  <a:pos x="191" y="510"/>
                </a:cxn>
                <a:cxn ang="0">
                  <a:pos x="184" y="498"/>
                </a:cxn>
                <a:cxn ang="0">
                  <a:pos x="174" y="489"/>
                </a:cxn>
                <a:cxn ang="0">
                  <a:pos x="169" y="475"/>
                </a:cxn>
                <a:cxn ang="0">
                  <a:pos x="171" y="469"/>
                </a:cxn>
                <a:cxn ang="0">
                  <a:pos x="174" y="457"/>
                </a:cxn>
                <a:cxn ang="0">
                  <a:pos x="176" y="445"/>
                </a:cxn>
                <a:cxn ang="0">
                  <a:pos x="121" y="443"/>
                </a:cxn>
                <a:cxn ang="0">
                  <a:pos x="3" y="450"/>
                </a:cxn>
                <a:cxn ang="0">
                  <a:pos x="2" y="424"/>
                </a:cxn>
                <a:cxn ang="0">
                  <a:pos x="8" y="412"/>
                </a:cxn>
                <a:cxn ang="0">
                  <a:pos x="10" y="407"/>
                </a:cxn>
                <a:cxn ang="0">
                  <a:pos x="12" y="393"/>
                </a:cxn>
                <a:cxn ang="0">
                  <a:pos x="10" y="383"/>
                </a:cxn>
                <a:cxn ang="0">
                  <a:pos x="24" y="369"/>
                </a:cxn>
                <a:cxn ang="0">
                  <a:pos x="24" y="366"/>
                </a:cxn>
                <a:cxn ang="0">
                  <a:pos x="34" y="359"/>
                </a:cxn>
                <a:cxn ang="0">
                  <a:pos x="48" y="337"/>
                </a:cxn>
                <a:cxn ang="0">
                  <a:pos x="48" y="330"/>
                </a:cxn>
                <a:cxn ang="0">
                  <a:pos x="49" y="327"/>
                </a:cxn>
                <a:cxn ang="0">
                  <a:pos x="44" y="318"/>
                </a:cxn>
                <a:cxn ang="0">
                  <a:pos x="55" y="308"/>
                </a:cxn>
                <a:cxn ang="0">
                  <a:pos x="55" y="303"/>
                </a:cxn>
                <a:cxn ang="0">
                  <a:pos x="48" y="292"/>
                </a:cxn>
                <a:cxn ang="0">
                  <a:pos x="53" y="286"/>
                </a:cxn>
                <a:cxn ang="0">
                  <a:pos x="51" y="272"/>
                </a:cxn>
                <a:cxn ang="0">
                  <a:pos x="46" y="263"/>
                </a:cxn>
                <a:cxn ang="0">
                  <a:pos x="41" y="234"/>
                </a:cxn>
                <a:cxn ang="0">
                  <a:pos x="31" y="241"/>
                </a:cxn>
                <a:cxn ang="0">
                  <a:pos x="36" y="224"/>
                </a:cxn>
                <a:cxn ang="0">
                  <a:pos x="39" y="209"/>
                </a:cxn>
                <a:cxn ang="0">
                  <a:pos x="36" y="198"/>
                </a:cxn>
                <a:cxn ang="0">
                  <a:pos x="39" y="183"/>
                </a:cxn>
                <a:cxn ang="0">
                  <a:pos x="36" y="185"/>
                </a:cxn>
                <a:cxn ang="0">
                  <a:pos x="26" y="187"/>
                </a:cxn>
                <a:cxn ang="0">
                  <a:pos x="26" y="175"/>
                </a:cxn>
                <a:cxn ang="0">
                  <a:pos x="27" y="159"/>
                </a:cxn>
                <a:cxn ang="0">
                  <a:pos x="41" y="156"/>
                </a:cxn>
                <a:cxn ang="0">
                  <a:pos x="39" y="149"/>
                </a:cxn>
                <a:cxn ang="0">
                  <a:pos x="39" y="142"/>
                </a:cxn>
                <a:cxn ang="0">
                  <a:pos x="43" y="127"/>
                </a:cxn>
                <a:cxn ang="0">
                  <a:pos x="48" y="122"/>
                </a:cxn>
                <a:cxn ang="0">
                  <a:pos x="56" y="110"/>
                </a:cxn>
                <a:cxn ang="0">
                  <a:pos x="55" y="101"/>
                </a:cxn>
                <a:cxn ang="0">
                  <a:pos x="63" y="86"/>
                </a:cxn>
                <a:cxn ang="0">
                  <a:pos x="72" y="84"/>
                </a:cxn>
                <a:cxn ang="0">
                  <a:pos x="82" y="65"/>
                </a:cxn>
                <a:cxn ang="0">
                  <a:pos x="80" y="53"/>
                </a:cxn>
                <a:cxn ang="0">
                  <a:pos x="79" y="38"/>
                </a:cxn>
                <a:cxn ang="0">
                  <a:pos x="85" y="45"/>
                </a:cxn>
                <a:cxn ang="0">
                  <a:pos x="87" y="28"/>
                </a:cxn>
                <a:cxn ang="0">
                  <a:pos x="101" y="31"/>
                </a:cxn>
                <a:cxn ang="0">
                  <a:pos x="99" y="17"/>
                </a:cxn>
                <a:cxn ang="0">
                  <a:pos x="229" y="5"/>
                </a:cxn>
                <a:cxn ang="0">
                  <a:pos x="292" y="12"/>
                </a:cxn>
                <a:cxn ang="0">
                  <a:pos x="289" y="159"/>
                </a:cxn>
                <a:cxn ang="0">
                  <a:pos x="285" y="337"/>
                </a:cxn>
              </a:cxnLst>
              <a:rect l="0" t="0" r="r" b="b"/>
              <a:pathLst>
                <a:path w="304" h="527">
                  <a:moveTo>
                    <a:pt x="290" y="386"/>
                  </a:moveTo>
                  <a:lnTo>
                    <a:pt x="294" y="419"/>
                  </a:lnTo>
                  <a:lnTo>
                    <a:pt x="296" y="433"/>
                  </a:lnTo>
                  <a:lnTo>
                    <a:pt x="299" y="460"/>
                  </a:lnTo>
                  <a:lnTo>
                    <a:pt x="304" y="496"/>
                  </a:lnTo>
                  <a:lnTo>
                    <a:pt x="304" y="501"/>
                  </a:lnTo>
                  <a:lnTo>
                    <a:pt x="299" y="504"/>
                  </a:lnTo>
                  <a:lnTo>
                    <a:pt x="287" y="499"/>
                  </a:lnTo>
                  <a:lnTo>
                    <a:pt x="278" y="504"/>
                  </a:lnTo>
                  <a:lnTo>
                    <a:pt x="260" y="496"/>
                  </a:lnTo>
                  <a:lnTo>
                    <a:pt x="255" y="498"/>
                  </a:lnTo>
                  <a:lnTo>
                    <a:pt x="260" y="499"/>
                  </a:lnTo>
                  <a:lnTo>
                    <a:pt x="224" y="511"/>
                  </a:lnTo>
                  <a:lnTo>
                    <a:pt x="224" y="504"/>
                  </a:lnTo>
                  <a:lnTo>
                    <a:pt x="219" y="504"/>
                  </a:lnTo>
                  <a:lnTo>
                    <a:pt x="215" y="506"/>
                  </a:lnTo>
                  <a:lnTo>
                    <a:pt x="220" y="511"/>
                  </a:lnTo>
                  <a:lnTo>
                    <a:pt x="212" y="518"/>
                  </a:lnTo>
                  <a:lnTo>
                    <a:pt x="210" y="525"/>
                  </a:lnTo>
                  <a:lnTo>
                    <a:pt x="196" y="527"/>
                  </a:lnTo>
                  <a:lnTo>
                    <a:pt x="193" y="521"/>
                  </a:lnTo>
                  <a:lnTo>
                    <a:pt x="193" y="520"/>
                  </a:lnTo>
                  <a:lnTo>
                    <a:pt x="193" y="520"/>
                  </a:lnTo>
                  <a:lnTo>
                    <a:pt x="191" y="516"/>
                  </a:lnTo>
                  <a:lnTo>
                    <a:pt x="191" y="515"/>
                  </a:lnTo>
                  <a:lnTo>
                    <a:pt x="191" y="513"/>
                  </a:lnTo>
                  <a:lnTo>
                    <a:pt x="193" y="513"/>
                  </a:lnTo>
                  <a:lnTo>
                    <a:pt x="191" y="510"/>
                  </a:lnTo>
                  <a:lnTo>
                    <a:pt x="191" y="510"/>
                  </a:lnTo>
                  <a:lnTo>
                    <a:pt x="190" y="510"/>
                  </a:lnTo>
                  <a:lnTo>
                    <a:pt x="188" y="506"/>
                  </a:lnTo>
                  <a:lnTo>
                    <a:pt x="186" y="504"/>
                  </a:lnTo>
                  <a:lnTo>
                    <a:pt x="186" y="499"/>
                  </a:lnTo>
                  <a:lnTo>
                    <a:pt x="184" y="498"/>
                  </a:lnTo>
                  <a:lnTo>
                    <a:pt x="184" y="498"/>
                  </a:lnTo>
                  <a:lnTo>
                    <a:pt x="184" y="496"/>
                  </a:lnTo>
                  <a:lnTo>
                    <a:pt x="183" y="496"/>
                  </a:lnTo>
                  <a:lnTo>
                    <a:pt x="181" y="494"/>
                  </a:lnTo>
                  <a:lnTo>
                    <a:pt x="181" y="494"/>
                  </a:lnTo>
                  <a:lnTo>
                    <a:pt x="178" y="492"/>
                  </a:lnTo>
                  <a:lnTo>
                    <a:pt x="176" y="489"/>
                  </a:lnTo>
                  <a:lnTo>
                    <a:pt x="174" y="489"/>
                  </a:lnTo>
                  <a:lnTo>
                    <a:pt x="171" y="482"/>
                  </a:lnTo>
                  <a:lnTo>
                    <a:pt x="173" y="479"/>
                  </a:lnTo>
                  <a:lnTo>
                    <a:pt x="171" y="479"/>
                  </a:lnTo>
                  <a:lnTo>
                    <a:pt x="171" y="477"/>
                  </a:lnTo>
                  <a:lnTo>
                    <a:pt x="169" y="477"/>
                  </a:lnTo>
                  <a:lnTo>
                    <a:pt x="169" y="475"/>
                  </a:lnTo>
                  <a:lnTo>
                    <a:pt x="169" y="475"/>
                  </a:lnTo>
                  <a:lnTo>
                    <a:pt x="169" y="474"/>
                  </a:lnTo>
                  <a:lnTo>
                    <a:pt x="171" y="474"/>
                  </a:lnTo>
                  <a:lnTo>
                    <a:pt x="169" y="472"/>
                  </a:lnTo>
                  <a:lnTo>
                    <a:pt x="169" y="470"/>
                  </a:lnTo>
                  <a:lnTo>
                    <a:pt x="171" y="470"/>
                  </a:lnTo>
                  <a:lnTo>
                    <a:pt x="171" y="469"/>
                  </a:lnTo>
                  <a:lnTo>
                    <a:pt x="171" y="469"/>
                  </a:lnTo>
                  <a:lnTo>
                    <a:pt x="169" y="463"/>
                  </a:lnTo>
                  <a:lnTo>
                    <a:pt x="171" y="462"/>
                  </a:lnTo>
                  <a:lnTo>
                    <a:pt x="173" y="462"/>
                  </a:lnTo>
                  <a:lnTo>
                    <a:pt x="173" y="460"/>
                  </a:lnTo>
                  <a:lnTo>
                    <a:pt x="174" y="460"/>
                  </a:lnTo>
                  <a:lnTo>
                    <a:pt x="173" y="457"/>
                  </a:lnTo>
                  <a:lnTo>
                    <a:pt x="174" y="457"/>
                  </a:lnTo>
                  <a:lnTo>
                    <a:pt x="174" y="451"/>
                  </a:lnTo>
                  <a:lnTo>
                    <a:pt x="176" y="451"/>
                  </a:lnTo>
                  <a:lnTo>
                    <a:pt x="176" y="450"/>
                  </a:lnTo>
                  <a:lnTo>
                    <a:pt x="176" y="450"/>
                  </a:lnTo>
                  <a:lnTo>
                    <a:pt x="176" y="448"/>
                  </a:lnTo>
                  <a:lnTo>
                    <a:pt x="176" y="446"/>
                  </a:lnTo>
                  <a:lnTo>
                    <a:pt x="176" y="445"/>
                  </a:lnTo>
                  <a:lnTo>
                    <a:pt x="178" y="443"/>
                  </a:lnTo>
                  <a:lnTo>
                    <a:pt x="178" y="443"/>
                  </a:lnTo>
                  <a:lnTo>
                    <a:pt x="178" y="441"/>
                  </a:lnTo>
                  <a:lnTo>
                    <a:pt x="178" y="439"/>
                  </a:lnTo>
                  <a:lnTo>
                    <a:pt x="167" y="441"/>
                  </a:lnTo>
                  <a:lnTo>
                    <a:pt x="128" y="443"/>
                  </a:lnTo>
                  <a:lnTo>
                    <a:pt x="121" y="443"/>
                  </a:lnTo>
                  <a:lnTo>
                    <a:pt x="102" y="445"/>
                  </a:lnTo>
                  <a:lnTo>
                    <a:pt x="101" y="445"/>
                  </a:lnTo>
                  <a:lnTo>
                    <a:pt x="77" y="446"/>
                  </a:lnTo>
                  <a:lnTo>
                    <a:pt x="56" y="448"/>
                  </a:lnTo>
                  <a:lnTo>
                    <a:pt x="44" y="448"/>
                  </a:lnTo>
                  <a:lnTo>
                    <a:pt x="3" y="450"/>
                  </a:lnTo>
                  <a:lnTo>
                    <a:pt x="3" y="450"/>
                  </a:lnTo>
                  <a:lnTo>
                    <a:pt x="8" y="446"/>
                  </a:lnTo>
                  <a:lnTo>
                    <a:pt x="10" y="445"/>
                  </a:lnTo>
                  <a:lnTo>
                    <a:pt x="8" y="441"/>
                  </a:lnTo>
                  <a:lnTo>
                    <a:pt x="3" y="436"/>
                  </a:lnTo>
                  <a:lnTo>
                    <a:pt x="5" y="431"/>
                  </a:lnTo>
                  <a:lnTo>
                    <a:pt x="5" y="427"/>
                  </a:lnTo>
                  <a:lnTo>
                    <a:pt x="2" y="424"/>
                  </a:lnTo>
                  <a:lnTo>
                    <a:pt x="0" y="421"/>
                  </a:lnTo>
                  <a:lnTo>
                    <a:pt x="2" y="421"/>
                  </a:lnTo>
                  <a:lnTo>
                    <a:pt x="8" y="421"/>
                  </a:lnTo>
                  <a:lnTo>
                    <a:pt x="12" y="419"/>
                  </a:lnTo>
                  <a:lnTo>
                    <a:pt x="14" y="417"/>
                  </a:lnTo>
                  <a:lnTo>
                    <a:pt x="14" y="416"/>
                  </a:lnTo>
                  <a:lnTo>
                    <a:pt x="8" y="412"/>
                  </a:lnTo>
                  <a:lnTo>
                    <a:pt x="8" y="410"/>
                  </a:lnTo>
                  <a:lnTo>
                    <a:pt x="10" y="409"/>
                  </a:lnTo>
                  <a:lnTo>
                    <a:pt x="7" y="409"/>
                  </a:lnTo>
                  <a:lnTo>
                    <a:pt x="7" y="405"/>
                  </a:lnTo>
                  <a:lnTo>
                    <a:pt x="8" y="404"/>
                  </a:lnTo>
                  <a:lnTo>
                    <a:pt x="10" y="404"/>
                  </a:lnTo>
                  <a:lnTo>
                    <a:pt x="10" y="407"/>
                  </a:lnTo>
                  <a:lnTo>
                    <a:pt x="10" y="409"/>
                  </a:lnTo>
                  <a:lnTo>
                    <a:pt x="14" y="410"/>
                  </a:lnTo>
                  <a:lnTo>
                    <a:pt x="15" y="409"/>
                  </a:lnTo>
                  <a:lnTo>
                    <a:pt x="15" y="407"/>
                  </a:lnTo>
                  <a:lnTo>
                    <a:pt x="15" y="405"/>
                  </a:lnTo>
                  <a:lnTo>
                    <a:pt x="12" y="402"/>
                  </a:lnTo>
                  <a:lnTo>
                    <a:pt x="12" y="393"/>
                  </a:lnTo>
                  <a:lnTo>
                    <a:pt x="12" y="393"/>
                  </a:lnTo>
                  <a:lnTo>
                    <a:pt x="15" y="392"/>
                  </a:lnTo>
                  <a:lnTo>
                    <a:pt x="19" y="390"/>
                  </a:lnTo>
                  <a:lnTo>
                    <a:pt x="20" y="386"/>
                  </a:lnTo>
                  <a:lnTo>
                    <a:pt x="19" y="385"/>
                  </a:lnTo>
                  <a:lnTo>
                    <a:pt x="12" y="385"/>
                  </a:lnTo>
                  <a:lnTo>
                    <a:pt x="10" y="383"/>
                  </a:lnTo>
                  <a:lnTo>
                    <a:pt x="10" y="381"/>
                  </a:lnTo>
                  <a:lnTo>
                    <a:pt x="12" y="380"/>
                  </a:lnTo>
                  <a:lnTo>
                    <a:pt x="15" y="383"/>
                  </a:lnTo>
                  <a:lnTo>
                    <a:pt x="20" y="383"/>
                  </a:lnTo>
                  <a:lnTo>
                    <a:pt x="22" y="380"/>
                  </a:lnTo>
                  <a:lnTo>
                    <a:pt x="22" y="373"/>
                  </a:lnTo>
                  <a:lnTo>
                    <a:pt x="24" y="369"/>
                  </a:lnTo>
                  <a:lnTo>
                    <a:pt x="22" y="369"/>
                  </a:lnTo>
                  <a:lnTo>
                    <a:pt x="26" y="368"/>
                  </a:lnTo>
                  <a:lnTo>
                    <a:pt x="31" y="369"/>
                  </a:lnTo>
                  <a:lnTo>
                    <a:pt x="32" y="368"/>
                  </a:lnTo>
                  <a:lnTo>
                    <a:pt x="32" y="366"/>
                  </a:lnTo>
                  <a:lnTo>
                    <a:pt x="26" y="368"/>
                  </a:lnTo>
                  <a:lnTo>
                    <a:pt x="24" y="366"/>
                  </a:lnTo>
                  <a:lnTo>
                    <a:pt x="26" y="364"/>
                  </a:lnTo>
                  <a:lnTo>
                    <a:pt x="26" y="359"/>
                  </a:lnTo>
                  <a:lnTo>
                    <a:pt x="29" y="356"/>
                  </a:lnTo>
                  <a:lnTo>
                    <a:pt x="29" y="357"/>
                  </a:lnTo>
                  <a:lnTo>
                    <a:pt x="31" y="361"/>
                  </a:lnTo>
                  <a:lnTo>
                    <a:pt x="34" y="361"/>
                  </a:lnTo>
                  <a:lnTo>
                    <a:pt x="34" y="359"/>
                  </a:lnTo>
                  <a:lnTo>
                    <a:pt x="32" y="356"/>
                  </a:lnTo>
                  <a:lnTo>
                    <a:pt x="34" y="354"/>
                  </a:lnTo>
                  <a:lnTo>
                    <a:pt x="37" y="351"/>
                  </a:lnTo>
                  <a:lnTo>
                    <a:pt x="41" y="342"/>
                  </a:lnTo>
                  <a:lnTo>
                    <a:pt x="46" y="342"/>
                  </a:lnTo>
                  <a:lnTo>
                    <a:pt x="48" y="339"/>
                  </a:lnTo>
                  <a:lnTo>
                    <a:pt x="48" y="337"/>
                  </a:lnTo>
                  <a:lnTo>
                    <a:pt x="48" y="337"/>
                  </a:lnTo>
                  <a:lnTo>
                    <a:pt x="43" y="333"/>
                  </a:lnTo>
                  <a:lnTo>
                    <a:pt x="41" y="332"/>
                  </a:lnTo>
                  <a:lnTo>
                    <a:pt x="43" y="332"/>
                  </a:lnTo>
                  <a:lnTo>
                    <a:pt x="46" y="335"/>
                  </a:lnTo>
                  <a:lnTo>
                    <a:pt x="49" y="335"/>
                  </a:lnTo>
                  <a:lnTo>
                    <a:pt x="48" y="330"/>
                  </a:lnTo>
                  <a:lnTo>
                    <a:pt x="51" y="328"/>
                  </a:lnTo>
                  <a:lnTo>
                    <a:pt x="53" y="327"/>
                  </a:lnTo>
                  <a:lnTo>
                    <a:pt x="55" y="322"/>
                  </a:lnTo>
                  <a:lnTo>
                    <a:pt x="51" y="322"/>
                  </a:lnTo>
                  <a:lnTo>
                    <a:pt x="49" y="322"/>
                  </a:lnTo>
                  <a:lnTo>
                    <a:pt x="49" y="323"/>
                  </a:lnTo>
                  <a:lnTo>
                    <a:pt x="49" y="327"/>
                  </a:lnTo>
                  <a:lnTo>
                    <a:pt x="46" y="325"/>
                  </a:lnTo>
                  <a:lnTo>
                    <a:pt x="44" y="327"/>
                  </a:lnTo>
                  <a:lnTo>
                    <a:pt x="41" y="325"/>
                  </a:lnTo>
                  <a:lnTo>
                    <a:pt x="39" y="323"/>
                  </a:lnTo>
                  <a:lnTo>
                    <a:pt x="39" y="320"/>
                  </a:lnTo>
                  <a:lnTo>
                    <a:pt x="43" y="316"/>
                  </a:lnTo>
                  <a:lnTo>
                    <a:pt x="44" y="318"/>
                  </a:lnTo>
                  <a:lnTo>
                    <a:pt x="46" y="316"/>
                  </a:lnTo>
                  <a:lnTo>
                    <a:pt x="48" y="316"/>
                  </a:lnTo>
                  <a:lnTo>
                    <a:pt x="49" y="315"/>
                  </a:lnTo>
                  <a:lnTo>
                    <a:pt x="56" y="316"/>
                  </a:lnTo>
                  <a:lnTo>
                    <a:pt x="56" y="311"/>
                  </a:lnTo>
                  <a:lnTo>
                    <a:pt x="55" y="310"/>
                  </a:lnTo>
                  <a:lnTo>
                    <a:pt x="55" y="308"/>
                  </a:lnTo>
                  <a:lnTo>
                    <a:pt x="56" y="308"/>
                  </a:lnTo>
                  <a:lnTo>
                    <a:pt x="60" y="308"/>
                  </a:lnTo>
                  <a:lnTo>
                    <a:pt x="61" y="308"/>
                  </a:lnTo>
                  <a:lnTo>
                    <a:pt x="65" y="299"/>
                  </a:lnTo>
                  <a:lnTo>
                    <a:pt x="63" y="299"/>
                  </a:lnTo>
                  <a:lnTo>
                    <a:pt x="61" y="303"/>
                  </a:lnTo>
                  <a:lnTo>
                    <a:pt x="55" y="303"/>
                  </a:lnTo>
                  <a:lnTo>
                    <a:pt x="53" y="301"/>
                  </a:lnTo>
                  <a:lnTo>
                    <a:pt x="51" y="298"/>
                  </a:lnTo>
                  <a:lnTo>
                    <a:pt x="55" y="296"/>
                  </a:lnTo>
                  <a:lnTo>
                    <a:pt x="56" y="292"/>
                  </a:lnTo>
                  <a:lnTo>
                    <a:pt x="53" y="292"/>
                  </a:lnTo>
                  <a:lnTo>
                    <a:pt x="49" y="292"/>
                  </a:lnTo>
                  <a:lnTo>
                    <a:pt x="48" y="292"/>
                  </a:lnTo>
                  <a:lnTo>
                    <a:pt x="41" y="287"/>
                  </a:lnTo>
                  <a:lnTo>
                    <a:pt x="41" y="284"/>
                  </a:lnTo>
                  <a:lnTo>
                    <a:pt x="44" y="282"/>
                  </a:lnTo>
                  <a:lnTo>
                    <a:pt x="49" y="287"/>
                  </a:lnTo>
                  <a:lnTo>
                    <a:pt x="51" y="287"/>
                  </a:lnTo>
                  <a:lnTo>
                    <a:pt x="53" y="287"/>
                  </a:lnTo>
                  <a:lnTo>
                    <a:pt x="53" y="286"/>
                  </a:lnTo>
                  <a:lnTo>
                    <a:pt x="46" y="282"/>
                  </a:lnTo>
                  <a:lnTo>
                    <a:pt x="46" y="281"/>
                  </a:lnTo>
                  <a:lnTo>
                    <a:pt x="46" y="279"/>
                  </a:lnTo>
                  <a:lnTo>
                    <a:pt x="49" y="279"/>
                  </a:lnTo>
                  <a:lnTo>
                    <a:pt x="51" y="274"/>
                  </a:lnTo>
                  <a:lnTo>
                    <a:pt x="51" y="274"/>
                  </a:lnTo>
                  <a:lnTo>
                    <a:pt x="51" y="272"/>
                  </a:lnTo>
                  <a:lnTo>
                    <a:pt x="49" y="272"/>
                  </a:lnTo>
                  <a:lnTo>
                    <a:pt x="48" y="275"/>
                  </a:lnTo>
                  <a:lnTo>
                    <a:pt x="46" y="275"/>
                  </a:lnTo>
                  <a:lnTo>
                    <a:pt x="41" y="277"/>
                  </a:lnTo>
                  <a:lnTo>
                    <a:pt x="37" y="272"/>
                  </a:lnTo>
                  <a:lnTo>
                    <a:pt x="39" y="270"/>
                  </a:lnTo>
                  <a:lnTo>
                    <a:pt x="46" y="263"/>
                  </a:lnTo>
                  <a:lnTo>
                    <a:pt x="43" y="260"/>
                  </a:lnTo>
                  <a:lnTo>
                    <a:pt x="39" y="260"/>
                  </a:lnTo>
                  <a:lnTo>
                    <a:pt x="37" y="260"/>
                  </a:lnTo>
                  <a:lnTo>
                    <a:pt x="37" y="251"/>
                  </a:lnTo>
                  <a:lnTo>
                    <a:pt x="43" y="246"/>
                  </a:lnTo>
                  <a:lnTo>
                    <a:pt x="43" y="238"/>
                  </a:lnTo>
                  <a:lnTo>
                    <a:pt x="41" y="234"/>
                  </a:lnTo>
                  <a:lnTo>
                    <a:pt x="39" y="234"/>
                  </a:lnTo>
                  <a:lnTo>
                    <a:pt x="37" y="236"/>
                  </a:lnTo>
                  <a:lnTo>
                    <a:pt x="37" y="241"/>
                  </a:lnTo>
                  <a:lnTo>
                    <a:pt x="37" y="243"/>
                  </a:lnTo>
                  <a:lnTo>
                    <a:pt x="34" y="245"/>
                  </a:lnTo>
                  <a:lnTo>
                    <a:pt x="32" y="243"/>
                  </a:lnTo>
                  <a:lnTo>
                    <a:pt x="31" y="241"/>
                  </a:lnTo>
                  <a:lnTo>
                    <a:pt x="36" y="234"/>
                  </a:lnTo>
                  <a:lnTo>
                    <a:pt x="34" y="233"/>
                  </a:lnTo>
                  <a:lnTo>
                    <a:pt x="36" y="231"/>
                  </a:lnTo>
                  <a:lnTo>
                    <a:pt x="36" y="229"/>
                  </a:lnTo>
                  <a:lnTo>
                    <a:pt x="37" y="229"/>
                  </a:lnTo>
                  <a:lnTo>
                    <a:pt x="39" y="226"/>
                  </a:lnTo>
                  <a:lnTo>
                    <a:pt x="36" y="224"/>
                  </a:lnTo>
                  <a:lnTo>
                    <a:pt x="32" y="222"/>
                  </a:lnTo>
                  <a:lnTo>
                    <a:pt x="31" y="219"/>
                  </a:lnTo>
                  <a:lnTo>
                    <a:pt x="32" y="217"/>
                  </a:lnTo>
                  <a:lnTo>
                    <a:pt x="37" y="219"/>
                  </a:lnTo>
                  <a:lnTo>
                    <a:pt x="39" y="217"/>
                  </a:lnTo>
                  <a:lnTo>
                    <a:pt x="41" y="216"/>
                  </a:lnTo>
                  <a:lnTo>
                    <a:pt x="39" y="209"/>
                  </a:lnTo>
                  <a:lnTo>
                    <a:pt x="43" y="207"/>
                  </a:lnTo>
                  <a:lnTo>
                    <a:pt x="44" y="204"/>
                  </a:lnTo>
                  <a:lnTo>
                    <a:pt x="43" y="202"/>
                  </a:lnTo>
                  <a:lnTo>
                    <a:pt x="41" y="202"/>
                  </a:lnTo>
                  <a:lnTo>
                    <a:pt x="39" y="207"/>
                  </a:lnTo>
                  <a:lnTo>
                    <a:pt x="37" y="205"/>
                  </a:lnTo>
                  <a:lnTo>
                    <a:pt x="36" y="198"/>
                  </a:lnTo>
                  <a:lnTo>
                    <a:pt x="36" y="195"/>
                  </a:lnTo>
                  <a:lnTo>
                    <a:pt x="37" y="192"/>
                  </a:lnTo>
                  <a:lnTo>
                    <a:pt x="41" y="190"/>
                  </a:lnTo>
                  <a:lnTo>
                    <a:pt x="41" y="187"/>
                  </a:lnTo>
                  <a:lnTo>
                    <a:pt x="41" y="183"/>
                  </a:lnTo>
                  <a:lnTo>
                    <a:pt x="41" y="183"/>
                  </a:lnTo>
                  <a:lnTo>
                    <a:pt x="39" y="183"/>
                  </a:lnTo>
                  <a:lnTo>
                    <a:pt x="37" y="188"/>
                  </a:lnTo>
                  <a:lnTo>
                    <a:pt x="36" y="192"/>
                  </a:lnTo>
                  <a:lnTo>
                    <a:pt x="31" y="192"/>
                  </a:lnTo>
                  <a:lnTo>
                    <a:pt x="29" y="190"/>
                  </a:lnTo>
                  <a:lnTo>
                    <a:pt x="29" y="188"/>
                  </a:lnTo>
                  <a:lnTo>
                    <a:pt x="36" y="187"/>
                  </a:lnTo>
                  <a:lnTo>
                    <a:pt x="36" y="185"/>
                  </a:lnTo>
                  <a:lnTo>
                    <a:pt x="36" y="183"/>
                  </a:lnTo>
                  <a:lnTo>
                    <a:pt x="36" y="181"/>
                  </a:lnTo>
                  <a:lnTo>
                    <a:pt x="32" y="180"/>
                  </a:lnTo>
                  <a:lnTo>
                    <a:pt x="31" y="180"/>
                  </a:lnTo>
                  <a:lnTo>
                    <a:pt x="32" y="183"/>
                  </a:lnTo>
                  <a:lnTo>
                    <a:pt x="31" y="187"/>
                  </a:lnTo>
                  <a:lnTo>
                    <a:pt x="26" y="187"/>
                  </a:lnTo>
                  <a:lnTo>
                    <a:pt x="27" y="185"/>
                  </a:lnTo>
                  <a:lnTo>
                    <a:pt x="29" y="183"/>
                  </a:lnTo>
                  <a:lnTo>
                    <a:pt x="31" y="180"/>
                  </a:lnTo>
                  <a:lnTo>
                    <a:pt x="31" y="178"/>
                  </a:lnTo>
                  <a:lnTo>
                    <a:pt x="29" y="176"/>
                  </a:lnTo>
                  <a:lnTo>
                    <a:pt x="27" y="176"/>
                  </a:lnTo>
                  <a:lnTo>
                    <a:pt x="26" y="175"/>
                  </a:lnTo>
                  <a:lnTo>
                    <a:pt x="26" y="171"/>
                  </a:lnTo>
                  <a:lnTo>
                    <a:pt x="29" y="173"/>
                  </a:lnTo>
                  <a:lnTo>
                    <a:pt x="31" y="171"/>
                  </a:lnTo>
                  <a:lnTo>
                    <a:pt x="32" y="168"/>
                  </a:lnTo>
                  <a:lnTo>
                    <a:pt x="32" y="166"/>
                  </a:lnTo>
                  <a:lnTo>
                    <a:pt x="27" y="163"/>
                  </a:lnTo>
                  <a:lnTo>
                    <a:pt x="27" y="159"/>
                  </a:lnTo>
                  <a:lnTo>
                    <a:pt x="27" y="157"/>
                  </a:lnTo>
                  <a:lnTo>
                    <a:pt x="31" y="156"/>
                  </a:lnTo>
                  <a:lnTo>
                    <a:pt x="34" y="161"/>
                  </a:lnTo>
                  <a:lnTo>
                    <a:pt x="37" y="163"/>
                  </a:lnTo>
                  <a:lnTo>
                    <a:pt x="43" y="159"/>
                  </a:lnTo>
                  <a:lnTo>
                    <a:pt x="43" y="157"/>
                  </a:lnTo>
                  <a:lnTo>
                    <a:pt x="41" y="156"/>
                  </a:lnTo>
                  <a:lnTo>
                    <a:pt x="36" y="157"/>
                  </a:lnTo>
                  <a:lnTo>
                    <a:pt x="34" y="157"/>
                  </a:lnTo>
                  <a:lnTo>
                    <a:pt x="32" y="156"/>
                  </a:lnTo>
                  <a:lnTo>
                    <a:pt x="32" y="151"/>
                  </a:lnTo>
                  <a:lnTo>
                    <a:pt x="32" y="151"/>
                  </a:lnTo>
                  <a:lnTo>
                    <a:pt x="36" y="151"/>
                  </a:lnTo>
                  <a:lnTo>
                    <a:pt x="39" y="149"/>
                  </a:lnTo>
                  <a:lnTo>
                    <a:pt x="41" y="151"/>
                  </a:lnTo>
                  <a:lnTo>
                    <a:pt x="43" y="151"/>
                  </a:lnTo>
                  <a:lnTo>
                    <a:pt x="46" y="151"/>
                  </a:lnTo>
                  <a:lnTo>
                    <a:pt x="46" y="149"/>
                  </a:lnTo>
                  <a:lnTo>
                    <a:pt x="46" y="147"/>
                  </a:lnTo>
                  <a:lnTo>
                    <a:pt x="43" y="146"/>
                  </a:lnTo>
                  <a:lnTo>
                    <a:pt x="39" y="142"/>
                  </a:lnTo>
                  <a:lnTo>
                    <a:pt x="39" y="140"/>
                  </a:lnTo>
                  <a:lnTo>
                    <a:pt x="43" y="132"/>
                  </a:lnTo>
                  <a:lnTo>
                    <a:pt x="37" y="128"/>
                  </a:lnTo>
                  <a:lnTo>
                    <a:pt x="36" y="127"/>
                  </a:lnTo>
                  <a:lnTo>
                    <a:pt x="37" y="125"/>
                  </a:lnTo>
                  <a:lnTo>
                    <a:pt x="41" y="127"/>
                  </a:lnTo>
                  <a:lnTo>
                    <a:pt x="43" y="127"/>
                  </a:lnTo>
                  <a:lnTo>
                    <a:pt x="44" y="128"/>
                  </a:lnTo>
                  <a:lnTo>
                    <a:pt x="44" y="130"/>
                  </a:lnTo>
                  <a:lnTo>
                    <a:pt x="48" y="128"/>
                  </a:lnTo>
                  <a:lnTo>
                    <a:pt x="48" y="128"/>
                  </a:lnTo>
                  <a:lnTo>
                    <a:pt x="46" y="127"/>
                  </a:lnTo>
                  <a:lnTo>
                    <a:pt x="46" y="125"/>
                  </a:lnTo>
                  <a:lnTo>
                    <a:pt x="48" y="122"/>
                  </a:lnTo>
                  <a:lnTo>
                    <a:pt x="53" y="120"/>
                  </a:lnTo>
                  <a:lnTo>
                    <a:pt x="55" y="115"/>
                  </a:lnTo>
                  <a:lnTo>
                    <a:pt x="51" y="115"/>
                  </a:lnTo>
                  <a:lnTo>
                    <a:pt x="48" y="111"/>
                  </a:lnTo>
                  <a:lnTo>
                    <a:pt x="48" y="108"/>
                  </a:lnTo>
                  <a:lnTo>
                    <a:pt x="49" y="105"/>
                  </a:lnTo>
                  <a:lnTo>
                    <a:pt x="56" y="110"/>
                  </a:lnTo>
                  <a:lnTo>
                    <a:pt x="58" y="108"/>
                  </a:lnTo>
                  <a:lnTo>
                    <a:pt x="60" y="106"/>
                  </a:lnTo>
                  <a:lnTo>
                    <a:pt x="58" y="105"/>
                  </a:lnTo>
                  <a:lnTo>
                    <a:pt x="49" y="103"/>
                  </a:lnTo>
                  <a:lnTo>
                    <a:pt x="48" y="99"/>
                  </a:lnTo>
                  <a:lnTo>
                    <a:pt x="49" y="98"/>
                  </a:lnTo>
                  <a:lnTo>
                    <a:pt x="55" y="101"/>
                  </a:lnTo>
                  <a:lnTo>
                    <a:pt x="58" y="99"/>
                  </a:lnTo>
                  <a:lnTo>
                    <a:pt x="58" y="94"/>
                  </a:lnTo>
                  <a:lnTo>
                    <a:pt x="60" y="93"/>
                  </a:lnTo>
                  <a:lnTo>
                    <a:pt x="60" y="93"/>
                  </a:lnTo>
                  <a:lnTo>
                    <a:pt x="63" y="94"/>
                  </a:lnTo>
                  <a:lnTo>
                    <a:pt x="65" y="91"/>
                  </a:lnTo>
                  <a:lnTo>
                    <a:pt x="63" y="86"/>
                  </a:lnTo>
                  <a:lnTo>
                    <a:pt x="63" y="84"/>
                  </a:lnTo>
                  <a:lnTo>
                    <a:pt x="68" y="84"/>
                  </a:lnTo>
                  <a:lnTo>
                    <a:pt x="70" y="86"/>
                  </a:lnTo>
                  <a:lnTo>
                    <a:pt x="70" y="89"/>
                  </a:lnTo>
                  <a:lnTo>
                    <a:pt x="70" y="89"/>
                  </a:lnTo>
                  <a:lnTo>
                    <a:pt x="72" y="89"/>
                  </a:lnTo>
                  <a:lnTo>
                    <a:pt x="72" y="84"/>
                  </a:lnTo>
                  <a:lnTo>
                    <a:pt x="77" y="81"/>
                  </a:lnTo>
                  <a:lnTo>
                    <a:pt x="79" y="77"/>
                  </a:lnTo>
                  <a:lnTo>
                    <a:pt x="79" y="75"/>
                  </a:lnTo>
                  <a:lnTo>
                    <a:pt x="77" y="70"/>
                  </a:lnTo>
                  <a:lnTo>
                    <a:pt x="77" y="67"/>
                  </a:lnTo>
                  <a:lnTo>
                    <a:pt x="79" y="67"/>
                  </a:lnTo>
                  <a:lnTo>
                    <a:pt x="82" y="65"/>
                  </a:lnTo>
                  <a:lnTo>
                    <a:pt x="82" y="63"/>
                  </a:lnTo>
                  <a:lnTo>
                    <a:pt x="77" y="58"/>
                  </a:lnTo>
                  <a:lnTo>
                    <a:pt x="77" y="57"/>
                  </a:lnTo>
                  <a:lnTo>
                    <a:pt x="77" y="53"/>
                  </a:lnTo>
                  <a:lnTo>
                    <a:pt x="79" y="48"/>
                  </a:lnTo>
                  <a:lnTo>
                    <a:pt x="80" y="50"/>
                  </a:lnTo>
                  <a:lnTo>
                    <a:pt x="80" y="53"/>
                  </a:lnTo>
                  <a:lnTo>
                    <a:pt x="80" y="55"/>
                  </a:lnTo>
                  <a:lnTo>
                    <a:pt x="84" y="55"/>
                  </a:lnTo>
                  <a:lnTo>
                    <a:pt x="87" y="50"/>
                  </a:lnTo>
                  <a:lnTo>
                    <a:pt x="85" y="46"/>
                  </a:lnTo>
                  <a:lnTo>
                    <a:pt x="82" y="48"/>
                  </a:lnTo>
                  <a:lnTo>
                    <a:pt x="80" y="46"/>
                  </a:lnTo>
                  <a:lnTo>
                    <a:pt x="79" y="38"/>
                  </a:lnTo>
                  <a:lnTo>
                    <a:pt x="80" y="36"/>
                  </a:lnTo>
                  <a:lnTo>
                    <a:pt x="82" y="36"/>
                  </a:lnTo>
                  <a:lnTo>
                    <a:pt x="84" y="38"/>
                  </a:lnTo>
                  <a:lnTo>
                    <a:pt x="84" y="41"/>
                  </a:lnTo>
                  <a:lnTo>
                    <a:pt x="82" y="43"/>
                  </a:lnTo>
                  <a:lnTo>
                    <a:pt x="84" y="45"/>
                  </a:lnTo>
                  <a:lnTo>
                    <a:pt x="85" y="45"/>
                  </a:lnTo>
                  <a:lnTo>
                    <a:pt x="87" y="43"/>
                  </a:lnTo>
                  <a:lnTo>
                    <a:pt x="87" y="41"/>
                  </a:lnTo>
                  <a:lnTo>
                    <a:pt x="85" y="36"/>
                  </a:lnTo>
                  <a:lnTo>
                    <a:pt x="87" y="34"/>
                  </a:lnTo>
                  <a:lnTo>
                    <a:pt x="85" y="31"/>
                  </a:lnTo>
                  <a:lnTo>
                    <a:pt x="85" y="28"/>
                  </a:lnTo>
                  <a:lnTo>
                    <a:pt x="87" y="28"/>
                  </a:lnTo>
                  <a:lnTo>
                    <a:pt x="89" y="29"/>
                  </a:lnTo>
                  <a:lnTo>
                    <a:pt x="89" y="33"/>
                  </a:lnTo>
                  <a:lnTo>
                    <a:pt x="89" y="33"/>
                  </a:lnTo>
                  <a:lnTo>
                    <a:pt x="90" y="33"/>
                  </a:lnTo>
                  <a:lnTo>
                    <a:pt x="96" y="29"/>
                  </a:lnTo>
                  <a:lnTo>
                    <a:pt x="97" y="31"/>
                  </a:lnTo>
                  <a:lnTo>
                    <a:pt x="101" y="31"/>
                  </a:lnTo>
                  <a:lnTo>
                    <a:pt x="101" y="29"/>
                  </a:lnTo>
                  <a:lnTo>
                    <a:pt x="101" y="28"/>
                  </a:lnTo>
                  <a:lnTo>
                    <a:pt x="102" y="26"/>
                  </a:lnTo>
                  <a:lnTo>
                    <a:pt x="104" y="22"/>
                  </a:lnTo>
                  <a:lnTo>
                    <a:pt x="104" y="21"/>
                  </a:lnTo>
                  <a:lnTo>
                    <a:pt x="104" y="19"/>
                  </a:lnTo>
                  <a:lnTo>
                    <a:pt x="99" y="17"/>
                  </a:lnTo>
                  <a:lnTo>
                    <a:pt x="99" y="14"/>
                  </a:lnTo>
                  <a:lnTo>
                    <a:pt x="150" y="11"/>
                  </a:lnTo>
                  <a:lnTo>
                    <a:pt x="155" y="11"/>
                  </a:lnTo>
                  <a:lnTo>
                    <a:pt x="183" y="9"/>
                  </a:lnTo>
                  <a:lnTo>
                    <a:pt x="195" y="9"/>
                  </a:lnTo>
                  <a:lnTo>
                    <a:pt x="212" y="7"/>
                  </a:lnTo>
                  <a:lnTo>
                    <a:pt x="229" y="5"/>
                  </a:lnTo>
                  <a:lnTo>
                    <a:pt x="231" y="5"/>
                  </a:lnTo>
                  <a:lnTo>
                    <a:pt x="267" y="2"/>
                  </a:lnTo>
                  <a:lnTo>
                    <a:pt x="268" y="2"/>
                  </a:lnTo>
                  <a:lnTo>
                    <a:pt x="282" y="0"/>
                  </a:lnTo>
                  <a:lnTo>
                    <a:pt x="287" y="9"/>
                  </a:lnTo>
                  <a:lnTo>
                    <a:pt x="290" y="12"/>
                  </a:lnTo>
                  <a:lnTo>
                    <a:pt x="292" y="12"/>
                  </a:lnTo>
                  <a:lnTo>
                    <a:pt x="290" y="46"/>
                  </a:lnTo>
                  <a:lnTo>
                    <a:pt x="290" y="58"/>
                  </a:lnTo>
                  <a:lnTo>
                    <a:pt x="290" y="74"/>
                  </a:lnTo>
                  <a:lnTo>
                    <a:pt x="290" y="99"/>
                  </a:lnTo>
                  <a:lnTo>
                    <a:pt x="290" y="103"/>
                  </a:lnTo>
                  <a:lnTo>
                    <a:pt x="289" y="137"/>
                  </a:lnTo>
                  <a:lnTo>
                    <a:pt x="289" y="159"/>
                  </a:lnTo>
                  <a:lnTo>
                    <a:pt x="287" y="187"/>
                  </a:lnTo>
                  <a:lnTo>
                    <a:pt x="287" y="219"/>
                  </a:lnTo>
                  <a:lnTo>
                    <a:pt x="287" y="226"/>
                  </a:lnTo>
                  <a:lnTo>
                    <a:pt x="285" y="263"/>
                  </a:lnTo>
                  <a:lnTo>
                    <a:pt x="285" y="292"/>
                  </a:lnTo>
                  <a:lnTo>
                    <a:pt x="285" y="301"/>
                  </a:lnTo>
                  <a:lnTo>
                    <a:pt x="285" y="337"/>
                  </a:lnTo>
                  <a:lnTo>
                    <a:pt x="287" y="357"/>
                  </a:lnTo>
                  <a:lnTo>
                    <a:pt x="290" y="38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50" name="Freeform 49"/>
            <p:cNvSpPr>
              <a:spLocks noEditPoints="1"/>
            </p:cNvSpPr>
            <p:nvPr/>
          </p:nvSpPr>
          <p:spPr bwMode="gray">
            <a:xfrm>
              <a:off x="6722300" y="4331020"/>
              <a:ext cx="739110" cy="776146"/>
            </a:xfrm>
            <a:custGeom>
              <a:avLst/>
              <a:gdLst/>
              <a:ahLst/>
              <a:cxnLst>
                <a:cxn ang="0">
                  <a:pos x="84" y="342"/>
                </a:cxn>
                <a:cxn ang="0">
                  <a:pos x="88" y="323"/>
                </a:cxn>
                <a:cxn ang="0">
                  <a:pos x="96" y="315"/>
                </a:cxn>
                <a:cxn ang="0">
                  <a:pos x="88" y="303"/>
                </a:cxn>
                <a:cxn ang="0">
                  <a:pos x="77" y="281"/>
                </a:cxn>
                <a:cxn ang="0">
                  <a:pos x="71" y="265"/>
                </a:cxn>
                <a:cxn ang="0">
                  <a:pos x="55" y="226"/>
                </a:cxn>
                <a:cxn ang="0">
                  <a:pos x="31" y="137"/>
                </a:cxn>
                <a:cxn ang="0">
                  <a:pos x="4" y="43"/>
                </a:cxn>
                <a:cxn ang="0">
                  <a:pos x="55" y="23"/>
                </a:cxn>
                <a:cxn ang="0">
                  <a:pos x="141" y="12"/>
                </a:cxn>
                <a:cxn ang="0">
                  <a:pos x="216" y="6"/>
                </a:cxn>
                <a:cxn ang="0">
                  <a:pos x="214" y="9"/>
                </a:cxn>
                <a:cxn ang="0">
                  <a:pos x="207" y="16"/>
                </a:cxn>
                <a:cxn ang="0">
                  <a:pos x="202" y="24"/>
                </a:cxn>
                <a:cxn ang="0">
                  <a:pos x="206" y="40"/>
                </a:cxn>
                <a:cxn ang="0">
                  <a:pos x="226" y="52"/>
                </a:cxn>
                <a:cxn ang="0">
                  <a:pos x="248" y="60"/>
                </a:cxn>
                <a:cxn ang="0">
                  <a:pos x="260" y="82"/>
                </a:cxn>
                <a:cxn ang="0">
                  <a:pos x="279" y="106"/>
                </a:cxn>
                <a:cxn ang="0">
                  <a:pos x="300" y="117"/>
                </a:cxn>
                <a:cxn ang="0">
                  <a:pos x="317" y="137"/>
                </a:cxn>
                <a:cxn ang="0">
                  <a:pos x="334" y="144"/>
                </a:cxn>
                <a:cxn ang="0">
                  <a:pos x="346" y="156"/>
                </a:cxn>
                <a:cxn ang="0">
                  <a:pos x="346" y="164"/>
                </a:cxn>
                <a:cxn ang="0">
                  <a:pos x="354" y="170"/>
                </a:cxn>
                <a:cxn ang="0">
                  <a:pos x="359" y="175"/>
                </a:cxn>
                <a:cxn ang="0">
                  <a:pos x="376" y="187"/>
                </a:cxn>
                <a:cxn ang="0">
                  <a:pos x="388" y="194"/>
                </a:cxn>
                <a:cxn ang="0">
                  <a:pos x="392" y="207"/>
                </a:cxn>
                <a:cxn ang="0">
                  <a:pos x="399" y="214"/>
                </a:cxn>
                <a:cxn ang="0">
                  <a:pos x="402" y="226"/>
                </a:cxn>
                <a:cxn ang="0">
                  <a:pos x="409" y="236"/>
                </a:cxn>
                <a:cxn ang="0">
                  <a:pos x="424" y="246"/>
                </a:cxn>
                <a:cxn ang="0">
                  <a:pos x="433" y="260"/>
                </a:cxn>
                <a:cxn ang="0">
                  <a:pos x="438" y="284"/>
                </a:cxn>
                <a:cxn ang="0">
                  <a:pos x="433" y="306"/>
                </a:cxn>
                <a:cxn ang="0">
                  <a:pos x="433" y="305"/>
                </a:cxn>
                <a:cxn ang="0">
                  <a:pos x="441" y="323"/>
                </a:cxn>
                <a:cxn ang="0">
                  <a:pos x="440" y="339"/>
                </a:cxn>
                <a:cxn ang="0">
                  <a:pos x="428" y="368"/>
                </a:cxn>
                <a:cxn ang="0">
                  <a:pos x="429" y="388"/>
                </a:cxn>
                <a:cxn ang="0">
                  <a:pos x="419" y="411"/>
                </a:cxn>
                <a:cxn ang="0">
                  <a:pos x="416" y="436"/>
                </a:cxn>
                <a:cxn ang="0">
                  <a:pos x="400" y="434"/>
                </a:cxn>
                <a:cxn ang="0">
                  <a:pos x="383" y="431"/>
                </a:cxn>
                <a:cxn ang="0">
                  <a:pos x="376" y="440"/>
                </a:cxn>
                <a:cxn ang="0">
                  <a:pos x="380" y="474"/>
                </a:cxn>
                <a:cxn ang="0">
                  <a:pos x="366" y="470"/>
                </a:cxn>
                <a:cxn ang="0">
                  <a:pos x="329" y="465"/>
                </a:cxn>
                <a:cxn ang="0">
                  <a:pos x="223" y="472"/>
                </a:cxn>
                <a:cxn ang="0">
                  <a:pos x="118" y="479"/>
                </a:cxn>
                <a:cxn ang="0">
                  <a:pos x="110" y="460"/>
                </a:cxn>
                <a:cxn ang="0">
                  <a:pos x="98" y="436"/>
                </a:cxn>
                <a:cxn ang="0">
                  <a:pos x="91" y="417"/>
                </a:cxn>
                <a:cxn ang="0">
                  <a:pos x="91" y="390"/>
                </a:cxn>
                <a:cxn ang="0">
                  <a:pos x="424" y="416"/>
                </a:cxn>
                <a:cxn ang="0">
                  <a:pos x="423" y="419"/>
                </a:cxn>
              </a:cxnLst>
              <a:rect l="0" t="0" r="r" b="b"/>
              <a:pathLst>
                <a:path w="459" h="482">
                  <a:moveTo>
                    <a:pt x="81" y="368"/>
                  </a:moveTo>
                  <a:lnTo>
                    <a:pt x="81" y="368"/>
                  </a:lnTo>
                  <a:lnTo>
                    <a:pt x="79" y="359"/>
                  </a:lnTo>
                  <a:lnTo>
                    <a:pt x="81" y="354"/>
                  </a:lnTo>
                  <a:lnTo>
                    <a:pt x="84" y="346"/>
                  </a:lnTo>
                  <a:lnTo>
                    <a:pt x="84" y="342"/>
                  </a:lnTo>
                  <a:lnTo>
                    <a:pt x="84" y="339"/>
                  </a:lnTo>
                  <a:lnTo>
                    <a:pt x="84" y="335"/>
                  </a:lnTo>
                  <a:lnTo>
                    <a:pt x="84" y="334"/>
                  </a:lnTo>
                  <a:lnTo>
                    <a:pt x="84" y="330"/>
                  </a:lnTo>
                  <a:lnTo>
                    <a:pt x="86" y="325"/>
                  </a:lnTo>
                  <a:lnTo>
                    <a:pt x="88" y="323"/>
                  </a:lnTo>
                  <a:lnTo>
                    <a:pt x="91" y="322"/>
                  </a:lnTo>
                  <a:lnTo>
                    <a:pt x="89" y="320"/>
                  </a:lnTo>
                  <a:lnTo>
                    <a:pt x="94" y="318"/>
                  </a:lnTo>
                  <a:lnTo>
                    <a:pt x="94" y="318"/>
                  </a:lnTo>
                  <a:lnTo>
                    <a:pt x="94" y="315"/>
                  </a:lnTo>
                  <a:lnTo>
                    <a:pt x="96" y="315"/>
                  </a:lnTo>
                  <a:lnTo>
                    <a:pt x="96" y="313"/>
                  </a:lnTo>
                  <a:lnTo>
                    <a:pt x="96" y="313"/>
                  </a:lnTo>
                  <a:lnTo>
                    <a:pt x="93" y="311"/>
                  </a:lnTo>
                  <a:lnTo>
                    <a:pt x="86" y="308"/>
                  </a:lnTo>
                  <a:lnTo>
                    <a:pt x="86" y="306"/>
                  </a:lnTo>
                  <a:lnTo>
                    <a:pt x="88" y="303"/>
                  </a:lnTo>
                  <a:lnTo>
                    <a:pt x="86" y="301"/>
                  </a:lnTo>
                  <a:lnTo>
                    <a:pt x="88" y="299"/>
                  </a:lnTo>
                  <a:lnTo>
                    <a:pt x="88" y="296"/>
                  </a:lnTo>
                  <a:lnTo>
                    <a:pt x="86" y="294"/>
                  </a:lnTo>
                  <a:lnTo>
                    <a:pt x="84" y="288"/>
                  </a:lnTo>
                  <a:lnTo>
                    <a:pt x="77" y="281"/>
                  </a:lnTo>
                  <a:lnTo>
                    <a:pt x="76" y="279"/>
                  </a:lnTo>
                  <a:lnTo>
                    <a:pt x="74" y="277"/>
                  </a:lnTo>
                  <a:lnTo>
                    <a:pt x="72" y="276"/>
                  </a:lnTo>
                  <a:lnTo>
                    <a:pt x="74" y="272"/>
                  </a:lnTo>
                  <a:lnTo>
                    <a:pt x="72" y="270"/>
                  </a:lnTo>
                  <a:lnTo>
                    <a:pt x="71" y="265"/>
                  </a:lnTo>
                  <a:lnTo>
                    <a:pt x="71" y="265"/>
                  </a:lnTo>
                  <a:lnTo>
                    <a:pt x="69" y="264"/>
                  </a:lnTo>
                  <a:lnTo>
                    <a:pt x="69" y="262"/>
                  </a:lnTo>
                  <a:lnTo>
                    <a:pt x="65" y="258"/>
                  </a:lnTo>
                  <a:lnTo>
                    <a:pt x="64" y="252"/>
                  </a:lnTo>
                  <a:lnTo>
                    <a:pt x="55" y="226"/>
                  </a:lnTo>
                  <a:lnTo>
                    <a:pt x="55" y="224"/>
                  </a:lnTo>
                  <a:lnTo>
                    <a:pt x="47" y="194"/>
                  </a:lnTo>
                  <a:lnTo>
                    <a:pt x="45" y="187"/>
                  </a:lnTo>
                  <a:lnTo>
                    <a:pt x="40" y="170"/>
                  </a:lnTo>
                  <a:lnTo>
                    <a:pt x="33" y="142"/>
                  </a:lnTo>
                  <a:lnTo>
                    <a:pt x="31" y="137"/>
                  </a:lnTo>
                  <a:lnTo>
                    <a:pt x="28" y="123"/>
                  </a:lnTo>
                  <a:lnTo>
                    <a:pt x="21" y="103"/>
                  </a:lnTo>
                  <a:lnTo>
                    <a:pt x="14" y="77"/>
                  </a:lnTo>
                  <a:lnTo>
                    <a:pt x="12" y="72"/>
                  </a:lnTo>
                  <a:lnTo>
                    <a:pt x="11" y="67"/>
                  </a:lnTo>
                  <a:lnTo>
                    <a:pt x="4" y="43"/>
                  </a:lnTo>
                  <a:lnTo>
                    <a:pt x="0" y="29"/>
                  </a:lnTo>
                  <a:lnTo>
                    <a:pt x="12" y="28"/>
                  </a:lnTo>
                  <a:lnTo>
                    <a:pt x="21" y="26"/>
                  </a:lnTo>
                  <a:lnTo>
                    <a:pt x="30" y="26"/>
                  </a:lnTo>
                  <a:lnTo>
                    <a:pt x="55" y="23"/>
                  </a:lnTo>
                  <a:lnTo>
                    <a:pt x="55" y="23"/>
                  </a:lnTo>
                  <a:lnTo>
                    <a:pt x="71" y="21"/>
                  </a:lnTo>
                  <a:lnTo>
                    <a:pt x="72" y="21"/>
                  </a:lnTo>
                  <a:lnTo>
                    <a:pt x="86" y="19"/>
                  </a:lnTo>
                  <a:lnTo>
                    <a:pt x="112" y="16"/>
                  </a:lnTo>
                  <a:lnTo>
                    <a:pt x="129" y="14"/>
                  </a:lnTo>
                  <a:lnTo>
                    <a:pt x="141" y="12"/>
                  </a:lnTo>
                  <a:lnTo>
                    <a:pt x="146" y="12"/>
                  </a:lnTo>
                  <a:lnTo>
                    <a:pt x="178" y="7"/>
                  </a:lnTo>
                  <a:lnTo>
                    <a:pt x="182" y="7"/>
                  </a:lnTo>
                  <a:lnTo>
                    <a:pt x="218" y="0"/>
                  </a:lnTo>
                  <a:lnTo>
                    <a:pt x="218" y="2"/>
                  </a:lnTo>
                  <a:lnTo>
                    <a:pt x="216" y="6"/>
                  </a:lnTo>
                  <a:lnTo>
                    <a:pt x="216" y="6"/>
                  </a:lnTo>
                  <a:lnTo>
                    <a:pt x="216" y="6"/>
                  </a:lnTo>
                  <a:lnTo>
                    <a:pt x="218" y="7"/>
                  </a:lnTo>
                  <a:lnTo>
                    <a:pt x="216" y="7"/>
                  </a:lnTo>
                  <a:lnTo>
                    <a:pt x="216" y="9"/>
                  </a:lnTo>
                  <a:lnTo>
                    <a:pt x="214" y="9"/>
                  </a:lnTo>
                  <a:lnTo>
                    <a:pt x="214" y="11"/>
                  </a:lnTo>
                  <a:lnTo>
                    <a:pt x="211" y="12"/>
                  </a:lnTo>
                  <a:lnTo>
                    <a:pt x="211" y="14"/>
                  </a:lnTo>
                  <a:lnTo>
                    <a:pt x="209" y="14"/>
                  </a:lnTo>
                  <a:lnTo>
                    <a:pt x="207" y="16"/>
                  </a:lnTo>
                  <a:lnTo>
                    <a:pt x="207" y="16"/>
                  </a:lnTo>
                  <a:lnTo>
                    <a:pt x="207" y="17"/>
                  </a:lnTo>
                  <a:lnTo>
                    <a:pt x="207" y="19"/>
                  </a:lnTo>
                  <a:lnTo>
                    <a:pt x="207" y="19"/>
                  </a:lnTo>
                  <a:lnTo>
                    <a:pt x="206" y="21"/>
                  </a:lnTo>
                  <a:lnTo>
                    <a:pt x="206" y="23"/>
                  </a:lnTo>
                  <a:lnTo>
                    <a:pt x="202" y="24"/>
                  </a:lnTo>
                  <a:lnTo>
                    <a:pt x="200" y="26"/>
                  </a:lnTo>
                  <a:lnTo>
                    <a:pt x="202" y="29"/>
                  </a:lnTo>
                  <a:lnTo>
                    <a:pt x="200" y="33"/>
                  </a:lnTo>
                  <a:lnTo>
                    <a:pt x="200" y="35"/>
                  </a:lnTo>
                  <a:lnTo>
                    <a:pt x="200" y="38"/>
                  </a:lnTo>
                  <a:lnTo>
                    <a:pt x="206" y="40"/>
                  </a:lnTo>
                  <a:lnTo>
                    <a:pt x="211" y="45"/>
                  </a:lnTo>
                  <a:lnTo>
                    <a:pt x="218" y="45"/>
                  </a:lnTo>
                  <a:lnTo>
                    <a:pt x="219" y="47"/>
                  </a:lnTo>
                  <a:lnTo>
                    <a:pt x="221" y="48"/>
                  </a:lnTo>
                  <a:lnTo>
                    <a:pt x="223" y="52"/>
                  </a:lnTo>
                  <a:lnTo>
                    <a:pt x="226" y="52"/>
                  </a:lnTo>
                  <a:lnTo>
                    <a:pt x="230" y="55"/>
                  </a:lnTo>
                  <a:lnTo>
                    <a:pt x="233" y="57"/>
                  </a:lnTo>
                  <a:lnTo>
                    <a:pt x="235" y="55"/>
                  </a:lnTo>
                  <a:lnTo>
                    <a:pt x="241" y="55"/>
                  </a:lnTo>
                  <a:lnTo>
                    <a:pt x="245" y="57"/>
                  </a:lnTo>
                  <a:lnTo>
                    <a:pt x="248" y="60"/>
                  </a:lnTo>
                  <a:lnTo>
                    <a:pt x="250" y="65"/>
                  </a:lnTo>
                  <a:lnTo>
                    <a:pt x="252" y="69"/>
                  </a:lnTo>
                  <a:lnTo>
                    <a:pt x="255" y="74"/>
                  </a:lnTo>
                  <a:lnTo>
                    <a:pt x="257" y="74"/>
                  </a:lnTo>
                  <a:lnTo>
                    <a:pt x="259" y="79"/>
                  </a:lnTo>
                  <a:lnTo>
                    <a:pt x="260" y="82"/>
                  </a:lnTo>
                  <a:lnTo>
                    <a:pt x="262" y="86"/>
                  </a:lnTo>
                  <a:lnTo>
                    <a:pt x="269" y="91"/>
                  </a:lnTo>
                  <a:lnTo>
                    <a:pt x="276" y="98"/>
                  </a:lnTo>
                  <a:lnTo>
                    <a:pt x="276" y="100"/>
                  </a:lnTo>
                  <a:lnTo>
                    <a:pt x="279" y="105"/>
                  </a:lnTo>
                  <a:lnTo>
                    <a:pt x="279" y="106"/>
                  </a:lnTo>
                  <a:lnTo>
                    <a:pt x="284" y="108"/>
                  </a:lnTo>
                  <a:lnTo>
                    <a:pt x="289" y="113"/>
                  </a:lnTo>
                  <a:lnTo>
                    <a:pt x="293" y="115"/>
                  </a:lnTo>
                  <a:lnTo>
                    <a:pt x="296" y="115"/>
                  </a:lnTo>
                  <a:lnTo>
                    <a:pt x="300" y="117"/>
                  </a:lnTo>
                  <a:lnTo>
                    <a:pt x="300" y="117"/>
                  </a:lnTo>
                  <a:lnTo>
                    <a:pt x="305" y="118"/>
                  </a:lnTo>
                  <a:lnTo>
                    <a:pt x="305" y="122"/>
                  </a:lnTo>
                  <a:lnTo>
                    <a:pt x="308" y="123"/>
                  </a:lnTo>
                  <a:lnTo>
                    <a:pt x="313" y="130"/>
                  </a:lnTo>
                  <a:lnTo>
                    <a:pt x="315" y="130"/>
                  </a:lnTo>
                  <a:lnTo>
                    <a:pt x="317" y="137"/>
                  </a:lnTo>
                  <a:lnTo>
                    <a:pt x="320" y="137"/>
                  </a:lnTo>
                  <a:lnTo>
                    <a:pt x="322" y="139"/>
                  </a:lnTo>
                  <a:lnTo>
                    <a:pt x="325" y="139"/>
                  </a:lnTo>
                  <a:lnTo>
                    <a:pt x="329" y="141"/>
                  </a:lnTo>
                  <a:lnTo>
                    <a:pt x="332" y="142"/>
                  </a:lnTo>
                  <a:lnTo>
                    <a:pt x="334" y="144"/>
                  </a:lnTo>
                  <a:lnTo>
                    <a:pt x="335" y="146"/>
                  </a:lnTo>
                  <a:lnTo>
                    <a:pt x="337" y="147"/>
                  </a:lnTo>
                  <a:lnTo>
                    <a:pt x="342" y="149"/>
                  </a:lnTo>
                  <a:lnTo>
                    <a:pt x="344" y="151"/>
                  </a:lnTo>
                  <a:lnTo>
                    <a:pt x="344" y="153"/>
                  </a:lnTo>
                  <a:lnTo>
                    <a:pt x="346" y="156"/>
                  </a:lnTo>
                  <a:lnTo>
                    <a:pt x="342" y="156"/>
                  </a:lnTo>
                  <a:lnTo>
                    <a:pt x="344" y="159"/>
                  </a:lnTo>
                  <a:lnTo>
                    <a:pt x="342" y="159"/>
                  </a:lnTo>
                  <a:lnTo>
                    <a:pt x="344" y="163"/>
                  </a:lnTo>
                  <a:lnTo>
                    <a:pt x="346" y="163"/>
                  </a:lnTo>
                  <a:lnTo>
                    <a:pt x="346" y="164"/>
                  </a:lnTo>
                  <a:lnTo>
                    <a:pt x="347" y="164"/>
                  </a:lnTo>
                  <a:lnTo>
                    <a:pt x="351" y="166"/>
                  </a:lnTo>
                  <a:lnTo>
                    <a:pt x="351" y="166"/>
                  </a:lnTo>
                  <a:lnTo>
                    <a:pt x="353" y="166"/>
                  </a:lnTo>
                  <a:lnTo>
                    <a:pt x="351" y="168"/>
                  </a:lnTo>
                  <a:lnTo>
                    <a:pt x="354" y="170"/>
                  </a:lnTo>
                  <a:lnTo>
                    <a:pt x="354" y="170"/>
                  </a:lnTo>
                  <a:lnTo>
                    <a:pt x="354" y="171"/>
                  </a:lnTo>
                  <a:lnTo>
                    <a:pt x="353" y="173"/>
                  </a:lnTo>
                  <a:lnTo>
                    <a:pt x="358" y="175"/>
                  </a:lnTo>
                  <a:lnTo>
                    <a:pt x="358" y="176"/>
                  </a:lnTo>
                  <a:lnTo>
                    <a:pt x="359" y="175"/>
                  </a:lnTo>
                  <a:lnTo>
                    <a:pt x="361" y="175"/>
                  </a:lnTo>
                  <a:lnTo>
                    <a:pt x="363" y="176"/>
                  </a:lnTo>
                  <a:lnTo>
                    <a:pt x="363" y="180"/>
                  </a:lnTo>
                  <a:lnTo>
                    <a:pt x="365" y="182"/>
                  </a:lnTo>
                  <a:lnTo>
                    <a:pt x="368" y="183"/>
                  </a:lnTo>
                  <a:lnTo>
                    <a:pt x="376" y="187"/>
                  </a:lnTo>
                  <a:lnTo>
                    <a:pt x="378" y="188"/>
                  </a:lnTo>
                  <a:lnTo>
                    <a:pt x="382" y="188"/>
                  </a:lnTo>
                  <a:lnTo>
                    <a:pt x="383" y="190"/>
                  </a:lnTo>
                  <a:lnTo>
                    <a:pt x="385" y="190"/>
                  </a:lnTo>
                  <a:lnTo>
                    <a:pt x="387" y="194"/>
                  </a:lnTo>
                  <a:lnTo>
                    <a:pt x="388" y="194"/>
                  </a:lnTo>
                  <a:lnTo>
                    <a:pt x="388" y="199"/>
                  </a:lnTo>
                  <a:lnTo>
                    <a:pt x="388" y="199"/>
                  </a:lnTo>
                  <a:lnTo>
                    <a:pt x="388" y="200"/>
                  </a:lnTo>
                  <a:lnTo>
                    <a:pt x="392" y="204"/>
                  </a:lnTo>
                  <a:lnTo>
                    <a:pt x="394" y="204"/>
                  </a:lnTo>
                  <a:lnTo>
                    <a:pt x="392" y="207"/>
                  </a:lnTo>
                  <a:lnTo>
                    <a:pt x="394" y="207"/>
                  </a:lnTo>
                  <a:lnTo>
                    <a:pt x="395" y="211"/>
                  </a:lnTo>
                  <a:lnTo>
                    <a:pt x="397" y="211"/>
                  </a:lnTo>
                  <a:lnTo>
                    <a:pt x="397" y="211"/>
                  </a:lnTo>
                  <a:lnTo>
                    <a:pt x="397" y="212"/>
                  </a:lnTo>
                  <a:lnTo>
                    <a:pt x="399" y="214"/>
                  </a:lnTo>
                  <a:lnTo>
                    <a:pt x="399" y="216"/>
                  </a:lnTo>
                  <a:lnTo>
                    <a:pt x="400" y="219"/>
                  </a:lnTo>
                  <a:lnTo>
                    <a:pt x="399" y="219"/>
                  </a:lnTo>
                  <a:lnTo>
                    <a:pt x="400" y="221"/>
                  </a:lnTo>
                  <a:lnTo>
                    <a:pt x="400" y="224"/>
                  </a:lnTo>
                  <a:lnTo>
                    <a:pt x="402" y="226"/>
                  </a:lnTo>
                  <a:lnTo>
                    <a:pt x="402" y="229"/>
                  </a:lnTo>
                  <a:lnTo>
                    <a:pt x="402" y="233"/>
                  </a:lnTo>
                  <a:lnTo>
                    <a:pt x="406" y="236"/>
                  </a:lnTo>
                  <a:lnTo>
                    <a:pt x="407" y="236"/>
                  </a:lnTo>
                  <a:lnTo>
                    <a:pt x="407" y="236"/>
                  </a:lnTo>
                  <a:lnTo>
                    <a:pt x="409" y="236"/>
                  </a:lnTo>
                  <a:lnTo>
                    <a:pt x="409" y="238"/>
                  </a:lnTo>
                  <a:lnTo>
                    <a:pt x="414" y="238"/>
                  </a:lnTo>
                  <a:lnTo>
                    <a:pt x="416" y="238"/>
                  </a:lnTo>
                  <a:lnTo>
                    <a:pt x="416" y="240"/>
                  </a:lnTo>
                  <a:lnTo>
                    <a:pt x="419" y="241"/>
                  </a:lnTo>
                  <a:lnTo>
                    <a:pt x="424" y="246"/>
                  </a:lnTo>
                  <a:lnTo>
                    <a:pt x="424" y="252"/>
                  </a:lnTo>
                  <a:lnTo>
                    <a:pt x="428" y="255"/>
                  </a:lnTo>
                  <a:lnTo>
                    <a:pt x="428" y="257"/>
                  </a:lnTo>
                  <a:lnTo>
                    <a:pt x="429" y="260"/>
                  </a:lnTo>
                  <a:lnTo>
                    <a:pt x="431" y="258"/>
                  </a:lnTo>
                  <a:lnTo>
                    <a:pt x="433" y="260"/>
                  </a:lnTo>
                  <a:lnTo>
                    <a:pt x="433" y="265"/>
                  </a:lnTo>
                  <a:lnTo>
                    <a:pt x="431" y="269"/>
                  </a:lnTo>
                  <a:lnTo>
                    <a:pt x="433" y="272"/>
                  </a:lnTo>
                  <a:lnTo>
                    <a:pt x="436" y="274"/>
                  </a:lnTo>
                  <a:lnTo>
                    <a:pt x="436" y="282"/>
                  </a:lnTo>
                  <a:lnTo>
                    <a:pt x="438" y="284"/>
                  </a:lnTo>
                  <a:lnTo>
                    <a:pt x="459" y="291"/>
                  </a:lnTo>
                  <a:lnTo>
                    <a:pt x="453" y="298"/>
                  </a:lnTo>
                  <a:lnTo>
                    <a:pt x="453" y="305"/>
                  </a:lnTo>
                  <a:lnTo>
                    <a:pt x="440" y="310"/>
                  </a:lnTo>
                  <a:lnTo>
                    <a:pt x="435" y="306"/>
                  </a:lnTo>
                  <a:lnTo>
                    <a:pt x="433" y="306"/>
                  </a:lnTo>
                  <a:lnTo>
                    <a:pt x="433" y="305"/>
                  </a:lnTo>
                  <a:lnTo>
                    <a:pt x="433" y="305"/>
                  </a:lnTo>
                  <a:lnTo>
                    <a:pt x="429" y="306"/>
                  </a:lnTo>
                  <a:lnTo>
                    <a:pt x="424" y="303"/>
                  </a:lnTo>
                  <a:lnTo>
                    <a:pt x="429" y="308"/>
                  </a:lnTo>
                  <a:lnTo>
                    <a:pt x="433" y="305"/>
                  </a:lnTo>
                  <a:lnTo>
                    <a:pt x="431" y="308"/>
                  </a:lnTo>
                  <a:lnTo>
                    <a:pt x="435" y="306"/>
                  </a:lnTo>
                  <a:lnTo>
                    <a:pt x="440" y="311"/>
                  </a:lnTo>
                  <a:lnTo>
                    <a:pt x="448" y="313"/>
                  </a:lnTo>
                  <a:lnTo>
                    <a:pt x="448" y="318"/>
                  </a:lnTo>
                  <a:lnTo>
                    <a:pt x="441" y="323"/>
                  </a:lnTo>
                  <a:lnTo>
                    <a:pt x="438" y="317"/>
                  </a:lnTo>
                  <a:lnTo>
                    <a:pt x="435" y="318"/>
                  </a:lnTo>
                  <a:lnTo>
                    <a:pt x="438" y="323"/>
                  </a:lnTo>
                  <a:lnTo>
                    <a:pt x="426" y="318"/>
                  </a:lnTo>
                  <a:lnTo>
                    <a:pt x="443" y="332"/>
                  </a:lnTo>
                  <a:lnTo>
                    <a:pt x="440" y="339"/>
                  </a:lnTo>
                  <a:lnTo>
                    <a:pt x="435" y="335"/>
                  </a:lnTo>
                  <a:lnTo>
                    <a:pt x="435" y="344"/>
                  </a:lnTo>
                  <a:lnTo>
                    <a:pt x="440" y="349"/>
                  </a:lnTo>
                  <a:lnTo>
                    <a:pt x="440" y="352"/>
                  </a:lnTo>
                  <a:lnTo>
                    <a:pt x="433" y="368"/>
                  </a:lnTo>
                  <a:lnTo>
                    <a:pt x="428" y="368"/>
                  </a:lnTo>
                  <a:lnTo>
                    <a:pt x="424" y="371"/>
                  </a:lnTo>
                  <a:lnTo>
                    <a:pt x="426" y="376"/>
                  </a:lnTo>
                  <a:lnTo>
                    <a:pt x="426" y="373"/>
                  </a:lnTo>
                  <a:lnTo>
                    <a:pt x="435" y="375"/>
                  </a:lnTo>
                  <a:lnTo>
                    <a:pt x="435" y="378"/>
                  </a:lnTo>
                  <a:lnTo>
                    <a:pt x="429" y="388"/>
                  </a:lnTo>
                  <a:lnTo>
                    <a:pt x="416" y="393"/>
                  </a:lnTo>
                  <a:lnTo>
                    <a:pt x="418" y="397"/>
                  </a:lnTo>
                  <a:lnTo>
                    <a:pt x="423" y="402"/>
                  </a:lnTo>
                  <a:lnTo>
                    <a:pt x="416" y="399"/>
                  </a:lnTo>
                  <a:lnTo>
                    <a:pt x="423" y="407"/>
                  </a:lnTo>
                  <a:lnTo>
                    <a:pt x="419" y="411"/>
                  </a:lnTo>
                  <a:lnTo>
                    <a:pt x="423" y="412"/>
                  </a:lnTo>
                  <a:lnTo>
                    <a:pt x="421" y="421"/>
                  </a:lnTo>
                  <a:lnTo>
                    <a:pt x="424" y="433"/>
                  </a:lnTo>
                  <a:lnTo>
                    <a:pt x="423" y="436"/>
                  </a:lnTo>
                  <a:lnTo>
                    <a:pt x="423" y="438"/>
                  </a:lnTo>
                  <a:lnTo>
                    <a:pt x="416" y="436"/>
                  </a:lnTo>
                  <a:lnTo>
                    <a:pt x="416" y="438"/>
                  </a:lnTo>
                  <a:lnTo>
                    <a:pt x="414" y="436"/>
                  </a:lnTo>
                  <a:lnTo>
                    <a:pt x="412" y="438"/>
                  </a:lnTo>
                  <a:lnTo>
                    <a:pt x="406" y="436"/>
                  </a:lnTo>
                  <a:lnTo>
                    <a:pt x="404" y="434"/>
                  </a:lnTo>
                  <a:lnTo>
                    <a:pt x="400" y="434"/>
                  </a:lnTo>
                  <a:lnTo>
                    <a:pt x="400" y="436"/>
                  </a:lnTo>
                  <a:lnTo>
                    <a:pt x="397" y="433"/>
                  </a:lnTo>
                  <a:lnTo>
                    <a:pt x="390" y="433"/>
                  </a:lnTo>
                  <a:lnTo>
                    <a:pt x="387" y="429"/>
                  </a:lnTo>
                  <a:lnTo>
                    <a:pt x="387" y="431"/>
                  </a:lnTo>
                  <a:lnTo>
                    <a:pt x="383" y="431"/>
                  </a:lnTo>
                  <a:lnTo>
                    <a:pt x="383" y="431"/>
                  </a:lnTo>
                  <a:lnTo>
                    <a:pt x="382" y="434"/>
                  </a:lnTo>
                  <a:lnTo>
                    <a:pt x="380" y="436"/>
                  </a:lnTo>
                  <a:lnTo>
                    <a:pt x="378" y="436"/>
                  </a:lnTo>
                  <a:lnTo>
                    <a:pt x="378" y="438"/>
                  </a:lnTo>
                  <a:lnTo>
                    <a:pt x="376" y="440"/>
                  </a:lnTo>
                  <a:lnTo>
                    <a:pt x="376" y="452"/>
                  </a:lnTo>
                  <a:lnTo>
                    <a:pt x="380" y="457"/>
                  </a:lnTo>
                  <a:lnTo>
                    <a:pt x="382" y="458"/>
                  </a:lnTo>
                  <a:lnTo>
                    <a:pt x="382" y="469"/>
                  </a:lnTo>
                  <a:lnTo>
                    <a:pt x="382" y="472"/>
                  </a:lnTo>
                  <a:lnTo>
                    <a:pt x="380" y="474"/>
                  </a:lnTo>
                  <a:lnTo>
                    <a:pt x="382" y="479"/>
                  </a:lnTo>
                  <a:lnTo>
                    <a:pt x="380" y="481"/>
                  </a:lnTo>
                  <a:lnTo>
                    <a:pt x="371" y="482"/>
                  </a:lnTo>
                  <a:lnTo>
                    <a:pt x="370" y="482"/>
                  </a:lnTo>
                  <a:lnTo>
                    <a:pt x="366" y="477"/>
                  </a:lnTo>
                  <a:lnTo>
                    <a:pt x="366" y="470"/>
                  </a:lnTo>
                  <a:lnTo>
                    <a:pt x="363" y="469"/>
                  </a:lnTo>
                  <a:lnTo>
                    <a:pt x="361" y="467"/>
                  </a:lnTo>
                  <a:lnTo>
                    <a:pt x="363" y="462"/>
                  </a:lnTo>
                  <a:lnTo>
                    <a:pt x="344" y="464"/>
                  </a:lnTo>
                  <a:lnTo>
                    <a:pt x="341" y="464"/>
                  </a:lnTo>
                  <a:lnTo>
                    <a:pt x="329" y="465"/>
                  </a:lnTo>
                  <a:lnTo>
                    <a:pt x="318" y="465"/>
                  </a:lnTo>
                  <a:lnTo>
                    <a:pt x="277" y="469"/>
                  </a:lnTo>
                  <a:lnTo>
                    <a:pt x="262" y="469"/>
                  </a:lnTo>
                  <a:lnTo>
                    <a:pt x="262" y="469"/>
                  </a:lnTo>
                  <a:lnTo>
                    <a:pt x="235" y="470"/>
                  </a:lnTo>
                  <a:lnTo>
                    <a:pt x="223" y="472"/>
                  </a:lnTo>
                  <a:lnTo>
                    <a:pt x="199" y="472"/>
                  </a:lnTo>
                  <a:lnTo>
                    <a:pt x="192" y="474"/>
                  </a:lnTo>
                  <a:lnTo>
                    <a:pt x="171" y="474"/>
                  </a:lnTo>
                  <a:lnTo>
                    <a:pt x="163" y="475"/>
                  </a:lnTo>
                  <a:lnTo>
                    <a:pt x="118" y="479"/>
                  </a:lnTo>
                  <a:lnTo>
                    <a:pt x="118" y="479"/>
                  </a:lnTo>
                  <a:lnTo>
                    <a:pt x="117" y="475"/>
                  </a:lnTo>
                  <a:lnTo>
                    <a:pt x="113" y="474"/>
                  </a:lnTo>
                  <a:lnTo>
                    <a:pt x="112" y="472"/>
                  </a:lnTo>
                  <a:lnTo>
                    <a:pt x="112" y="470"/>
                  </a:lnTo>
                  <a:lnTo>
                    <a:pt x="112" y="465"/>
                  </a:lnTo>
                  <a:lnTo>
                    <a:pt x="110" y="460"/>
                  </a:lnTo>
                  <a:lnTo>
                    <a:pt x="106" y="457"/>
                  </a:lnTo>
                  <a:lnTo>
                    <a:pt x="105" y="453"/>
                  </a:lnTo>
                  <a:lnTo>
                    <a:pt x="103" y="452"/>
                  </a:lnTo>
                  <a:lnTo>
                    <a:pt x="103" y="450"/>
                  </a:lnTo>
                  <a:lnTo>
                    <a:pt x="100" y="441"/>
                  </a:lnTo>
                  <a:lnTo>
                    <a:pt x="98" y="436"/>
                  </a:lnTo>
                  <a:lnTo>
                    <a:pt x="94" y="433"/>
                  </a:lnTo>
                  <a:lnTo>
                    <a:pt x="91" y="433"/>
                  </a:lnTo>
                  <a:lnTo>
                    <a:pt x="91" y="429"/>
                  </a:lnTo>
                  <a:lnTo>
                    <a:pt x="91" y="426"/>
                  </a:lnTo>
                  <a:lnTo>
                    <a:pt x="89" y="421"/>
                  </a:lnTo>
                  <a:lnTo>
                    <a:pt x="91" y="417"/>
                  </a:lnTo>
                  <a:lnTo>
                    <a:pt x="91" y="414"/>
                  </a:lnTo>
                  <a:lnTo>
                    <a:pt x="89" y="411"/>
                  </a:lnTo>
                  <a:lnTo>
                    <a:pt x="91" y="404"/>
                  </a:lnTo>
                  <a:lnTo>
                    <a:pt x="91" y="399"/>
                  </a:lnTo>
                  <a:lnTo>
                    <a:pt x="93" y="395"/>
                  </a:lnTo>
                  <a:lnTo>
                    <a:pt x="91" y="390"/>
                  </a:lnTo>
                  <a:lnTo>
                    <a:pt x="89" y="383"/>
                  </a:lnTo>
                  <a:lnTo>
                    <a:pt x="84" y="378"/>
                  </a:lnTo>
                  <a:lnTo>
                    <a:pt x="83" y="375"/>
                  </a:lnTo>
                  <a:lnTo>
                    <a:pt x="83" y="373"/>
                  </a:lnTo>
                  <a:lnTo>
                    <a:pt x="81" y="368"/>
                  </a:lnTo>
                  <a:close/>
                  <a:moveTo>
                    <a:pt x="424" y="416"/>
                  </a:moveTo>
                  <a:lnTo>
                    <a:pt x="429" y="409"/>
                  </a:lnTo>
                  <a:lnTo>
                    <a:pt x="431" y="412"/>
                  </a:lnTo>
                  <a:lnTo>
                    <a:pt x="429" y="436"/>
                  </a:lnTo>
                  <a:lnTo>
                    <a:pt x="428" y="434"/>
                  </a:lnTo>
                  <a:lnTo>
                    <a:pt x="426" y="421"/>
                  </a:lnTo>
                  <a:lnTo>
                    <a:pt x="423" y="419"/>
                  </a:lnTo>
                  <a:lnTo>
                    <a:pt x="424" y="41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51" name="Freeform 50"/>
            <p:cNvSpPr>
              <a:spLocks noEditPoints="1"/>
            </p:cNvSpPr>
            <p:nvPr/>
          </p:nvSpPr>
          <p:spPr bwMode="gray">
            <a:xfrm>
              <a:off x="7044352" y="4265000"/>
              <a:ext cx="690803" cy="523336"/>
            </a:xfrm>
            <a:custGeom>
              <a:avLst/>
              <a:gdLst/>
              <a:ahLst/>
              <a:cxnLst>
                <a:cxn ang="0">
                  <a:pos x="158" y="217"/>
                </a:cxn>
                <a:cxn ang="0">
                  <a:pos x="154" y="211"/>
                </a:cxn>
                <a:cxn ang="0">
                  <a:pos x="151" y="207"/>
                </a:cxn>
                <a:cxn ang="0">
                  <a:pos x="146" y="204"/>
                </a:cxn>
                <a:cxn ang="0">
                  <a:pos x="142" y="197"/>
                </a:cxn>
                <a:cxn ang="0">
                  <a:pos x="142" y="190"/>
                </a:cxn>
                <a:cxn ang="0">
                  <a:pos x="132" y="183"/>
                </a:cxn>
                <a:cxn ang="0">
                  <a:pos x="120" y="178"/>
                </a:cxn>
                <a:cxn ang="0">
                  <a:pos x="108" y="164"/>
                </a:cxn>
                <a:cxn ang="0">
                  <a:pos x="100" y="158"/>
                </a:cxn>
                <a:cxn ang="0">
                  <a:pos x="84" y="149"/>
                </a:cxn>
                <a:cxn ang="0">
                  <a:pos x="76" y="139"/>
                </a:cxn>
                <a:cxn ang="0">
                  <a:pos x="59" y="120"/>
                </a:cxn>
                <a:cxn ang="0">
                  <a:pos x="50" y="106"/>
                </a:cxn>
                <a:cxn ang="0">
                  <a:pos x="35" y="96"/>
                </a:cxn>
                <a:cxn ang="0">
                  <a:pos x="23" y="93"/>
                </a:cxn>
                <a:cxn ang="0">
                  <a:pos x="11" y="86"/>
                </a:cxn>
                <a:cxn ang="0">
                  <a:pos x="0" y="74"/>
                </a:cxn>
                <a:cxn ang="0">
                  <a:pos x="6" y="64"/>
                </a:cxn>
                <a:cxn ang="0">
                  <a:pos x="7" y="58"/>
                </a:cxn>
                <a:cxn ang="0">
                  <a:pos x="11" y="55"/>
                </a:cxn>
                <a:cxn ang="0">
                  <a:pos x="16" y="50"/>
                </a:cxn>
                <a:cxn ang="0">
                  <a:pos x="16" y="47"/>
                </a:cxn>
                <a:cxn ang="0">
                  <a:pos x="24" y="38"/>
                </a:cxn>
                <a:cxn ang="0">
                  <a:pos x="52" y="26"/>
                </a:cxn>
                <a:cxn ang="0">
                  <a:pos x="65" y="19"/>
                </a:cxn>
                <a:cxn ang="0">
                  <a:pos x="77" y="14"/>
                </a:cxn>
                <a:cxn ang="0">
                  <a:pos x="86" y="11"/>
                </a:cxn>
                <a:cxn ang="0">
                  <a:pos x="130" y="6"/>
                </a:cxn>
                <a:cxn ang="0">
                  <a:pos x="192" y="2"/>
                </a:cxn>
                <a:cxn ang="0">
                  <a:pos x="204" y="4"/>
                </a:cxn>
                <a:cxn ang="0">
                  <a:pos x="219" y="33"/>
                </a:cxn>
                <a:cxn ang="0">
                  <a:pos x="315" y="17"/>
                </a:cxn>
                <a:cxn ang="0">
                  <a:pos x="378" y="60"/>
                </a:cxn>
                <a:cxn ang="0">
                  <a:pos x="429" y="101"/>
                </a:cxn>
                <a:cxn ang="0">
                  <a:pos x="390" y="166"/>
                </a:cxn>
                <a:cxn ang="0">
                  <a:pos x="387" y="187"/>
                </a:cxn>
                <a:cxn ang="0">
                  <a:pos x="373" y="204"/>
                </a:cxn>
                <a:cxn ang="0">
                  <a:pos x="358" y="217"/>
                </a:cxn>
                <a:cxn ang="0">
                  <a:pos x="332" y="228"/>
                </a:cxn>
                <a:cxn ang="0">
                  <a:pos x="335" y="240"/>
                </a:cxn>
                <a:cxn ang="0">
                  <a:pos x="305" y="270"/>
                </a:cxn>
                <a:cxn ang="0">
                  <a:pos x="294" y="272"/>
                </a:cxn>
                <a:cxn ang="0">
                  <a:pos x="272" y="274"/>
                </a:cxn>
                <a:cxn ang="0">
                  <a:pos x="293" y="293"/>
                </a:cxn>
                <a:cxn ang="0">
                  <a:pos x="259" y="281"/>
                </a:cxn>
                <a:cxn ang="0">
                  <a:pos x="259" y="289"/>
                </a:cxn>
                <a:cxn ang="0">
                  <a:pos x="236" y="323"/>
                </a:cxn>
                <a:cxn ang="0">
                  <a:pos x="233" y="306"/>
                </a:cxn>
                <a:cxn ang="0">
                  <a:pos x="228" y="298"/>
                </a:cxn>
                <a:cxn ang="0">
                  <a:pos x="219" y="282"/>
                </a:cxn>
                <a:cxn ang="0">
                  <a:pos x="209" y="279"/>
                </a:cxn>
                <a:cxn ang="0">
                  <a:pos x="206" y="277"/>
                </a:cxn>
                <a:cxn ang="0">
                  <a:pos x="200" y="265"/>
                </a:cxn>
                <a:cxn ang="0">
                  <a:pos x="199" y="257"/>
                </a:cxn>
                <a:cxn ang="0">
                  <a:pos x="197" y="252"/>
                </a:cxn>
                <a:cxn ang="0">
                  <a:pos x="194" y="245"/>
                </a:cxn>
                <a:cxn ang="0">
                  <a:pos x="188" y="240"/>
                </a:cxn>
                <a:cxn ang="0">
                  <a:pos x="183" y="231"/>
                </a:cxn>
                <a:cxn ang="0">
                  <a:pos x="168" y="224"/>
                </a:cxn>
                <a:cxn ang="0">
                  <a:pos x="265" y="303"/>
                </a:cxn>
                <a:cxn ang="0">
                  <a:pos x="265" y="303"/>
                </a:cxn>
              </a:cxnLst>
              <a:rect l="0" t="0" r="r" b="b"/>
              <a:pathLst>
                <a:path w="429" h="325">
                  <a:moveTo>
                    <a:pt x="163" y="217"/>
                  </a:moveTo>
                  <a:lnTo>
                    <a:pt x="161" y="216"/>
                  </a:lnTo>
                  <a:lnTo>
                    <a:pt x="159" y="216"/>
                  </a:lnTo>
                  <a:lnTo>
                    <a:pt x="158" y="217"/>
                  </a:lnTo>
                  <a:lnTo>
                    <a:pt x="158" y="216"/>
                  </a:lnTo>
                  <a:lnTo>
                    <a:pt x="153" y="214"/>
                  </a:lnTo>
                  <a:lnTo>
                    <a:pt x="154" y="212"/>
                  </a:lnTo>
                  <a:lnTo>
                    <a:pt x="154" y="211"/>
                  </a:lnTo>
                  <a:lnTo>
                    <a:pt x="154" y="211"/>
                  </a:lnTo>
                  <a:lnTo>
                    <a:pt x="151" y="209"/>
                  </a:lnTo>
                  <a:lnTo>
                    <a:pt x="153" y="207"/>
                  </a:lnTo>
                  <a:lnTo>
                    <a:pt x="151" y="207"/>
                  </a:lnTo>
                  <a:lnTo>
                    <a:pt x="151" y="207"/>
                  </a:lnTo>
                  <a:lnTo>
                    <a:pt x="147" y="205"/>
                  </a:lnTo>
                  <a:lnTo>
                    <a:pt x="146" y="205"/>
                  </a:lnTo>
                  <a:lnTo>
                    <a:pt x="146" y="204"/>
                  </a:lnTo>
                  <a:lnTo>
                    <a:pt x="144" y="204"/>
                  </a:lnTo>
                  <a:lnTo>
                    <a:pt x="142" y="200"/>
                  </a:lnTo>
                  <a:lnTo>
                    <a:pt x="144" y="200"/>
                  </a:lnTo>
                  <a:lnTo>
                    <a:pt x="142" y="197"/>
                  </a:lnTo>
                  <a:lnTo>
                    <a:pt x="146" y="197"/>
                  </a:lnTo>
                  <a:lnTo>
                    <a:pt x="144" y="194"/>
                  </a:lnTo>
                  <a:lnTo>
                    <a:pt x="144" y="192"/>
                  </a:lnTo>
                  <a:lnTo>
                    <a:pt x="142" y="190"/>
                  </a:lnTo>
                  <a:lnTo>
                    <a:pt x="137" y="188"/>
                  </a:lnTo>
                  <a:lnTo>
                    <a:pt x="135" y="187"/>
                  </a:lnTo>
                  <a:lnTo>
                    <a:pt x="134" y="185"/>
                  </a:lnTo>
                  <a:lnTo>
                    <a:pt x="132" y="183"/>
                  </a:lnTo>
                  <a:lnTo>
                    <a:pt x="129" y="182"/>
                  </a:lnTo>
                  <a:lnTo>
                    <a:pt x="125" y="180"/>
                  </a:lnTo>
                  <a:lnTo>
                    <a:pt x="122" y="180"/>
                  </a:lnTo>
                  <a:lnTo>
                    <a:pt x="120" y="178"/>
                  </a:lnTo>
                  <a:lnTo>
                    <a:pt x="117" y="178"/>
                  </a:lnTo>
                  <a:lnTo>
                    <a:pt x="115" y="171"/>
                  </a:lnTo>
                  <a:lnTo>
                    <a:pt x="113" y="171"/>
                  </a:lnTo>
                  <a:lnTo>
                    <a:pt x="108" y="164"/>
                  </a:lnTo>
                  <a:lnTo>
                    <a:pt x="105" y="163"/>
                  </a:lnTo>
                  <a:lnTo>
                    <a:pt x="105" y="159"/>
                  </a:lnTo>
                  <a:lnTo>
                    <a:pt x="100" y="158"/>
                  </a:lnTo>
                  <a:lnTo>
                    <a:pt x="100" y="158"/>
                  </a:lnTo>
                  <a:lnTo>
                    <a:pt x="96" y="156"/>
                  </a:lnTo>
                  <a:lnTo>
                    <a:pt x="93" y="156"/>
                  </a:lnTo>
                  <a:lnTo>
                    <a:pt x="89" y="154"/>
                  </a:lnTo>
                  <a:lnTo>
                    <a:pt x="84" y="149"/>
                  </a:lnTo>
                  <a:lnTo>
                    <a:pt x="79" y="147"/>
                  </a:lnTo>
                  <a:lnTo>
                    <a:pt x="79" y="146"/>
                  </a:lnTo>
                  <a:lnTo>
                    <a:pt x="76" y="141"/>
                  </a:lnTo>
                  <a:lnTo>
                    <a:pt x="76" y="139"/>
                  </a:lnTo>
                  <a:lnTo>
                    <a:pt x="69" y="132"/>
                  </a:lnTo>
                  <a:lnTo>
                    <a:pt x="62" y="127"/>
                  </a:lnTo>
                  <a:lnTo>
                    <a:pt x="60" y="123"/>
                  </a:lnTo>
                  <a:lnTo>
                    <a:pt x="59" y="120"/>
                  </a:lnTo>
                  <a:lnTo>
                    <a:pt x="57" y="115"/>
                  </a:lnTo>
                  <a:lnTo>
                    <a:pt x="55" y="115"/>
                  </a:lnTo>
                  <a:lnTo>
                    <a:pt x="52" y="110"/>
                  </a:lnTo>
                  <a:lnTo>
                    <a:pt x="50" y="106"/>
                  </a:lnTo>
                  <a:lnTo>
                    <a:pt x="48" y="101"/>
                  </a:lnTo>
                  <a:lnTo>
                    <a:pt x="45" y="98"/>
                  </a:lnTo>
                  <a:lnTo>
                    <a:pt x="41" y="96"/>
                  </a:lnTo>
                  <a:lnTo>
                    <a:pt x="35" y="96"/>
                  </a:lnTo>
                  <a:lnTo>
                    <a:pt x="33" y="98"/>
                  </a:lnTo>
                  <a:lnTo>
                    <a:pt x="30" y="96"/>
                  </a:lnTo>
                  <a:lnTo>
                    <a:pt x="26" y="93"/>
                  </a:lnTo>
                  <a:lnTo>
                    <a:pt x="23" y="93"/>
                  </a:lnTo>
                  <a:lnTo>
                    <a:pt x="21" y="89"/>
                  </a:lnTo>
                  <a:lnTo>
                    <a:pt x="19" y="88"/>
                  </a:lnTo>
                  <a:lnTo>
                    <a:pt x="18" y="86"/>
                  </a:lnTo>
                  <a:lnTo>
                    <a:pt x="11" y="86"/>
                  </a:lnTo>
                  <a:lnTo>
                    <a:pt x="6" y="81"/>
                  </a:lnTo>
                  <a:lnTo>
                    <a:pt x="0" y="79"/>
                  </a:lnTo>
                  <a:lnTo>
                    <a:pt x="0" y="76"/>
                  </a:lnTo>
                  <a:lnTo>
                    <a:pt x="0" y="74"/>
                  </a:lnTo>
                  <a:lnTo>
                    <a:pt x="2" y="70"/>
                  </a:lnTo>
                  <a:lnTo>
                    <a:pt x="0" y="67"/>
                  </a:lnTo>
                  <a:lnTo>
                    <a:pt x="2" y="65"/>
                  </a:lnTo>
                  <a:lnTo>
                    <a:pt x="6" y="64"/>
                  </a:lnTo>
                  <a:lnTo>
                    <a:pt x="6" y="62"/>
                  </a:lnTo>
                  <a:lnTo>
                    <a:pt x="7" y="60"/>
                  </a:lnTo>
                  <a:lnTo>
                    <a:pt x="7" y="60"/>
                  </a:lnTo>
                  <a:lnTo>
                    <a:pt x="7" y="58"/>
                  </a:lnTo>
                  <a:lnTo>
                    <a:pt x="7" y="57"/>
                  </a:lnTo>
                  <a:lnTo>
                    <a:pt x="7" y="57"/>
                  </a:lnTo>
                  <a:lnTo>
                    <a:pt x="9" y="55"/>
                  </a:lnTo>
                  <a:lnTo>
                    <a:pt x="11" y="55"/>
                  </a:lnTo>
                  <a:lnTo>
                    <a:pt x="11" y="53"/>
                  </a:lnTo>
                  <a:lnTo>
                    <a:pt x="14" y="52"/>
                  </a:lnTo>
                  <a:lnTo>
                    <a:pt x="14" y="50"/>
                  </a:lnTo>
                  <a:lnTo>
                    <a:pt x="16" y="50"/>
                  </a:lnTo>
                  <a:lnTo>
                    <a:pt x="16" y="48"/>
                  </a:lnTo>
                  <a:lnTo>
                    <a:pt x="18" y="48"/>
                  </a:lnTo>
                  <a:lnTo>
                    <a:pt x="16" y="47"/>
                  </a:lnTo>
                  <a:lnTo>
                    <a:pt x="16" y="47"/>
                  </a:lnTo>
                  <a:lnTo>
                    <a:pt x="16" y="47"/>
                  </a:lnTo>
                  <a:lnTo>
                    <a:pt x="18" y="43"/>
                  </a:lnTo>
                  <a:lnTo>
                    <a:pt x="18" y="41"/>
                  </a:lnTo>
                  <a:lnTo>
                    <a:pt x="24" y="38"/>
                  </a:lnTo>
                  <a:lnTo>
                    <a:pt x="35" y="33"/>
                  </a:lnTo>
                  <a:lnTo>
                    <a:pt x="45" y="29"/>
                  </a:lnTo>
                  <a:lnTo>
                    <a:pt x="50" y="28"/>
                  </a:lnTo>
                  <a:lnTo>
                    <a:pt x="52" y="26"/>
                  </a:lnTo>
                  <a:lnTo>
                    <a:pt x="52" y="24"/>
                  </a:lnTo>
                  <a:lnTo>
                    <a:pt x="53" y="24"/>
                  </a:lnTo>
                  <a:lnTo>
                    <a:pt x="60" y="19"/>
                  </a:lnTo>
                  <a:lnTo>
                    <a:pt x="65" y="19"/>
                  </a:lnTo>
                  <a:lnTo>
                    <a:pt x="69" y="16"/>
                  </a:lnTo>
                  <a:lnTo>
                    <a:pt x="72" y="16"/>
                  </a:lnTo>
                  <a:lnTo>
                    <a:pt x="76" y="11"/>
                  </a:lnTo>
                  <a:lnTo>
                    <a:pt x="77" y="14"/>
                  </a:lnTo>
                  <a:lnTo>
                    <a:pt x="79" y="14"/>
                  </a:lnTo>
                  <a:lnTo>
                    <a:pt x="79" y="12"/>
                  </a:lnTo>
                  <a:lnTo>
                    <a:pt x="82" y="12"/>
                  </a:lnTo>
                  <a:lnTo>
                    <a:pt x="86" y="11"/>
                  </a:lnTo>
                  <a:lnTo>
                    <a:pt x="91" y="11"/>
                  </a:lnTo>
                  <a:lnTo>
                    <a:pt x="112" y="9"/>
                  </a:lnTo>
                  <a:lnTo>
                    <a:pt x="120" y="7"/>
                  </a:lnTo>
                  <a:lnTo>
                    <a:pt x="130" y="6"/>
                  </a:lnTo>
                  <a:lnTo>
                    <a:pt x="165" y="2"/>
                  </a:lnTo>
                  <a:lnTo>
                    <a:pt x="168" y="2"/>
                  </a:lnTo>
                  <a:lnTo>
                    <a:pt x="192" y="0"/>
                  </a:lnTo>
                  <a:lnTo>
                    <a:pt x="192" y="2"/>
                  </a:lnTo>
                  <a:lnTo>
                    <a:pt x="195" y="4"/>
                  </a:lnTo>
                  <a:lnTo>
                    <a:pt x="192" y="9"/>
                  </a:lnTo>
                  <a:lnTo>
                    <a:pt x="195" y="12"/>
                  </a:lnTo>
                  <a:lnTo>
                    <a:pt x="204" y="4"/>
                  </a:lnTo>
                  <a:lnTo>
                    <a:pt x="207" y="7"/>
                  </a:lnTo>
                  <a:lnTo>
                    <a:pt x="212" y="12"/>
                  </a:lnTo>
                  <a:lnTo>
                    <a:pt x="218" y="19"/>
                  </a:lnTo>
                  <a:lnTo>
                    <a:pt x="219" y="33"/>
                  </a:lnTo>
                  <a:lnTo>
                    <a:pt x="240" y="29"/>
                  </a:lnTo>
                  <a:lnTo>
                    <a:pt x="260" y="26"/>
                  </a:lnTo>
                  <a:lnTo>
                    <a:pt x="294" y="21"/>
                  </a:lnTo>
                  <a:lnTo>
                    <a:pt x="315" y="17"/>
                  </a:lnTo>
                  <a:lnTo>
                    <a:pt x="317" y="17"/>
                  </a:lnTo>
                  <a:lnTo>
                    <a:pt x="339" y="31"/>
                  </a:lnTo>
                  <a:lnTo>
                    <a:pt x="339" y="33"/>
                  </a:lnTo>
                  <a:lnTo>
                    <a:pt x="378" y="60"/>
                  </a:lnTo>
                  <a:lnTo>
                    <a:pt x="421" y="93"/>
                  </a:lnTo>
                  <a:lnTo>
                    <a:pt x="429" y="98"/>
                  </a:lnTo>
                  <a:lnTo>
                    <a:pt x="426" y="100"/>
                  </a:lnTo>
                  <a:lnTo>
                    <a:pt x="429" y="101"/>
                  </a:lnTo>
                  <a:lnTo>
                    <a:pt x="407" y="120"/>
                  </a:lnTo>
                  <a:lnTo>
                    <a:pt x="399" y="137"/>
                  </a:lnTo>
                  <a:lnTo>
                    <a:pt x="390" y="154"/>
                  </a:lnTo>
                  <a:lnTo>
                    <a:pt x="390" y="166"/>
                  </a:lnTo>
                  <a:lnTo>
                    <a:pt x="388" y="164"/>
                  </a:lnTo>
                  <a:lnTo>
                    <a:pt x="380" y="171"/>
                  </a:lnTo>
                  <a:lnTo>
                    <a:pt x="388" y="182"/>
                  </a:lnTo>
                  <a:lnTo>
                    <a:pt x="387" y="187"/>
                  </a:lnTo>
                  <a:lnTo>
                    <a:pt x="375" y="187"/>
                  </a:lnTo>
                  <a:lnTo>
                    <a:pt x="380" y="188"/>
                  </a:lnTo>
                  <a:lnTo>
                    <a:pt x="382" y="192"/>
                  </a:lnTo>
                  <a:lnTo>
                    <a:pt x="373" y="204"/>
                  </a:lnTo>
                  <a:lnTo>
                    <a:pt x="358" y="205"/>
                  </a:lnTo>
                  <a:lnTo>
                    <a:pt x="354" y="211"/>
                  </a:lnTo>
                  <a:lnTo>
                    <a:pt x="359" y="216"/>
                  </a:lnTo>
                  <a:lnTo>
                    <a:pt x="358" y="217"/>
                  </a:lnTo>
                  <a:lnTo>
                    <a:pt x="346" y="231"/>
                  </a:lnTo>
                  <a:lnTo>
                    <a:pt x="332" y="235"/>
                  </a:lnTo>
                  <a:lnTo>
                    <a:pt x="341" y="217"/>
                  </a:lnTo>
                  <a:lnTo>
                    <a:pt x="332" y="228"/>
                  </a:lnTo>
                  <a:lnTo>
                    <a:pt x="329" y="221"/>
                  </a:lnTo>
                  <a:lnTo>
                    <a:pt x="325" y="223"/>
                  </a:lnTo>
                  <a:lnTo>
                    <a:pt x="329" y="233"/>
                  </a:lnTo>
                  <a:lnTo>
                    <a:pt x="335" y="240"/>
                  </a:lnTo>
                  <a:lnTo>
                    <a:pt x="335" y="246"/>
                  </a:lnTo>
                  <a:lnTo>
                    <a:pt x="329" y="255"/>
                  </a:lnTo>
                  <a:lnTo>
                    <a:pt x="310" y="264"/>
                  </a:lnTo>
                  <a:lnTo>
                    <a:pt x="305" y="270"/>
                  </a:lnTo>
                  <a:lnTo>
                    <a:pt x="300" y="270"/>
                  </a:lnTo>
                  <a:lnTo>
                    <a:pt x="293" y="257"/>
                  </a:lnTo>
                  <a:lnTo>
                    <a:pt x="289" y="255"/>
                  </a:lnTo>
                  <a:lnTo>
                    <a:pt x="294" y="272"/>
                  </a:lnTo>
                  <a:lnTo>
                    <a:pt x="288" y="272"/>
                  </a:lnTo>
                  <a:lnTo>
                    <a:pt x="281" y="269"/>
                  </a:lnTo>
                  <a:lnTo>
                    <a:pt x="282" y="274"/>
                  </a:lnTo>
                  <a:lnTo>
                    <a:pt x="272" y="274"/>
                  </a:lnTo>
                  <a:lnTo>
                    <a:pt x="272" y="276"/>
                  </a:lnTo>
                  <a:lnTo>
                    <a:pt x="288" y="281"/>
                  </a:lnTo>
                  <a:lnTo>
                    <a:pt x="293" y="286"/>
                  </a:lnTo>
                  <a:lnTo>
                    <a:pt x="293" y="293"/>
                  </a:lnTo>
                  <a:lnTo>
                    <a:pt x="279" y="299"/>
                  </a:lnTo>
                  <a:lnTo>
                    <a:pt x="274" y="299"/>
                  </a:lnTo>
                  <a:lnTo>
                    <a:pt x="267" y="293"/>
                  </a:lnTo>
                  <a:lnTo>
                    <a:pt x="259" y="281"/>
                  </a:lnTo>
                  <a:lnTo>
                    <a:pt x="260" y="277"/>
                  </a:lnTo>
                  <a:lnTo>
                    <a:pt x="255" y="277"/>
                  </a:lnTo>
                  <a:lnTo>
                    <a:pt x="252" y="276"/>
                  </a:lnTo>
                  <a:lnTo>
                    <a:pt x="259" y="289"/>
                  </a:lnTo>
                  <a:lnTo>
                    <a:pt x="265" y="305"/>
                  </a:lnTo>
                  <a:lnTo>
                    <a:pt x="259" y="325"/>
                  </a:lnTo>
                  <a:lnTo>
                    <a:pt x="238" y="325"/>
                  </a:lnTo>
                  <a:lnTo>
                    <a:pt x="236" y="323"/>
                  </a:lnTo>
                  <a:lnTo>
                    <a:pt x="236" y="315"/>
                  </a:lnTo>
                  <a:lnTo>
                    <a:pt x="233" y="313"/>
                  </a:lnTo>
                  <a:lnTo>
                    <a:pt x="231" y="310"/>
                  </a:lnTo>
                  <a:lnTo>
                    <a:pt x="233" y="306"/>
                  </a:lnTo>
                  <a:lnTo>
                    <a:pt x="233" y="301"/>
                  </a:lnTo>
                  <a:lnTo>
                    <a:pt x="231" y="299"/>
                  </a:lnTo>
                  <a:lnTo>
                    <a:pt x="229" y="301"/>
                  </a:lnTo>
                  <a:lnTo>
                    <a:pt x="228" y="298"/>
                  </a:lnTo>
                  <a:lnTo>
                    <a:pt x="228" y="296"/>
                  </a:lnTo>
                  <a:lnTo>
                    <a:pt x="224" y="293"/>
                  </a:lnTo>
                  <a:lnTo>
                    <a:pt x="224" y="287"/>
                  </a:lnTo>
                  <a:lnTo>
                    <a:pt x="219" y="282"/>
                  </a:lnTo>
                  <a:lnTo>
                    <a:pt x="216" y="281"/>
                  </a:lnTo>
                  <a:lnTo>
                    <a:pt x="216" y="279"/>
                  </a:lnTo>
                  <a:lnTo>
                    <a:pt x="214" y="279"/>
                  </a:lnTo>
                  <a:lnTo>
                    <a:pt x="209" y="279"/>
                  </a:lnTo>
                  <a:lnTo>
                    <a:pt x="209" y="277"/>
                  </a:lnTo>
                  <a:lnTo>
                    <a:pt x="207" y="277"/>
                  </a:lnTo>
                  <a:lnTo>
                    <a:pt x="207" y="277"/>
                  </a:lnTo>
                  <a:lnTo>
                    <a:pt x="206" y="277"/>
                  </a:lnTo>
                  <a:lnTo>
                    <a:pt x="202" y="274"/>
                  </a:lnTo>
                  <a:lnTo>
                    <a:pt x="202" y="270"/>
                  </a:lnTo>
                  <a:lnTo>
                    <a:pt x="202" y="267"/>
                  </a:lnTo>
                  <a:lnTo>
                    <a:pt x="200" y="265"/>
                  </a:lnTo>
                  <a:lnTo>
                    <a:pt x="200" y="262"/>
                  </a:lnTo>
                  <a:lnTo>
                    <a:pt x="199" y="260"/>
                  </a:lnTo>
                  <a:lnTo>
                    <a:pt x="200" y="260"/>
                  </a:lnTo>
                  <a:lnTo>
                    <a:pt x="199" y="257"/>
                  </a:lnTo>
                  <a:lnTo>
                    <a:pt x="199" y="255"/>
                  </a:lnTo>
                  <a:lnTo>
                    <a:pt x="197" y="253"/>
                  </a:lnTo>
                  <a:lnTo>
                    <a:pt x="197" y="252"/>
                  </a:lnTo>
                  <a:lnTo>
                    <a:pt x="197" y="252"/>
                  </a:lnTo>
                  <a:lnTo>
                    <a:pt x="195" y="252"/>
                  </a:lnTo>
                  <a:lnTo>
                    <a:pt x="194" y="248"/>
                  </a:lnTo>
                  <a:lnTo>
                    <a:pt x="192" y="248"/>
                  </a:lnTo>
                  <a:lnTo>
                    <a:pt x="194" y="245"/>
                  </a:lnTo>
                  <a:lnTo>
                    <a:pt x="192" y="245"/>
                  </a:lnTo>
                  <a:lnTo>
                    <a:pt x="188" y="241"/>
                  </a:lnTo>
                  <a:lnTo>
                    <a:pt x="188" y="240"/>
                  </a:lnTo>
                  <a:lnTo>
                    <a:pt x="188" y="240"/>
                  </a:lnTo>
                  <a:lnTo>
                    <a:pt x="188" y="235"/>
                  </a:lnTo>
                  <a:lnTo>
                    <a:pt x="187" y="235"/>
                  </a:lnTo>
                  <a:lnTo>
                    <a:pt x="185" y="231"/>
                  </a:lnTo>
                  <a:lnTo>
                    <a:pt x="183" y="231"/>
                  </a:lnTo>
                  <a:lnTo>
                    <a:pt x="182" y="229"/>
                  </a:lnTo>
                  <a:lnTo>
                    <a:pt x="178" y="229"/>
                  </a:lnTo>
                  <a:lnTo>
                    <a:pt x="176" y="228"/>
                  </a:lnTo>
                  <a:lnTo>
                    <a:pt x="168" y="224"/>
                  </a:lnTo>
                  <a:lnTo>
                    <a:pt x="165" y="223"/>
                  </a:lnTo>
                  <a:lnTo>
                    <a:pt x="163" y="221"/>
                  </a:lnTo>
                  <a:lnTo>
                    <a:pt x="163" y="217"/>
                  </a:lnTo>
                  <a:close/>
                  <a:moveTo>
                    <a:pt x="265" y="303"/>
                  </a:moveTo>
                  <a:lnTo>
                    <a:pt x="270" y="301"/>
                  </a:lnTo>
                  <a:lnTo>
                    <a:pt x="276" y="306"/>
                  </a:lnTo>
                  <a:lnTo>
                    <a:pt x="264" y="320"/>
                  </a:lnTo>
                  <a:lnTo>
                    <a:pt x="265" y="303"/>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52" name="Freeform 51"/>
            <p:cNvSpPr>
              <a:spLocks/>
            </p:cNvSpPr>
            <p:nvPr/>
          </p:nvSpPr>
          <p:spPr bwMode="gray">
            <a:xfrm>
              <a:off x="5455025" y="4171604"/>
              <a:ext cx="692412" cy="624781"/>
            </a:xfrm>
            <a:custGeom>
              <a:avLst/>
              <a:gdLst/>
              <a:ahLst/>
              <a:cxnLst>
                <a:cxn ang="0">
                  <a:pos x="15" y="106"/>
                </a:cxn>
                <a:cxn ang="0">
                  <a:pos x="46" y="14"/>
                </a:cxn>
                <a:cxn ang="0">
                  <a:pos x="157" y="11"/>
                </a:cxn>
                <a:cxn ang="0">
                  <a:pos x="275" y="5"/>
                </a:cxn>
                <a:cxn ang="0">
                  <a:pos x="384" y="4"/>
                </a:cxn>
                <a:cxn ang="0">
                  <a:pos x="391" y="14"/>
                </a:cxn>
                <a:cxn ang="0">
                  <a:pos x="382" y="31"/>
                </a:cxn>
                <a:cxn ang="0">
                  <a:pos x="370" y="45"/>
                </a:cxn>
                <a:cxn ang="0">
                  <a:pos x="429" y="57"/>
                </a:cxn>
                <a:cxn ang="0">
                  <a:pos x="420" y="62"/>
                </a:cxn>
                <a:cxn ang="0">
                  <a:pos x="420" y="70"/>
                </a:cxn>
                <a:cxn ang="0">
                  <a:pos x="405" y="81"/>
                </a:cxn>
                <a:cxn ang="0">
                  <a:pos x="413" y="89"/>
                </a:cxn>
                <a:cxn ang="0">
                  <a:pos x="408" y="103"/>
                </a:cxn>
                <a:cxn ang="0">
                  <a:pos x="398" y="105"/>
                </a:cxn>
                <a:cxn ang="0">
                  <a:pos x="394" y="110"/>
                </a:cxn>
                <a:cxn ang="0">
                  <a:pos x="391" y="116"/>
                </a:cxn>
                <a:cxn ang="0">
                  <a:pos x="394" y="123"/>
                </a:cxn>
                <a:cxn ang="0">
                  <a:pos x="396" y="134"/>
                </a:cxn>
                <a:cxn ang="0">
                  <a:pos x="391" y="146"/>
                </a:cxn>
                <a:cxn ang="0">
                  <a:pos x="379" y="161"/>
                </a:cxn>
                <a:cxn ang="0">
                  <a:pos x="381" y="175"/>
                </a:cxn>
                <a:cxn ang="0">
                  <a:pos x="369" y="180"/>
                </a:cxn>
                <a:cxn ang="0">
                  <a:pos x="367" y="181"/>
                </a:cxn>
                <a:cxn ang="0">
                  <a:pos x="362" y="190"/>
                </a:cxn>
                <a:cxn ang="0">
                  <a:pos x="360" y="193"/>
                </a:cxn>
                <a:cxn ang="0">
                  <a:pos x="360" y="200"/>
                </a:cxn>
                <a:cxn ang="0">
                  <a:pos x="362" y="210"/>
                </a:cxn>
                <a:cxn ang="0">
                  <a:pos x="359" y="224"/>
                </a:cxn>
                <a:cxn ang="0">
                  <a:pos x="350" y="233"/>
                </a:cxn>
                <a:cxn ang="0">
                  <a:pos x="340" y="240"/>
                </a:cxn>
                <a:cxn ang="0">
                  <a:pos x="328" y="246"/>
                </a:cxn>
                <a:cxn ang="0">
                  <a:pos x="329" y="252"/>
                </a:cxn>
                <a:cxn ang="0">
                  <a:pos x="328" y="269"/>
                </a:cxn>
                <a:cxn ang="0">
                  <a:pos x="324" y="275"/>
                </a:cxn>
                <a:cxn ang="0">
                  <a:pos x="323" y="279"/>
                </a:cxn>
                <a:cxn ang="0">
                  <a:pos x="326" y="298"/>
                </a:cxn>
                <a:cxn ang="0">
                  <a:pos x="312" y="298"/>
                </a:cxn>
                <a:cxn ang="0">
                  <a:pos x="323" y="306"/>
                </a:cxn>
                <a:cxn ang="0">
                  <a:pos x="307" y="310"/>
                </a:cxn>
                <a:cxn ang="0">
                  <a:pos x="306" y="322"/>
                </a:cxn>
                <a:cxn ang="0">
                  <a:pos x="307" y="332"/>
                </a:cxn>
                <a:cxn ang="0">
                  <a:pos x="316" y="328"/>
                </a:cxn>
                <a:cxn ang="0">
                  <a:pos x="311" y="339"/>
                </a:cxn>
                <a:cxn ang="0">
                  <a:pos x="321" y="334"/>
                </a:cxn>
                <a:cxn ang="0">
                  <a:pos x="319" y="354"/>
                </a:cxn>
                <a:cxn ang="0">
                  <a:pos x="321" y="363"/>
                </a:cxn>
                <a:cxn ang="0">
                  <a:pos x="316" y="371"/>
                </a:cxn>
                <a:cxn ang="0">
                  <a:pos x="307" y="380"/>
                </a:cxn>
                <a:cxn ang="0">
                  <a:pos x="129" y="387"/>
                </a:cxn>
                <a:cxn ang="0">
                  <a:pos x="56" y="330"/>
                </a:cxn>
                <a:cxn ang="0">
                  <a:pos x="41" y="327"/>
                </a:cxn>
                <a:cxn ang="0">
                  <a:pos x="35" y="327"/>
                </a:cxn>
                <a:cxn ang="0">
                  <a:pos x="25" y="330"/>
                </a:cxn>
                <a:cxn ang="0">
                  <a:pos x="22" y="327"/>
                </a:cxn>
                <a:cxn ang="0">
                  <a:pos x="17" y="289"/>
                </a:cxn>
              </a:cxnLst>
              <a:rect l="0" t="0" r="r" b="b"/>
              <a:pathLst>
                <a:path w="430" h="388">
                  <a:moveTo>
                    <a:pt x="18" y="262"/>
                  </a:moveTo>
                  <a:lnTo>
                    <a:pt x="18" y="228"/>
                  </a:lnTo>
                  <a:lnTo>
                    <a:pt x="18" y="204"/>
                  </a:lnTo>
                  <a:lnTo>
                    <a:pt x="18" y="183"/>
                  </a:lnTo>
                  <a:lnTo>
                    <a:pt x="18" y="132"/>
                  </a:lnTo>
                  <a:lnTo>
                    <a:pt x="15" y="106"/>
                  </a:lnTo>
                  <a:lnTo>
                    <a:pt x="13" y="93"/>
                  </a:lnTo>
                  <a:lnTo>
                    <a:pt x="6" y="57"/>
                  </a:lnTo>
                  <a:lnTo>
                    <a:pt x="6" y="50"/>
                  </a:lnTo>
                  <a:lnTo>
                    <a:pt x="1" y="16"/>
                  </a:lnTo>
                  <a:lnTo>
                    <a:pt x="0" y="14"/>
                  </a:lnTo>
                  <a:lnTo>
                    <a:pt x="46" y="14"/>
                  </a:lnTo>
                  <a:lnTo>
                    <a:pt x="65" y="14"/>
                  </a:lnTo>
                  <a:lnTo>
                    <a:pt x="87" y="12"/>
                  </a:lnTo>
                  <a:lnTo>
                    <a:pt x="111" y="12"/>
                  </a:lnTo>
                  <a:lnTo>
                    <a:pt x="112" y="12"/>
                  </a:lnTo>
                  <a:lnTo>
                    <a:pt x="152" y="11"/>
                  </a:lnTo>
                  <a:lnTo>
                    <a:pt x="157" y="11"/>
                  </a:lnTo>
                  <a:lnTo>
                    <a:pt x="179" y="11"/>
                  </a:lnTo>
                  <a:lnTo>
                    <a:pt x="212" y="9"/>
                  </a:lnTo>
                  <a:lnTo>
                    <a:pt x="213" y="9"/>
                  </a:lnTo>
                  <a:lnTo>
                    <a:pt x="251" y="7"/>
                  </a:lnTo>
                  <a:lnTo>
                    <a:pt x="271" y="5"/>
                  </a:lnTo>
                  <a:lnTo>
                    <a:pt x="275" y="5"/>
                  </a:lnTo>
                  <a:lnTo>
                    <a:pt x="299" y="5"/>
                  </a:lnTo>
                  <a:lnTo>
                    <a:pt x="326" y="4"/>
                  </a:lnTo>
                  <a:lnTo>
                    <a:pt x="345" y="2"/>
                  </a:lnTo>
                  <a:lnTo>
                    <a:pt x="376" y="0"/>
                  </a:lnTo>
                  <a:lnTo>
                    <a:pt x="382" y="0"/>
                  </a:lnTo>
                  <a:lnTo>
                    <a:pt x="384" y="4"/>
                  </a:lnTo>
                  <a:lnTo>
                    <a:pt x="386" y="4"/>
                  </a:lnTo>
                  <a:lnTo>
                    <a:pt x="384" y="7"/>
                  </a:lnTo>
                  <a:lnTo>
                    <a:pt x="386" y="9"/>
                  </a:lnTo>
                  <a:lnTo>
                    <a:pt x="389" y="11"/>
                  </a:lnTo>
                  <a:lnTo>
                    <a:pt x="391" y="11"/>
                  </a:lnTo>
                  <a:lnTo>
                    <a:pt x="391" y="14"/>
                  </a:lnTo>
                  <a:lnTo>
                    <a:pt x="391" y="17"/>
                  </a:lnTo>
                  <a:lnTo>
                    <a:pt x="393" y="21"/>
                  </a:lnTo>
                  <a:lnTo>
                    <a:pt x="391" y="23"/>
                  </a:lnTo>
                  <a:lnTo>
                    <a:pt x="388" y="24"/>
                  </a:lnTo>
                  <a:lnTo>
                    <a:pt x="386" y="29"/>
                  </a:lnTo>
                  <a:lnTo>
                    <a:pt x="382" y="31"/>
                  </a:lnTo>
                  <a:lnTo>
                    <a:pt x="379" y="34"/>
                  </a:lnTo>
                  <a:lnTo>
                    <a:pt x="377" y="36"/>
                  </a:lnTo>
                  <a:lnTo>
                    <a:pt x="377" y="38"/>
                  </a:lnTo>
                  <a:lnTo>
                    <a:pt x="376" y="41"/>
                  </a:lnTo>
                  <a:lnTo>
                    <a:pt x="374" y="41"/>
                  </a:lnTo>
                  <a:lnTo>
                    <a:pt x="370" y="45"/>
                  </a:lnTo>
                  <a:lnTo>
                    <a:pt x="365" y="55"/>
                  </a:lnTo>
                  <a:lnTo>
                    <a:pt x="374" y="55"/>
                  </a:lnTo>
                  <a:lnTo>
                    <a:pt x="401" y="52"/>
                  </a:lnTo>
                  <a:lnTo>
                    <a:pt x="422" y="50"/>
                  </a:lnTo>
                  <a:lnTo>
                    <a:pt x="423" y="55"/>
                  </a:lnTo>
                  <a:lnTo>
                    <a:pt x="429" y="57"/>
                  </a:lnTo>
                  <a:lnTo>
                    <a:pt x="430" y="60"/>
                  </a:lnTo>
                  <a:lnTo>
                    <a:pt x="429" y="62"/>
                  </a:lnTo>
                  <a:lnTo>
                    <a:pt x="429" y="62"/>
                  </a:lnTo>
                  <a:lnTo>
                    <a:pt x="423" y="60"/>
                  </a:lnTo>
                  <a:lnTo>
                    <a:pt x="422" y="60"/>
                  </a:lnTo>
                  <a:lnTo>
                    <a:pt x="420" y="62"/>
                  </a:lnTo>
                  <a:lnTo>
                    <a:pt x="420" y="64"/>
                  </a:lnTo>
                  <a:lnTo>
                    <a:pt x="420" y="65"/>
                  </a:lnTo>
                  <a:lnTo>
                    <a:pt x="425" y="67"/>
                  </a:lnTo>
                  <a:lnTo>
                    <a:pt x="425" y="69"/>
                  </a:lnTo>
                  <a:lnTo>
                    <a:pt x="422" y="72"/>
                  </a:lnTo>
                  <a:lnTo>
                    <a:pt x="420" y="70"/>
                  </a:lnTo>
                  <a:lnTo>
                    <a:pt x="418" y="72"/>
                  </a:lnTo>
                  <a:lnTo>
                    <a:pt x="417" y="75"/>
                  </a:lnTo>
                  <a:lnTo>
                    <a:pt x="415" y="77"/>
                  </a:lnTo>
                  <a:lnTo>
                    <a:pt x="411" y="79"/>
                  </a:lnTo>
                  <a:lnTo>
                    <a:pt x="408" y="79"/>
                  </a:lnTo>
                  <a:lnTo>
                    <a:pt x="405" y="81"/>
                  </a:lnTo>
                  <a:lnTo>
                    <a:pt x="405" y="82"/>
                  </a:lnTo>
                  <a:lnTo>
                    <a:pt x="406" y="87"/>
                  </a:lnTo>
                  <a:lnTo>
                    <a:pt x="410" y="89"/>
                  </a:lnTo>
                  <a:lnTo>
                    <a:pt x="411" y="87"/>
                  </a:lnTo>
                  <a:lnTo>
                    <a:pt x="413" y="87"/>
                  </a:lnTo>
                  <a:lnTo>
                    <a:pt x="413" y="89"/>
                  </a:lnTo>
                  <a:lnTo>
                    <a:pt x="413" y="91"/>
                  </a:lnTo>
                  <a:lnTo>
                    <a:pt x="411" y="91"/>
                  </a:lnTo>
                  <a:lnTo>
                    <a:pt x="405" y="94"/>
                  </a:lnTo>
                  <a:lnTo>
                    <a:pt x="405" y="98"/>
                  </a:lnTo>
                  <a:lnTo>
                    <a:pt x="408" y="101"/>
                  </a:lnTo>
                  <a:lnTo>
                    <a:pt x="408" y="103"/>
                  </a:lnTo>
                  <a:lnTo>
                    <a:pt x="406" y="103"/>
                  </a:lnTo>
                  <a:lnTo>
                    <a:pt x="405" y="103"/>
                  </a:lnTo>
                  <a:lnTo>
                    <a:pt x="403" y="99"/>
                  </a:lnTo>
                  <a:lnTo>
                    <a:pt x="398" y="101"/>
                  </a:lnTo>
                  <a:lnTo>
                    <a:pt x="398" y="101"/>
                  </a:lnTo>
                  <a:lnTo>
                    <a:pt x="398" y="105"/>
                  </a:lnTo>
                  <a:lnTo>
                    <a:pt x="403" y="111"/>
                  </a:lnTo>
                  <a:lnTo>
                    <a:pt x="398" y="115"/>
                  </a:lnTo>
                  <a:lnTo>
                    <a:pt x="398" y="116"/>
                  </a:lnTo>
                  <a:lnTo>
                    <a:pt x="396" y="115"/>
                  </a:lnTo>
                  <a:lnTo>
                    <a:pt x="396" y="110"/>
                  </a:lnTo>
                  <a:lnTo>
                    <a:pt x="394" y="110"/>
                  </a:lnTo>
                  <a:lnTo>
                    <a:pt x="393" y="110"/>
                  </a:lnTo>
                  <a:lnTo>
                    <a:pt x="391" y="113"/>
                  </a:lnTo>
                  <a:lnTo>
                    <a:pt x="388" y="115"/>
                  </a:lnTo>
                  <a:lnTo>
                    <a:pt x="388" y="120"/>
                  </a:lnTo>
                  <a:lnTo>
                    <a:pt x="391" y="120"/>
                  </a:lnTo>
                  <a:lnTo>
                    <a:pt x="391" y="116"/>
                  </a:lnTo>
                  <a:lnTo>
                    <a:pt x="393" y="115"/>
                  </a:lnTo>
                  <a:lnTo>
                    <a:pt x="394" y="115"/>
                  </a:lnTo>
                  <a:lnTo>
                    <a:pt x="396" y="116"/>
                  </a:lnTo>
                  <a:lnTo>
                    <a:pt x="394" y="120"/>
                  </a:lnTo>
                  <a:lnTo>
                    <a:pt x="394" y="122"/>
                  </a:lnTo>
                  <a:lnTo>
                    <a:pt x="394" y="123"/>
                  </a:lnTo>
                  <a:lnTo>
                    <a:pt x="394" y="127"/>
                  </a:lnTo>
                  <a:lnTo>
                    <a:pt x="389" y="128"/>
                  </a:lnTo>
                  <a:lnTo>
                    <a:pt x="389" y="130"/>
                  </a:lnTo>
                  <a:lnTo>
                    <a:pt x="391" y="132"/>
                  </a:lnTo>
                  <a:lnTo>
                    <a:pt x="394" y="132"/>
                  </a:lnTo>
                  <a:lnTo>
                    <a:pt x="396" y="134"/>
                  </a:lnTo>
                  <a:lnTo>
                    <a:pt x="398" y="137"/>
                  </a:lnTo>
                  <a:lnTo>
                    <a:pt x="398" y="140"/>
                  </a:lnTo>
                  <a:lnTo>
                    <a:pt x="398" y="142"/>
                  </a:lnTo>
                  <a:lnTo>
                    <a:pt x="398" y="144"/>
                  </a:lnTo>
                  <a:lnTo>
                    <a:pt x="398" y="147"/>
                  </a:lnTo>
                  <a:lnTo>
                    <a:pt x="391" y="146"/>
                  </a:lnTo>
                  <a:lnTo>
                    <a:pt x="389" y="147"/>
                  </a:lnTo>
                  <a:lnTo>
                    <a:pt x="389" y="149"/>
                  </a:lnTo>
                  <a:lnTo>
                    <a:pt x="389" y="152"/>
                  </a:lnTo>
                  <a:lnTo>
                    <a:pt x="388" y="156"/>
                  </a:lnTo>
                  <a:lnTo>
                    <a:pt x="379" y="156"/>
                  </a:lnTo>
                  <a:lnTo>
                    <a:pt x="379" y="161"/>
                  </a:lnTo>
                  <a:lnTo>
                    <a:pt x="379" y="164"/>
                  </a:lnTo>
                  <a:lnTo>
                    <a:pt x="384" y="166"/>
                  </a:lnTo>
                  <a:lnTo>
                    <a:pt x="384" y="168"/>
                  </a:lnTo>
                  <a:lnTo>
                    <a:pt x="384" y="169"/>
                  </a:lnTo>
                  <a:lnTo>
                    <a:pt x="382" y="173"/>
                  </a:lnTo>
                  <a:lnTo>
                    <a:pt x="381" y="175"/>
                  </a:lnTo>
                  <a:lnTo>
                    <a:pt x="381" y="176"/>
                  </a:lnTo>
                  <a:lnTo>
                    <a:pt x="381" y="178"/>
                  </a:lnTo>
                  <a:lnTo>
                    <a:pt x="377" y="178"/>
                  </a:lnTo>
                  <a:lnTo>
                    <a:pt x="376" y="176"/>
                  </a:lnTo>
                  <a:lnTo>
                    <a:pt x="370" y="180"/>
                  </a:lnTo>
                  <a:lnTo>
                    <a:pt x="369" y="180"/>
                  </a:lnTo>
                  <a:lnTo>
                    <a:pt x="369" y="180"/>
                  </a:lnTo>
                  <a:lnTo>
                    <a:pt x="369" y="176"/>
                  </a:lnTo>
                  <a:lnTo>
                    <a:pt x="367" y="175"/>
                  </a:lnTo>
                  <a:lnTo>
                    <a:pt x="365" y="175"/>
                  </a:lnTo>
                  <a:lnTo>
                    <a:pt x="365" y="178"/>
                  </a:lnTo>
                  <a:lnTo>
                    <a:pt x="367" y="181"/>
                  </a:lnTo>
                  <a:lnTo>
                    <a:pt x="365" y="183"/>
                  </a:lnTo>
                  <a:lnTo>
                    <a:pt x="367" y="188"/>
                  </a:lnTo>
                  <a:lnTo>
                    <a:pt x="367" y="190"/>
                  </a:lnTo>
                  <a:lnTo>
                    <a:pt x="365" y="192"/>
                  </a:lnTo>
                  <a:lnTo>
                    <a:pt x="364" y="192"/>
                  </a:lnTo>
                  <a:lnTo>
                    <a:pt x="362" y="190"/>
                  </a:lnTo>
                  <a:lnTo>
                    <a:pt x="364" y="188"/>
                  </a:lnTo>
                  <a:lnTo>
                    <a:pt x="364" y="185"/>
                  </a:lnTo>
                  <a:lnTo>
                    <a:pt x="362" y="183"/>
                  </a:lnTo>
                  <a:lnTo>
                    <a:pt x="360" y="183"/>
                  </a:lnTo>
                  <a:lnTo>
                    <a:pt x="359" y="185"/>
                  </a:lnTo>
                  <a:lnTo>
                    <a:pt x="360" y="193"/>
                  </a:lnTo>
                  <a:lnTo>
                    <a:pt x="362" y="195"/>
                  </a:lnTo>
                  <a:lnTo>
                    <a:pt x="365" y="193"/>
                  </a:lnTo>
                  <a:lnTo>
                    <a:pt x="367" y="197"/>
                  </a:lnTo>
                  <a:lnTo>
                    <a:pt x="364" y="202"/>
                  </a:lnTo>
                  <a:lnTo>
                    <a:pt x="360" y="202"/>
                  </a:lnTo>
                  <a:lnTo>
                    <a:pt x="360" y="200"/>
                  </a:lnTo>
                  <a:lnTo>
                    <a:pt x="360" y="197"/>
                  </a:lnTo>
                  <a:lnTo>
                    <a:pt x="359" y="195"/>
                  </a:lnTo>
                  <a:lnTo>
                    <a:pt x="357" y="200"/>
                  </a:lnTo>
                  <a:lnTo>
                    <a:pt x="357" y="204"/>
                  </a:lnTo>
                  <a:lnTo>
                    <a:pt x="357" y="205"/>
                  </a:lnTo>
                  <a:lnTo>
                    <a:pt x="362" y="210"/>
                  </a:lnTo>
                  <a:lnTo>
                    <a:pt x="362" y="212"/>
                  </a:lnTo>
                  <a:lnTo>
                    <a:pt x="359" y="214"/>
                  </a:lnTo>
                  <a:lnTo>
                    <a:pt x="357" y="214"/>
                  </a:lnTo>
                  <a:lnTo>
                    <a:pt x="357" y="217"/>
                  </a:lnTo>
                  <a:lnTo>
                    <a:pt x="359" y="222"/>
                  </a:lnTo>
                  <a:lnTo>
                    <a:pt x="359" y="224"/>
                  </a:lnTo>
                  <a:lnTo>
                    <a:pt x="357" y="228"/>
                  </a:lnTo>
                  <a:lnTo>
                    <a:pt x="352" y="231"/>
                  </a:lnTo>
                  <a:lnTo>
                    <a:pt x="352" y="236"/>
                  </a:lnTo>
                  <a:lnTo>
                    <a:pt x="350" y="236"/>
                  </a:lnTo>
                  <a:lnTo>
                    <a:pt x="350" y="236"/>
                  </a:lnTo>
                  <a:lnTo>
                    <a:pt x="350" y="233"/>
                  </a:lnTo>
                  <a:lnTo>
                    <a:pt x="348" y="231"/>
                  </a:lnTo>
                  <a:lnTo>
                    <a:pt x="343" y="231"/>
                  </a:lnTo>
                  <a:lnTo>
                    <a:pt x="343" y="233"/>
                  </a:lnTo>
                  <a:lnTo>
                    <a:pt x="345" y="238"/>
                  </a:lnTo>
                  <a:lnTo>
                    <a:pt x="343" y="241"/>
                  </a:lnTo>
                  <a:lnTo>
                    <a:pt x="340" y="240"/>
                  </a:lnTo>
                  <a:lnTo>
                    <a:pt x="340" y="240"/>
                  </a:lnTo>
                  <a:lnTo>
                    <a:pt x="338" y="241"/>
                  </a:lnTo>
                  <a:lnTo>
                    <a:pt x="338" y="246"/>
                  </a:lnTo>
                  <a:lnTo>
                    <a:pt x="335" y="248"/>
                  </a:lnTo>
                  <a:lnTo>
                    <a:pt x="329" y="245"/>
                  </a:lnTo>
                  <a:lnTo>
                    <a:pt x="328" y="246"/>
                  </a:lnTo>
                  <a:lnTo>
                    <a:pt x="329" y="250"/>
                  </a:lnTo>
                  <a:lnTo>
                    <a:pt x="338" y="252"/>
                  </a:lnTo>
                  <a:lnTo>
                    <a:pt x="340" y="253"/>
                  </a:lnTo>
                  <a:lnTo>
                    <a:pt x="338" y="255"/>
                  </a:lnTo>
                  <a:lnTo>
                    <a:pt x="336" y="257"/>
                  </a:lnTo>
                  <a:lnTo>
                    <a:pt x="329" y="252"/>
                  </a:lnTo>
                  <a:lnTo>
                    <a:pt x="328" y="255"/>
                  </a:lnTo>
                  <a:lnTo>
                    <a:pt x="328" y="258"/>
                  </a:lnTo>
                  <a:lnTo>
                    <a:pt x="331" y="262"/>
                  </a:lnTo>
                  <a:lnTo>
                    <a:pt x="335" y="262"/>
                  </a:lnTo>
                  <a:lnTo>
                    <a:pt x="333" y="267"/>
                  </a:lnTo>
                  <a:lnTo>
                    <a:pt x="328" y="269"/>
                  </a:lnTo>
                  <a:lnTo>
                    <a:pt x="326" y="272"/>
                  </a:lnTo>
                  <a:lnTo>
                    <a:pt x="326" y="274"/>
                  </a:lnTo>
                  <a:lnTo>
                    <a:pt x="328" y="275"/>
                  </a:lnTo>
                  <a:lnTo>
                    <a:pt x="328" y="275"/>
                  </a:lnTo>
                  <a:lnTo>
                    <a:pt x="324" y="277"/>
                  </a:lnTo>
                  <a:lnTo>
                    <a:pt x="324" y="275"/>
                  </a:lnTo>
                  <a:lnTo>
                    <a:pt x="323" y="274"/>
                  </a:lnTo>
                  <a:lnTo>
                    <a:pt x="321" y="274"/>
                  </a:lnTo>
                  <a:lnTo>
                    <a:pt x="317" y="272"/>
                  </a:lnTo>
                  <a:lnTo>
                    <a:pt x="316" y="274"/>
                  </a:lnTo>
                  <a:lnTo>
                    <a:pt x="317" y="275"/>
                  </a:lnTo>
                  <a:lnTo>
                    <a:pt x="323" y="279"/>
                  </a:lnTo>
                  <a:lnTo>
                    <a:pt x="319" y="287"/>
                  </a:lnTo>
                  <a:lnTo>
                    <a:pt x="319" y="289"/>
                  </a:lnTo>
                  <a:lnTo>
                    <a:pt x="323" y="293"/>
                  </a:lnTo>
                  <a:lnTo>
                    <a:pt x="326" y="294"/>
                  </a:lnTo>
                  <a:lnTo>
                    <a:pt x="326" y="296"/>
                  </a:lnTo>
                  <a:lnTo>
                    <a:pt x="326" y="298"/>
                  </a:lnTo>
                  <a:lnTo>
                    <a:pt x="323" y="298"/>
                  </a:lnTo>
                  <a:lnTo>
                    <a:pt x="321" y="298"/>
                  </a:lnTo>
                  <a:lnTo>
                    <a:pt x="319" y="296"/>
                  </a:lnTo>
                  <a:lnTo>
                    <a:pt x="316" y="298"/>
                  </a:lnTo>
                  <a:lnTo>
                    <a:pt x="312" y="298"/>
                  </a:lnTo>
                  <a:lnTo>
                    <a:pt x="312" y="298"/>
                  </a:lnTo>
                  <a:lnTo>
                    <a:pt x="312" y="303"/>
                  </a:lnTo>
                  <a:lnTo>
                    <a:pt x="314" y="304"/>
                  </a:lnTo>
                  <a:lnTo>
                    <a:pt x="316" y="304"/>
                  </a:lnTo>
                  <a:lnTo>
                    <a:pt x="321" y="303"/>
                  </a:lnTo>
                  <a:lnTo>
                    <a:pt x="323" y="304"/>
                  </a:lnTo>
                  <a:lnTo>
                    <a:pt x="323" y="306"/>
                  </a:lnTo>
                  <a:lnTo>
                    <a:pt x="317" y="310"/>
                  </a:lnTo>
                  <a:lnTo>
                    <a:pt x="314" y="308"/>
                  </a:lnTo>
                  <a:lnTo>
                    <a:pt x="311" y="303"/>
                  </a:lnTo>
                  <a:lnTo>
                    <a:pt x="307" y="304"/>
                  </a:lnTo>
                  <a:lnTo>
                    <a:pt x="307" y="306"/>
                  </a:lnTo>
                  <a:lnTo>
                    <a:pt x="307" y="310"/>
                  </a:lnTo>
                  <a:lnTo>
                    <a:pt x="312" y="313"/>
                  </a:lnTo>
                  <a:lnTo>
                    <a:pt x="312" y="315"/>
                  </a:lnTo>
                  <a:lnTo>
                    <a:pt x="311" y="318"/>
                  </a:lnTo>
                  <a:lnTo>
                    <a:pt x="309" y="320"/>
                  </a:lnTo>
                  <a:lnTo>
                    <a:pt x="306" y="318"/>
                  </a:lnTo>
                  <a:lnTo>
                    <a:pt x="306" y="322"/>
                  </a:lnTo>
                  <a:lnTo>
                    <a:pt x="307" y="323"/>
                  </a:lnTo>
                  <a:lnTo>
                    <a:pt x="309" y="323"/>
                  </a:lnTo>
                  <a:lnTo>
                    <a:pt x="311" y="325"/>
                  </a:lnTo>
                  <a:lnTo>
                    <a:pt x="311" y="327"/>
                  </a:lnTo>
                  <a:lnTo>
                    <a:pt x="309" y="330"/>
                  </a:lnTo>
                  <a:lnTo>
                    <a:pt x="307" y="332"/>
                  </a:lnTo>
                  <a:lnTo>
                    <a:pt x="306" y="334"/>
                  </a:lnTo>
                  <a:lnTo>
                    <a:pt x="311" y="334"/>
                  </a:lnTo>
                  <a:lnTo>
                    <a:pt x="312" y="330"/>
                  </a:lnTo>
                  <a:lnTo>
                    <a:pt x="311" y="327"/>
                  </a:lnTo>
                  <a:lnTo>
                    <a:pt x="312" y="327"/>
                  </a:lnTo>
                  <a:lnTo>
                    <a:pt x="316" y="328"/>
                  </a:lnTo>
                  <a:lnTo>
                    <a:pt x="316" y="330"/>
                  </a:lnTo>
                  <a:lnTo>
                    <a:pt x="316" y="332"/>
                  </a:lnTo>
                  <a:lnTo>
                    <a:pt x="316" y="334"/>
                  </a:lnTo>
                  <a:lnTo>
                    <a:pt x="309" y="335"/>
                  </a:lnTo>
                  <a:lnTo>
                    <a:pt x="309" y="337"/>
                  </a:lnTo>
                  <a:lnTo>
                    <a:pt x="311" y="339"/>
                  </a:lnTo>
                  <a:lnTo>
                    <a:pt x="316" y="339"/>
                  </a:lnTo>
                  <a:lnTo>
                    <a:pt x="317" y="335"/>
                  </a:lnTo>
                  <a:lnTo>
                    <a:pt x="319" y="330"/>
                  </a:lnTo>
                  <a:lnTo>
                    <a:pt x="321" y="330"/>
                  </a:lnTo>
                  <a:lnTo>
                    <a:pt x="321" y="330"/>
                  </a:lnTo>
                  <a:lnTo>
                    <a:pt x="321" y="334"/>
                  </a:lnTo>
                  <a:lnTo>
                    <a:pt x="321" y="337"/>
                  </a:lnTo>
                  <a:lnTo>
                    <a:pt x="317" y="339"/>
                  </a:lnTo>
                  <a:lnTo>
                    <a:pt x="316" y="342"/>
                  </a:lnTo>
                  <a:lnTo>
                    <a:pt x="316" y="345"/>
                  </a:lnTo>
                  <a:lnTo>
                    <a:pt x="317" y="352"/>
                  </a:lnTo>
                  <a:lnTo>
                    <a:pt x="319" y="354"/>
                  </a:lnTo>
                  <a:lnTo>
                    <a:pt x="321" y="349"/>
                  </a:lnTo>
                  <a:lnTo>
                    <a:pt x="323" y="349"/>
                  </a:lnTo>
                  <a:lnTo>
                    <a:pt x="324" y="351"/>
                  </a:lnTo>
                  <a:lnTo>
                    <a:pt x="323" y="354"/>
                  </a:lnTo>
                  <a:lnTo>
                    <a:pt x="319" y="356"/>
                  </a:lnTo>
                  <a:lnTo>
                    <a:pt x="321" y="363"/>
                  </a:lnTo>
                  <a:lnTo>
                    <a:pt x="319" y="364"/>
                  </a:lnTo>
                  <a:lnTo>
                    <a:pt x="317" y="366"/>
                  </a:lnTo>
                  <a:lnTo>
                    <a:pt x="312" y="364"/>
                  </a:lnTo>
                  <a:lnTo>
                    <a:pt x="311" y="366"/>
                  </a:lnTo>
                  <a:lnTo>
                    <a:pt x="312" y="369"/>
                  </a:lnTo>
                  <a:lnTo>
                    <a:pt x="316" y="371"/>
                  </a:lnTo>
                  <a:lnTo>
                    <a:pt x="319" y="373"/>
                  </a:lnTo>
                  <a:lnTo>
                    <a:pt x="317" y="376"/>
                  </a:lnTo>
                  <a:lnTo>
                    <a:pt x="316" y="376"/>
                  </a:lnTo>
                  <a:lnTo>
                    <a:pt x="316" y="378"/>
                  </a:lnTo>
                  <a:lnTo>
                    <a:pt x="314" y="380"/>
                  </a:lnTo>
                  <a:lnTo>
                    <a:pt x="307" y="380"/>
                  </a:lnTo>
                  <a:lnTo>
                    <a:pt x="292" y="381"/>
                  </a:lnTo>
                  <a:lnTo>
                    <a:pt x="288" y="381"/>
                  </a:lnTo>
                  <a:lnTo>
                    <a:pt x="234" y="383"/>
                  </a:lnTo>
                  <a:lnTo>
                    <a:pt x="176" y="385"/>
                  </a:lnTo>
                  <a:lnTo>
                    <a:pt x="152" y="385"/>
                  </a:lnTo>
                  <a:lnTo>
                    <a:pt x="129" y="387"/>
                  </a:lnTo>
                  <a:lnTo>
                    <a:pt x="107" y="387"/>
                  </a:lnTo>
                  <a:lnTo>
                    <a:pt x="104" y="387"/>
                  </a:lnTo>
                  <a:lnTo>
                    <a:pt x="78" y="387"/>
                  </a:lnTo>
                  <a:lnTo>
                    <a:pt x="58" y="388"/>
                  </a:lnTo>
                  <a:lnTo>
                    <a:pt x="58" y="361"/>
                  </a:lnTo>
                  <a:lnTo>
                    <a:pt x="56" y="330"/>
                  </a:lnTo>
                  <a:lnTo>
                    <a:pt x="54" y="328"/>
                  </a:lnTo>
                  <a:lnTo>
                    <a:pt x="53" y="327"/>
                  </a:lnTo>
                  <a:lnTo>
                    <a:pt x="51" y="328"/>
                  </a:lnTo>
                  <a:lnTo>
                    <a:pt x="46" y="328"/>
                  </a:lnTo>
                  <a:lnTo>
                    <a:pt x="46" y="327"/>
                  </a:lnTo>
                  <a:lnTo>
                    <a:pt x="41" y="327"/>
                  </a:lnTo>
                  <a:lnTo>
                    <a:pt x="41" y="330"/>
                  </a:lnTo>
                  <a:lnTo>
                    <a:pt x="39" y="330"/>
                  </a:lnTo>
                  <a:lnTo>
                    <a:pt x="41" y="327"/>
                  </a:lnTo>
                  <a:lnTo>
                    <a:pt x="39" y="327"/>
                  </a:lnTo>
                  <a:lnTo>
                    <a:pt x="35" y="330"/>
                  </a:lnTo>
                  <a:lnTo>
                    <a:pt x="35" y="327"/>
                  </a:lnTo>
                  <a:lnTo>
                    <a:pt x="35" y="327"/>
                  </a:lnTo>
                  <a:lnTo>
                    <a:pt x="34" y="328"/>
                  </a:lnTo>
                  <a:lnTo>
                    <a:pt x="32" y="330"/>
                  </a:lnTo>
                  <a:lnTo>
                    <a:pt x="30" y="328"/>
                  </a:lnTo>
                  <a:lnTo>
                    <a:pt x="27" y="332"/>
                  </a:lnTo>
                  <a:lnTo>
                    <a:pt x="25" y="330"/>
                  </a:lnTo>
                  <a:lnTo>
                    <a:pt x="27" y="328"/>
                  </a:lnTo>
                  <a:lnTo>
                    <a:pt x="27" y="327"/>
                  </a:lnTo>
                  <a:lnTo>
                    <a:pt x="25" y="327"/>
                  </a:lnTo>
                  <a:lnTo>
                    <a:pt x="25" y="328"/>
                  </a:lnTo>
                  <a:lnTo>
                    <a:pt x="24" y="328"/>
                  </a:lnTo>
                  <a:lnTo>
                    <a:pt x="22" y="327"/>
                  </a:lnTo>
                  <a:lnTo>
                    <a:pt x="20" y="327"/>
                  </a:lnTo>
                  <a:lnTo>
                    <a:pt x="20" y="325"/>
                  </a:lnTo>
                  <a:lnTo>
                    <a:pt x="20" y="325"/>
                  </a:lnTo>
                  <a:lnTo>
                    <a:pt x="20" y="322"/>
                  </a:lnTo>
                  <a:lnTo>
                    <a:pt x="17" y="323"/>
                  </a:lnTo>
                  <a:lnTo>
                    <a:pt x="17" y="289"/>
                  </a:lnTo>
                  <a:lnTo>
                    <a:pt x="18" y="26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53" name="Freeform 52"/>
            <p:cNvSpPr>
              <a:spLocks noEditPoints="1"/>
            </p:cNvSpPr>
            <p:nvPr/>
          </p:nvSpPr>
          <p:spPr bwMode="gray">
            <a:xfrm>
              <a:off x="5548420" y="4783504"/>
              <a:ext cx="769705" cy="684362"/>
            </a:xfrm>
            <a:custGeom>
              <a:avLst/>
              <a:gdLst/>
              <a:ahLst/>
              <a:cxnLst>
                <a:cxn ang="0">
                  <a:pos x="34" y="285"/>
                </a:cxn>
                <a:cxn ang="0">
                  <a:pos x="34" y="268"/>
                </a:cxn>
                <a:cxn ang="0">
                  <a:pos x="42" y="251"/>
                </a:cxn>
                <a:cxn ang="0">
                  <a:pos x="48" y="234"/>
                </a:cxn>
                <a:cxn ang="0">
                  <a:pos x="48" y="225"/>
                </a:cxn>
                <a:cxn ang="0">
                  <a:pos x="48" y="213"/>
                </a:cxn>
                <a:cxn ang="0">
                  <a:pos x="51" y="203"/>
                </a:cxn>
                <a:cxn ang="0">
                  <a:pos x="39" y="193"/>
                </a:cxn>
                <a:cxn ang="0">
                  <a:pos x="34" y="176"/>
                </a:cxn>
                <a:cxn ang="0">
                  <a:pos x="24" y="164"/>
                </a:cxn>
                <a:cxn ang="0">
                  <a:pos x="22" y="148"/>
                </a:cxn>
                <a:cxn ang="0">
                  <a:pos x="15" y="128"/>
                </a:cxn>
                <a:cxn ang="0">
                  <a:pos x="1" y="75"/>
                </a:cxn>
                <a:cxn ang="0">
                  <a:pos x="118" y="5"/>
                </a:cxn>
                <a:cxn ang="0">
                  <a:pos x="256" y="12"/>
                </a:cxn>
                <a:cxn ang="0">
                  <a:pos x="259" y="27"/>
                </a:cxn>
                <a:cxn ang="0">
                  <a:pos x="271" y="39"/>
                </a:cxn>
                <a:cxn ang="0">
                  <a:pos x="273" y="54"/>
                </a:cxn>
                <a:cxn ang="0">
                  <a:pos x="277" y="63"/>
                </a:cxn>
                <a:cxn ang="0">
                  <a:pos x="278" y="75"/>
                </a:cxn>
                <a:cxn ang="0">
                  <a:pos x="265" y="83"/>
                </a:cxn>
                <a:cxn ang="0">
                  <a:pos x="273" y="89"/>
                </a:cxn>
                <a:cxn ang="0">
                  <a:pos x="265" y="100"/>
                </a:cxn>
                <a:cxn ang="0">
                  <a:pos x="256" y="128"/>
                </a:cxn>
                <a:cxn ang="0">
                  <a:pos x="254" y="135"/>
                </a:cxn>
                <a:cxn ang="0">
                  <a:pos x="234" y="147"/>
                </a:cxn>
                <a:cxn ang="0">
                  <a:pos x="234" y="169"/>
                </a:cxn>
                <a:cxn ang="0">
                  <a:pos x="229" y="172"/>
                </a:cxn>
                <a:cxn ang="0">
                  <a:pos x="224" y="188"/>
                </a:cxn>
                <a:cxn ang="0">
                  <a:pos x="225" y="217"/>
                </a:cxn>
                <a:cxn ang="0">
                  <a:pos x="400" y="206"/>
                </a:cxn>
                <a:cxn ang="0">
                  <a:pos x="396" y="224"/>
                </a:cxn>
                <a:cxn ang="0">
                  <a:pos x="391" y="237"/>
                </a:cxn>
                <a:cxn ang="0">
                  <a:pos x="393" y="249"/>
                </a:cxn>
                <a:cxn ang="0">
                  <a:pos x="408" y="271"/>
                </a:cxn>
                <a:cxn ang="0">
                  <a:pos x="415" y="288"/>
                </a:cxn>
                <a:cxn ang="0">
                  <a:pos x="343" y="309"/>
                </a:cxn>
                <a:cxn ang="0">
                  <a:pos x="413" y="300"/>
                </a:cxn>
                <a:cxn ang="0">
                  <a:pos x="434" y="307"/>
                </a:cxn>
                <a:cxn ang="0">
                  <a:pos x="425" y="340"/>
                </a:cxn>
                <a:cxn ang="0">
                  <a:pos x="418" y="353"/>
                </a:cxn>
                <a:cxn ang="0">
                  <a:pos x="454" y="381"/>
                </a:cxn>
                <a:cxn ang="0">
                  <a:pos x="468" y="403"/>
                </a:cxn>
                <a:cxn ang="0">
                  <a:pos x="449" y="408"/>
                </a:cxn>
                <a:cxn ang="0">
                  <a:pos x="408" y="381"/>
                </a:cxn>
                <a:cxn ang="0">
                  <a:pos x="365" y="365"/>
                </a:cxn>
                <a:cxn ang="0">
                  <a:pos x="383" y="400"/>
                </a:cxn>
                <a:cxn ang="0">
                  <a:pos x="348" y="391"/>
                </a:cxn>
                <a:cxn ang="0">
                  <a:pos x="323" y="412"/>
                </a:cxn>
                <a:cxn ang="0">
                  <a:pos x="299" y="391"/>
                </a:cxn>
                <a:cxn ang="0">
                  <a:pos x="232" y="348"/>
                </a:cxn>
                <a:cxn ang="0">
                  <a:pos x="184" y="350"/>
                </a:cxn>
                <a:cxn ang="0">
                  <a:pos x="29" y="347"/>
                </a:cxn>
                <a:cxn ang="0">
                  <a:pos x="36" y="307"/>
                </a:cxn>
                <a:cxn ang="0">
                  <a:pos x="196" y="369"/>
                </a:cxn>
                <a:cxn ang="0">
                  <a:pos x="275" y="400"/>
                </a:cxn>
                <a:cxn ang="0">
                  <a:pos x="297" y="400"/>
                </a:cxn>
                <a:cxn ang="0">
                  <a:pos x="287" y="401"/>
                </a:cxn>
              </a:cxnLst>
              <a:rect l="0" t="0" r="r" b="b"/>
              <a:pathLst>
                <a:path w="478" h="425">
                  <a:moveTo>
                    <a:pt x="36" y="306"/>
                  </a:moveTo>
                  <a:lnTo>
                    <a:pt x="37" y="299"/>
                  </a:lnTo>
                  <a:lnTo>
                    <a:pt x="34" y="299"/>
                  </a:lnTo>
                  <a:lnTo>
                    <a:pt x="30" y="295"/>
                  </a:lnTo>
                  <a:lnTo>
                    <a:pt x="30" y="294"/>
                  </a:lnTo>
                  <a:lnTo>
                    <a:pt x="32" y="292"/>
                  </a:lnTo>
                  <a:lnTo>
                    <a:pt x="32" y="290"/>
                  </a:lnTo>
                  <a:lnTo>
                    <a:pt x="32" y="287"/>
                  </a:lnTo>
                  <a:lnTo>
                    <a:pt x="34" y="285"/>
                  </a:lnTo>
                  <a:lnTo>
                    <a:pt x="37" y="283"/>
                  </a:lnTo>
                  <a:lnTo>
                    <a:pt x="36" y="282"/>
                  </a:lnTo>
                  <a:lnTo>
                    <a:pt x="37" y="282"/>
                  </a:lnTo>
                  <a:lnTo>
                    <a:pt x="36" y="278"/>
                  </a:lnTo>
                  <a:lnTo>
                    <a:pt x="36" y="277"/>
                  </a:lnTo>
                  <a:lnTo>
                    <a:pt x="36" y="275"/>
                  </a:lnTo>
                  <a:lnTo>
                    <a:pt x="32" y="273"/>
                  </a:lnTo>
                  <a:lnTo>
                    <a:pt x="34" y="270"/>
                  </a:lnTo>
                  <a:lnTo>
                    <a:pt x="34" y="268"/>
                  </a:lnTo>
                  <a:lnTo>
                    <a:pt x="37" y="266"/>
                  </a:lnTo>
                  <a:lnTo>
                    <a:pt x="39" y="268"/>
                  </a:lnTo>
                  <a:lnTo>
                    <a:pt x="37" y="265"/>
                  </a:lnTo>
                  <a:lnTo>
                    <a:pt x="37" y="263"/>
                  </a:lnTo>
                  <a:lnTo>
                    <a:pt x="39" y="259"/>
                  </a:lnTo>
                  <a:lnTo>
                    <a:pt x="44" y="258"/>
                  </a:lnTo>
                  <a:lnTo>
                    <a:pt x="44" y="254"/>
                  </a:lnTo>
                  <a:lnTo>
                    <a:pt x="44" y="253"/>
                  </a:lnTo>
                  <a:lnTo>
                    <a:pt x="42" y="251"/>
                  </a:lnTo>
                  <a:lnTo>
                    <a:pt x="46" y="247"/>
                  </a:lnTo>
                  <a:lnTo>
                    <a:pt x="46" y="246"/>
                  </a:lnTo>
                  <a:lnTo>
                    <a:pt x="49" y="242"/>
                  </a:lnTo>
                  <a:lnTo>
                    <a:pt x="49" y="241"/>
                  </a:lnTo>
                  <a:lnTo>
                    <a:pt x="48" y="241"/>
                  </a:lnTo>
                  <a:lnTo>
                    <a:pt x="49" y="239"/>
                  </a:lnTo>
                  <a:lnTo>
                    <a:pt x="48" y="237"/>
                  </a:lnTo>
                  <a:lnTo>
                    <a:pt x="48" y="236"/>
                  </a:lnTo>
                  <a:lnTo>
                    <a:pt x="48" y="234"/>
                  </a:lnTo>
                  <a:lnTo>
                    <a:pt x="49" y="234"/>
                  </a:lnTo>
                  <a:lnTo>
                    <a:pt x="49" y="232"/>
                  </a:lnTo>
                  <a:lnTo>
                    <a:pt x="51" y="232"/>
                  </a:lnTo>
                  <a:lnTo>
                    <a:pt x="51" y="230"/>
                  </a:lnTo>
                  <a:lnTo>
                    <a:pt x="51" y="229"/>
                  </a:lnTo>
                  <a:lnTo>
                    <a:pt x="49" y="229"/>
                  </a:lnTo>
                  <a:lnTo>
                    <a:pt x="49" y="227"/>
                  </a:lnTo>
                  <a:lnTo>
                    <a:pt x="48" y="227"/>
                  </a:lnTo>
                  <a:lnTo>
                    <a:pt x="48" y="225"/>
                  </a:lnTo>
                  <a:lnTo>
                    <a:pt x="48" y="224"/>
                  </a:lnTo>
                  <a:lnTo>
                    <a:pt x="48" y="222"/>
                  </a:lnTo>
                  <a:lnTo>
                    <a:pt x="49" y="222"/>
                  </a:lnTo>
                  <a:lnTo>
                    <a:pt x="53" y="220"/>
                  </a:lnTo>
                  <a:lnTo>
                    <a:pt x="51" y="218"/>
                  </a:lnTo>
                  <a:lnTo>
                    <a:pt x="51" y="215"/>
                  </a:lnTo>
                  <a:lnTo>
                    <a:pt x="49" y="215"/>
                  </a:lnTo>
                  <a:lnTo>
                    <a:pt x="49" y="213"/>
                  </a:lnTo>
                  <a:lnTo>
                    <a:pt x="48" y="213"/>
                  </a:lnTo>
                  <a:lnTo>
                    <a:pt x="48" y="212"/>
                  </a:lnTo>
                  <a:lnTo>
                    <a:pt x="49" y="212"/>
                  </a:lnTo>
                  <a:lnTo>
                    <a:pt x="51" y="210"/>
                  </a:lnTo>
                  <a:lnTo>
                    <a:pt x="49" y="210"/>
                  </a:lnTo>
                  <a:lnTo>
                    <a:pt x="49" y="206"/>
                  </a:lnTo>
                  <a:lnTo>
                    <a:pt x="51" y="206"/>
                  </a:lnTo>
                  <a:lnTo>
                    <a:pt x="49" y="205"/>
                  </a:lnTo>
                  <a:lnTo>
                    <a:pt x="51" y="205"/>
                  </a:lnTo>
                  <a:lnTo>
                    <a:pt x="51" y="203"/>
                  </a:lnTo>
                  <a:lnTo>
                    <a:pt x="48" y="203"/>
                  </a:lnTo>
                  <a:lnTo>
                    <a:pt x="46" y="205"/>
                  </a:lnTo>
                  <a:lnTo>
                    <a:pt x="44" y="205"/>
                  </a:lnTo>
                  <a:lnTo>
                    <a:pt x="44" y="203"/>
                  </a:lnTo>
                  <a:lnTo>
                    <a:pt x="44" y="200"/>
                  </a:lnTo>
                  <a:lnTo>
                    <a:pt x="42" y="198"/>
                  </a:lnTo>
                  <a:lnTo>
                    <a:pt x="42" y="194"/>
                  </a:lnTo>
                  <a:lnTo>
                    <a:pt x="41" y="194"/>
                  </a:lnTo>
                  <a:lnTo>
                    <a:pt x="39" y="193"/>
                  </a:lnTo>
                  <a:lnTo>
                    <a:pt x="36" y="191"/>
                  </a:lnTo>
                  <a:lnTo>
                    <a:pt x="36" y="189"/>
                  </a:lnTo>
                  <a:lnTo>
                    <a:pt x="41" y="184"/>
                  </a:lnTo>
                  <a:lnTo>
                    <a:pt x="37" y="184"/>
                  </a:lnTo>
                  <a:lnTo>
                    <a:pt x="37" y="181"/>
                  </a:lnTo>
                  <a:lnTo>
                    <a:pt x="36" y="181"/>
                  </a:lnTo>
                  <a:lnTo>
                    <a:pt x="34" y="179"/>
                  </a:lnTo>
                  <a:lnTo>
                    <a:pt x="36" y="177"/>
                  </a:lnTo>
                  <a:lnTo>
                    <a:pt x="34" y="176"/>
                  </a:lnTo>
                  <a:lnTo>
                    <a:pt x="34" y="174"/>
                  </a:lnTo>
                  <a:lnTo>
                    <a:pt x="32" y="176"/>
                  </a:lnTo>
                  <a:lnTo>
                    <a:pt x="29" y="172"/>
                  </a:lnTo>
                  <a:lnTo>
                    <a:pt x="32" y="171"/>
                  </a:lnTo>
                  <a:lnTo>
                    <a:pt x="34" y="169"/>
                  </a:lnTo>
                  <a:lnTo>
                    <a:pt x="30" y="169"/>
                  </a:lnTo>
                  <a:lnTo>
                    <a:pt x="29" y="167"/>
                  </a:lnTo>
                  <a:lnTo>
                    <a:pt x="27" y="167"/>
                  </a:lnTo>
                  <a:lnTo>
                    <a:pt x="24" y="164"/>
                  </a:lnTo>
                  <a:lnTo>
                    <a:pt x="24" y="162"/>
                  </a:lnTo>
                  <a:lnTo>
                    <a:pt x="22" y="160"/>
                  </a:lnTo>
                  <a:lnTo>
                    <a:pt x="22" y="159"/>
                  </a:lnTo>
                  <a:lnTo>
                    <a:pt x="24" y="155"/>
                  </a:lnTo>
                  <a:lnTo>
                    <a:pt x="24" y="153"/>
                  </a:lnTo>
                  <a:lnTo>
                    <a:pt x="24" y="152"/>
                  </a:lnTo>
                  <a:lnTo>
                    <a:pt x="25" y="148"/>
                  </a:lnTo>
                  <a:lnTo>
                    <a:pt x="24" y="148"/>
                  </a:lnTo>
                  <a:lnTo>
                    <a:pt x="22" y="148"/>
                  </a:lnTo>
                  <a:lnTo>
                    <a:pt x="24" y="147"/>
                  </a:lnTo>
                  <a:lnTo>
                    <a:pt x="22" y="143"/>
                  </a:lnTo>
                  <a:lnTo>
                    <a:pt x="22" y="142"/>
                  </a:lnTo>
                  <a:lnTo>
                    <a:pt x="20" y="138"/>
                  </a:lnTo>
                  <a:lnTo>
                    <a:pt x="19" y="136"/>
                  </a:lnTo>
                  <a:lnTo>
                    <a:pt x="17" y="133"/>
                  </a:lnTo>
                  <a:lnTo>
                    <a:pt x="17" y="131"/>
                  </a:lnTo>
                  <a:lnTo>
                    <a:pt x="15" y="131"/>
                  </a:lnTo>
                  <a:lnTo>
                    <a:pt x="15" y="128"/>
                  </a:lnTo>
                  <a:lnTo>
                    <a:pt x="12" y="130"/>
                  </a:lnTo>
                  <a:lnTo>
                    <a:pt x="13" y="128"/>
                  </a:lnTo>
                  <a:lnTo>
                    <a:pt x="12" y="128"/>
                  </a:lnTo>
                  <a:lnTo>
                    <a:pt x="8" y="126"/>
                  </a:lnTo>
                  <a:lnTo>
                    <a:pt x="8" y="123"/>
                  </a:lnTo>
                  <a:lnTo>
                    <a:pt x="5" y="119"/>
                  </a:lnTo>
                  <a:lnTo>
                    <a:pt x="1" y="118"/>
                  </a:lnTo>
                  <a:lnTo>
                    <a:pt x="1" y="95"/>
                  </a:lnTo>
                  <a:lnTo>
                    <a:pt x="1" y="75"/>
                  </a:lnTo>
                  <a:lnTo>
                    <a:pt x="0" y="42"/>
                  </a:lnTo>
                  <a:lnTo>
                    <a:pt x="0" y="22"/>
                  </a:lnTo>
                  <a:lnTo>
                    <a:pt x="0" y="8"/>
                  </a:lnTo>
                  <a:lnTo>
                    <a:pt x="20" y="7"/>
                  </a:lnTo>
                  <a:lnTo>
                    <a:pt x="46" y="7"/>
                  </a:lnTo>
                  <a:lnTo>
                    <a:pt x="49" y="7"/>
                  </a:lnTo>
                  <a:lnTo>
                    <a:pt x="71" y="7"/>
                  </a:lnTo>
                  <a:lnTo>
                    <a:pt x="94" y="5"/>
                  </a:lnTo>
                  <a:lnTo>
                    <a:pt x="118" y="5"/>
                  </a:lnTo>
                  <a:lnTo>
                    <a:pt x="176" y="3"/>
                  </a:lnTo>
                  <a:lnTo>
                    <a:pt x="230" y="1"/>
                  </a:lnTo>
                  <a:lnTo>
                    <a:pt x="234" y="1"/>
                  </a:lnTo>
                  <a:lnTo>
                    <a:pt x="249" y="0"/>
                  </a:lnTo>
                  <a:lnTo>
                    <a:pt x="256" y="0"/>
                  </a:lnTo>
                  <a:lnTo>
                    <a:pt x="258" y="1"/>
                  </a:lnTo>
                  <a:lnTo>
                    <a:pt x="253" y="8"/>
                  </a:lnTo>
                  <a:lnTo>
                    <a:pt x="254" y="10"/>
                  </a:lnTo>
                  <a:lnTo>
                    <a:pt x="256" y="12"/>
                  </a:lnTo>
                  <a:lnTo>
                    <a:pt x="259" y="10"/>
                  </a:lnTo>
                  <a:lnTo>
                    <a:pt x="259" y="8"/>
                  </a:lnTo>
                  <a:lnTo>
                    <a:pt x="259" y="3"/>
                  </a:lnTo>
                  <a:lnTo>
                    <a:pt x="261" y="1"/>
                  </a:lnTo>
                  <a:lnTo>
                    <a:pt x="263" y="1"/>
                  </a:lnTo>
                  <a:lnTo>
                    <a:pt x="265" y="5"/>
                  </a:lnTo>
                  <a:lnTo>
                    <a:pt x="265" y="13"/>
                  </a:lnTo>
                  <a:lnTo>
                    <a:pt x="259" y="18"/>
                  </a:lnTo>
                  <a:lnTo>
                    <a:pt x="259" y="27"/>
                  </a:lnTo>
                  <a:lnTo>
                    <a:pt x="261" y="27"/>
                  </a:lnTo>
                  <a:lnTo>
                    <a:pt x="265" y="27"/>
                  </a:lnTo>
                  <a:lnTo>
                    <a:pt x="268" y="30"/>
                  </a:lnTo>
                  <a:lnTo>
                    <a:pt x="261" y="37"/>
                  </a:lnTo>
                  <a:lnTo>
                    <a:pt x="259" y="39"/>
                  </a:lnTo>
                  <a:lnTo>
                    <a:pt x="263" y="44"/>
                  </a:lnTo>
                  <a:lnTo>
                    <a:pt x="268" y="42"/>
                  </a:lnTo>
                  <a:lnTo>
                    <a:pt x="270" y="42"/>
                  </a:lnTo>
                  <a:lnTo>
                    <a:pt x="271" y="39"/>
                  </a:lnTo>
                  <a:lnTo>
                    <a:pt x="273" y="39"/>
                  </a:lnTo>
                  <a:lnTo>
                    <a:pt x="273" y="41"/>
                  </a:lnTo>
                  <a:lnTo>
                    <a:pt x="271" y="46"/>
                  </a:lnTo>
                  <a:lnTo>
                    <a:pt x="268" y="46"/>
                  </a:lnTo>
                  <a:lnTo>
                    <a:pt x="268" y="48"/>
                  </a:lnTo>
                  <a:lnTo>
                    <a:pt x="268" y="49"/>
                  </a:lnTo>
                  <a:lnTo>
                    <a:pt x="275" y="53"/>
                  </a:lnTo>
                  <a:lnTo>
                    <a:pt x="275" y="54"/>
                  </a:lnTo>
                  <a:lnTo>
                    <a:pt x="273" y="54"/>
                  </a:lnTo>
                  <a:lnTo>
                    <a:pt x="271" y="54"/>
                  </a:lnTo>
                  <a:lnTo>
                    <a:pt x="266" y="49"/>
                  </a:lnTo>
                  <a:lnTo>
                    <a:pt x="263" y="51"/>
                  </a:lnTo>
                  <a:lnTo>
                    <a:pt x="263" y="54"/>
                  </a:lnTo>
                  <a:lnTo>
                    <a:pt x="270" y="59"/>
                  </a:lnTo>
                  <a:lnTo>
                    <a:pt x="271" y="59"/>
                  </a:lnTo>
                  <a:lnTo>
                    <a:pt x="275" y="59"/>
                  </a:lnTo>
                  <a:lnTo>
                    <a:pt x="278" y="59"/>
                  </a:lnTo>
                  <a:lnTo>
                    <a:pt x="277" y="63"/>
                  </a:lnTo>
                  <a:lnTo>
                    <a:pt x="273" y="65"/>
                  </a:lnTo>
                  <a:lnTo>
                    <a:pt x="275" y="68"/>
                  </a:lnTo>
                  <a:lnTo>
                    <a:pt x="277" y="70"/>
                  </a:lnTo>
                  <a:lnTo>
                    <a:pt x="283" y="70"/>
                  </a:lnTo>
                  <a:lnTo>
                    <a:pt x="285" y="66"/>
                  </a:lnTo>
                  <a:lnTo>
                    <a:pt x="287" y="66"/>
                  </a:lnTo>
                  <a:lnTo>
                    <a:pt x="283" y="75"/>
                  </a:lnTo>
                  <a:lnTo>
                    <a:pt x="282" y="75"/>
                  </a:lnTo>
                  <a:lnTo>
                    <a:pt x="278" y="75"/>
                  </a:lnTo>
                  <a:lnTo>
                    <a:pt x="277" y="75"/>
                  </a:lnTo>
                  <a:lnTo>
                    <a:pt x="277" y="77"/>
                  </a:lnTo>
                  <a:lnTo>
                    <a:pt x="278" y="78"/>
                  </a:lnTo>
                  <a:lnTo>
                    <a:pt x="278" y="83"/>
                  </a:lnTo>
                  <a:lnTo>
                    <a:pt x="271" y="82"/>
                  </a:lnTo>
                  <a:lnTo>
                    <a:pt x="270" y="83"/>
                  </a:lnTo>
                  <a:lnTo>
                    <a:pt x="268" y="83"/>
                  </a:lnTo>
                  <a:lnTo>
                    <a:pt x="266" y="85"/>
                  </a:lnTo>
                  <a:lnTo>
                    <a:pt x="265" y="83"/>
                  </a:lnTo>
                  <a:lnTo>
                    <a:pt x="261" y="87"/>
                  </a:lnTo>
                  <a:lnTo>
                    <a:pt x="261" y="90"/>
                  </a:lnTo>
                  <a:lnTo>
                    <a:pt x="263" y="92"/>
                  </a:lnTo>
                  <a:lnTo>
                    <a:pt x="266" y="94"/>
                  </a:lnTo>
                  <a:lnTo>
                    <a:pt x="268" y="92"/>
                  </a:lnTo>
                  <a:lnTo>
                    <a:pt x="271" y="94"/>
                  </a:lnTo>
                  <a:lnTo>
                    <a:pt x="271" y="90"/>
                  </a:lnTo>
                  <a:lnTo>
                    <a:pt x="271" y="89"/>
                  </a:lnTo>
                  <a:lnTo>
                    <a:pt x="273" y="89"/>
                  </a:lnTo>
                  <a:lnTo>
                    <a:pt x="277" y="89"/>
                  </a:lnTo>
                  <a:lnTo>
                    <a:pt x="275" y="94"/>
                  </a:lnTo>
                  <a:lnTo>
                    <a:pt x="273" y="95"/>
                  </a:lnTo>
                  <a:lnTo>
                    <a:pt x="270" y="97"/>
                  </a:lnTo>
                  <a:lnTo>
                    <a:pt x="271" y="102"/>
                  </a:lnTo>
                  <a:lnTo>
                    <a:pt x="268" y="102"/>
                  </a:lnTo>
                  <a:lnTo>
                    <a:pt x="265" y="99"/>
                  </a:lnTo>
                  <a:lnTo>
                    <a:pt x="263" y="99"/>
                  </a:lnTo>
                  <a:lnTo>
                    <a:pt x="265" y="100"/>
                  </a:lnTo>
                  <a:lnTo>
                    <a:pt x="270" y="104"/>
                  </a:lnTo>
                  <a:lnTo>
                    <a:pt x="270" y="106"/>
                  </a:lnTo>
                  <a:lnTo>
                    <a:pt x="268" y="109"/>
                  </a:lnTo>
                  <a:lnTo>
                    <a:pt x="263" y="109"/>
                  </a:lnTo>
                  <a:lnTo>
                    <a:pt x="259" y="118"/>
                  </a:lnTo>
                  <a:lnTo>
                    <a:pt x="256" y="121"/>
                  </a:lnTo>
                  <a:lnTo>
                    <a:pt x="254" y="123"/>
                  </a:lnTo>
                  <a:lnTo>
                    <a:pt x="256" y="126"/>
                  </a:lnTo>
                  <a:lnTo>
                    <a:pt x="256" y="128"/>
                  </a:lnTo>
                  <a:lnTo>
                    <a:pt x="253" y="128"/>
                  </a:lnTo>
                  <a:lnTo>
                    <a:pt x="251" y="124"/>
                  </a:lnTo>
                  <a:lnTo>
                    <a:pt x="251" y="123"/>
                  </a:lnTo>
                  <a:lnTo>
                    <a:pt x="248" y="126"/>
                  </a:lnTo>
                  <a:lnTo>
                    <a:pt x="248" y="131"/>
                  </a:lnTo>
                  <a:lnTo>
                    <a:pt x="246" y="133"/>
                  </a:lnTo>
                  <a:lnTo>
                    <a:pt x="248" y="135"/>
                  </a:lnTo>
                  <a:lnTo>
                    <a:pt x="254" y="133"/>
                  </a:lnTo>
                  <a:lnTo>
                    <a:pt x="254" y="135"/>
                  </a:lnTo>
                  <a:lnTo>
                    <a:pt x="253" y="136"/>
                  </a:lnTo>
                  <a:lnTo>
                    <a:pt x="248" y="135"/>
                  </a:lnTo>
                  <a:lnTo>
                    <a:pt x="244" y="136"/>
                  </a:lnTo>
                  <a:lnTo>
                    <a:pt x="246" y="136"/>
                  </a:lnTo>
                  <a:lnTo>
                    <a:pt x="244" y="140"/>
                  </a:lnTo>
                  <a:lnTo>
                    <a:pt x="244" y="147"/>
                  </a:lnTo>
                  <a:lnTo>
                    <a:pt x="242" y="150"/>
                  </a:lnTo>
                  <a:lnTo>
                    <a:pt x="237" y="150"/>
                  </a:lnTo>
                  <a:lnTo>
                    <a:pt x="234" y="147"/>
                  </a:lnTo>
                  <a:lnTo>
                    <a:pt x="232" y="148"/>
                  </a:lnTo>
                  <a:lnTo>
                    <a:pt x="232" y="150"/>
                  </a:lnTo>
                  <a:lnTo>
                    <a:pt x="234" y="152"/>
                  </a:lnTo>
                  <a:lnTo>
                    <a:pt x="241" y="152"/>
                  </a:lnTo>
                  <a:lnTo>
                    <a:pt x="242" y="153"/>
                  </a:lnTo>
                  <a:lnTo>
                    <a:pt x="241" y="157"/>
                  </a:lnTo>
                  <a:lnTo>
                    <a:pt x="237" y="159"/>
                  </a:lnTo>
                  <a:lnTo>
                    <a:pt x="234" y="160"/>
                  </a:lnTo>
                  <a:lnTo>
                    <a:pt x="234" y="169"/>
                  </a:lnTo>
                  <a:lnTo>
                    <a:pt x="237" y="172"/>
                  </a:lnTo>
                  <a:lnTo>
                    <a:pt x="237" y="174"/>
                  </a:lnTo>
                  <a:lnTo>
                    <a:pt x="237" y="176"/>
                  </a:lnTo>
                  <a:lnTo>
                    <a:pt x="236" y="177"/>
                  </a:lnTo>
                  <a:lnTo>
                    <a:pt x="232" y="176"/>
                  </a:lnTo>
                  <a:lnTo>
                    <a:pt x="232" y="174"/>
                  </a:lnTo>
                  <a:lnTo>
                    <a:pt x="232" y="171"/>
                  </a:lnTo>
                  <a:lnTo>
                    <a:pt x="230" y="171"/>
                  </a:lnTo>
                  <a:lnTo>
                    <a:pt x="229" y="172"/>
                  </a:lnTo>
                  <a:lnTo>
                    <a:pt x="229" y="176"/>
                  </a:lnTo>
                  <a:lnTo>
                    <a:pt x="232" y="176"/>
                  </a:lnTo>
                  <a:lnTo>
                    <a:pt x="230" y="177"/>
                  </a:lnTo>
                  <a:lnTo>
                    <a:pt x="230" y="179"/>
                  </a:lnTo>
                  <a:lnTo>
                    <a:pt x="236" y="183"/>
                  </a:lnTo>
                  <a:lnTo>
                    <a:pt x="236" y="184"/>
                  </a:lnTo>
                  <a:lnTo>
                    <a:pt x="234" y="186"/>
                  </a:lnTo>
                  <a:lnTo>
                    <a:pt x="230" y="188"/>
                  </a:lnTo>
                  <a:lnTo>
                    <a:pt x="224" y="188"/>
                  </a:lnTo>
                  <a:lnTo>
                    <a:pt x="222" y="188"/>
                  </a:lnTo>
                  <a:lnTo>
                    <a:pt x="224" y="191"/>
                  </a:lnTo>
                  <a:lnTo>
                    <a:pt x="227" y="194"/>
                  </a:lnTo>
                  <a:lnTo>
                    <a:pt x="227" y="198"/>
                  </a:lnTo>
                  <a:lnTo>
                    <a:pt x="225" y="203"/>
                  </a:lnTo>
                  <a:lnTo>
                    <a:pt x="230" y="208"/>
                  </a:lnTo>
                  <a:lnTo>
                    <a:pt x="232" y="212"/>
                  </a:lnTo>
                  <a:lnTo>
                    <a:pt x="230" y="213"/>
                  </a:lnTo>
                  <a:lnTo>
                    <a:pt x="225" y="217"/>
                  </a:lnTo>
                  <a:lnTo>
                    <a:pt x="266" y="215"/>
                  </a:lnTo>
                  <a:lnTo>
                    <a:pt x="278" y="215"/>
                  </a:lnTo>
                  <a:lnTo>
                    <a:pt x="299" y="213"/>
                  </a:lnTo>
                  <a:lnTo>
                    <a:pt x="323" y="212"/>
                  </a:lnTo>
                  <a:lnTo>
                    <a:pt x="324" y="212"/>
                  </a:lnTo>
                  <a:lnTo>
                    <a:pt x="343" y="210"/>
                  </a:lnTo>
                  <a:lnTo>
                    <a:pt x="350" y="210"/>
                  </a:lnTo>
                  <a:lnTo>
                    <a:pt x="389" y="208"/>
                  </a:lnTo>
                  <a:lnTo>
                    <a:pt x="400" y="206"/>
                  </a:lnTo>
                  <a:lnTo>
                    <a:pt x="400" y="208"/>
                  </a:lnTo>
                  <a:lnTo>
                    <a:pt x="400" y="210"/>
                  </a:lnTo>
                  <a:lnTo>
                    <a:pt x="398" y="212"/>
                  </a:lnTo>
                  <a:lnTo>
                    <a:pt x="398" y="213"/>
                  </a:lnTo>
                  <a:lnTo>
                    <a:pt x="398" y="215"/>
                  </a:lnTo>
                  <a:lnTo>
                    <a:pt x="398" y="217"/>
                  </a:lnTo>
                  <a:lnTo>
                    <a:pt x="398" y="218"/>
                  </a:lnTo>
                  <a:lnTo>
                    <a:pt x="396" y="218"/>
                  </a:lnTo>
                  <a:lnTo>
                    <a:pt x="396" y="224"/>
                  </a:lnTo>
                  <a:lnTo>
                    <a:pt x="395" y="224"/>
                  </a:lnTo>
                  <a:lnTo>
                    <a:pt x="396" y="227"/>
                  </a:lnTo>
                  <a:lnTo>
                    <a:pt x="395" y="227"/>
                  </a:lnTo>
                  <a:lnTo>
                    <a:pt x="395" y="229"/>
                  </a:lnTo>
                  <a:lnTo>
                    <a:pt x="393" y="229"/>
                  </a:lnTo>
                  <a:lnTo>
                    <a:pt x="391" y="230"/>
                  </a:lnTo>
                  <a:lnTo>
                    <a:pt x="393" y="236"/>
                  </a:lnTo>
                  <a:lnTo>
                    <a:pt x="393" y="237"/>
                  </a:lnTo>
                  <a:lnTo>
                    <a:pt x="391" y="237"/>
                  </a:lnTo>
                  <a:lnTo>
                    <a:pt x="391" y="239"/>
                  </a:lnTo>
                  <a:lnTo>
                    <a:pt x="393" y="241"/>
                  </a:lnTo>
                  <a:lnTo>
                    <a:pt x="391" y="241"/>
                  </a:lnTo>
                  <a:lnTo>
                    <a:pt x="391" y="242"/>
                  </a:lnTo>
                  <a:lnTo>
                    <a:pt x="391" y="244"/>
                  </a:lnTo>
                  <a:lnTo>
                    <a:pt x="393" y="244"/>
                  </a:lnTo>
                  <a:lnTo>
                    <a:pt x="393" y="246"/>
                  </a:lnTo>
                  <a:lnTo>
                    <a:pt x="395" y="246"/>
                  </a:lnTo>
                  <a:lnTo>
                    <a:pt x="393" y="249"/>
                  </a:lnTo>
                  <a:lnTo>
                    <a:pt x="396" y="256"/>
                  </a:lnTo>
                  <a:lnTo>
                    <a:pt x="398" y="256"/>
                  </a:lnTo>
                  <a:lnTo>
                    <a:pt x="400" y="259"/>
                  </a:lnTo>
                  <a:lnTo>
                    <a:pt x="403" y="261"/>
                  </a:lnTo>
                  <a:lnTo>
                    <a:pt x="405" y="263"/>
                  </a:lnTo>
                  <a:lnTo>
                    <a:pt x="406" y="263"/>
                  </a:lnTo>
                  <a:lnTo>
                    <a:pt x="406" y="265"/>
                  </a:lnTo>
                  <a:lnTo>
                    <a:pt x="408" y="266"/>
                  </a:lnTo>
                  <a:lnTo>
                    <a:pt x="408" y="271"/>
                  </a:lnTo>
                  <a:lnTo>
                    <a:pt x="410" y="273"/>
                  </a:lnTo>
                  <a:lnTo>
                    <a:pt x="412" y="277"/>
                  </a:lnTo>
                  <a:lnTo>
                    <a:pt x="413" y="277"/>
                  </a:lnTo>
                  <a:lnTo>
                    <a:pt x="415" y="280"/>
                  </a:lnTo>
                  <a:lnTo>
                    <a:pt x="413" y="280"/>
                  </a:lnTo>
                  <a:lnTo>
                    <a:pt x="413" y="282"/>
                  </a:lnTo>
                  <a:lnTo>
                    <a:pt x="413" y="283"/>
                  </a:lnTo>
                  <a:lnTo>
                    <a:pt x="415" y="287"/>
                  </a:lnTo>
                  <a:lnTo>
                    <a:pt x="415" y="288"/>
                  </a:lnTo>
                  <a:lnTo>
                    <a:pt x="418" y="294"/>
                  </a:lnTo>
                  <a:lnTo>
                    <a:pt x="405" y="295"/>
                  </a:lnTo>
                  <a:lnTo>
                    <a:pt x="401" y="290"/>
                  </a:lnTo>
                  <a:lnTo>
                    <a:pt x="384" y="287"/>
                  </a:lnTo>
                  <a:lnTo>
                    <a:pt x="372" y="277"/>
                  </a:lnTo>
                  <a:lnTo>
                    <a:pt x="357" y="277"/>
                  </a:lnTo>
                  <a:lnTo>
                    <a:pt x="350" y="285"/>
                  </a:lnTo>
                  <a:lnTo>
                    <a:pt x="340" y="299"/>
                  </a:lnTo>
                  <a:lnTo>
                    <a:pt x="343" y="309"/>
                  </a:lnTo>
                  <a:lnTo>
                    <a:pt x="355" y="311"/>
                  </a:lnTo>
                  <a:lnTo>
                    <a:pt x="371" y="312"/>
                  </a:lnTo>
                  <a:lnTo>
                    <a:pt x="381" y="311"/>
                  </a:lnTo>
                  <a:lnTo>
                    <a:pt x="389" y="299"/>
                  </a:lnTo>
                  <a:lnTo>
                    <a:pt x="400" y="304"/>
                  </a:lnTo>
                  <a:lnTo>
                    <a:pt x="405" y="297"/>
                  </a:lnTo>
                  <a:lnTo>
                    <a:pt x="406" y="302"/>
                  </a:lnTo>
                  <a:lnTo>
                    <a:pt x="410" y="297"/>
                  </a:lnTo>
                  <a:lnTo>
                    <a:pt x="413" y="300"/>
                  </a:lnTo>
                  <a:lnTo>
                    <a:pt x="406" y="309"/>
                  </a:lnTo>
                  <a:lnTo>
                    <a:pt x="395" y="314"/>
                  </a:lnTo>
                  <a:lnTo>
                    <a:pt x="398" y="321"/>
                  </a:lnTo>
                  <a:lnTo>
                    <a:pt x="408" y="318"/>
                  </a:lnTo>
                  <a:lnTo>
                    <a:pt x="408" y="326"/>
                  </a:lnTo>
                  <a:lnTo>
                    <a:pt x="417" y="328"/>
                  </a:lnTo>
                  <a:lnTo>
                    <a:pt x="420" y="324"/>
                  </a:lnTo>
                  <a:lnTo>
                    <a:pt x="420" y="312"/>
                  </a:lnTo>
                  <a:lnTo>
                    <a:pt x="434" y="307"/>
                  </a:lnTo>
                  <a:lnTo>
                    <a:pt x="432" y="314"/>
                  </a:lnTo>
                  <a:lnTo>
                    <a:pt x="439" y="318"/>
                  </a:lnTo>
                  <a:lnTo>
                    <a:pt x="434" y="319"/>
                  </a:lnTo>
                  <a:lnTo>
                    <a:pt x="437" y="329"/>
                  </a:lnTo>
                  <a:lnTo>
                    <a:pt x="436" y="331"/>
                  </a:lnTo>
                  <a:lnTo>
                    <a:pt x="442" y="335"/>
                  </a:lnTo>
                  <a:lnTo>
                    <a:pt x="437" y="336"/>
                  </a:lnTo>
                  <a:lnTo>
                    <a:pt x="430" y="331"/>
                  </a:lnTo>
                  <a:lnTo>
                    <a:pt x="425" y="340"/>
                  </a:lnTo>
                  <a:lnTo>
                    <a:pt x="415" y="340"/>
                  </a:lnTo>
                  <a:lnTo>
                    <a:pt x="420" y="345"/>
                  </a:lnTo>
                  <a:lnTo>
                    <a:pt x="420" y="347"/>
                  </a:lnTo>
                  <a:lnTo>
                    <a:pt x="429" y="348"/>
                  </a:lnTo>
                  <a:lnTo>
                    <a:pt x="432" y="352"/>
                  </a:lnTo>
                  <a:lnTo>
                    <a:pt x="420" y="350"/>
                  </a:lnTo>
                  <a:lnTo>
                    <a:pt x="413" y="347"/>
                  </a:lnTo>
                  <a:lnTo>
                    <a:pt x="412" y="347"/>
                  </a:lnTo>
                  <a:lnTo>
                    <a:pt x="418" y="353"/>
                  </a:lnTo>
                  <a:lnTo>
                    <a:pt x="408" y="352"/>
                  </a:lnTo>
                  <a:lnTo>
                    <a:pt x="406" y="353"/>
                  </a:lnTo>
                  <a:lnTo>
                    <a:pt x="410" y="357"/>
                  </a:lnTo>
                  <a:lnTo>
                    <a:pt x="405" y="357"/>
                  </a:lnTo>
                  <a:lnTo>
                    <a:pt x="427" y="371"/>
                  </a:lnTo>
                  <a:lnTo>
                    <a:pt x="429" y="377"/>
                  </a:lnTo>
                  <a:lnTo>
                    <a:pt x="442" y="377"/>
                  </a:lnTo>
                  <a:lnTo>
                    <a:pt x="447" y="382"/>
                  </a:lnTo>
                  <a:lnTo>
                    <a:pt x="454" y="381"/>
                  </a:lnTo>
                  <a:lnTo>
                    <a:pt x="454" y="386"/>
                  </a:lnTo>
                  <a:lnTo>
                    <a:pt x="461" y="381"/>
                  </a:lnTo>
                  <a:lnTo>
                    <a:pt x="468" y="386"/>
                  </a:lnTo>
                  <a:lnTo>
                    <a:pt x="468" y="394"/>
                  </a:lnTo>
                  <a:lnTo>
                    <a:pt x="477" y="393"/>
                  </a:lnTo>
                  <a:lnTo>
                    <a:pt x="471" y="400"/>
                  </a:lnTo>
                  <a:lnTo>
                    <a:pt x="478" y="401"/>
                  </a:lnTo>
                  <a:lnTo>
                    <a:pt x="475" y="408"/>
                  </a:lnTo>
                  <a:lnTo>
                    <a:pt x="468" y="403"/>
                  </a:lnTo>
                  <a:lnTo>
                    <a:pt x="471" y="408"/>
                  </a:lnTo>
                  <a:lnTo>
                    <a:pt x="466" y="412"/>
                  </a:lnTo>
                  <a:lnTo>
                    <a:pt x="468" y="415"/>
                  </a:lnTo>
                  <a:lnTo>
                    <a:pt x="458" y="405"/>
                  </a:lnTo>
                  <a:lnTo>
                    <a:pt x="458" y="412"/>
                  </a:lnTo>
                  <a:lnTo>
                    <a:pt x="446" y="425"/>
                  </a:lnTo>
                  <a:lnTo>
                    <a:pt x="456" y="403"/>
                  </a:lnTo>
                  <a:lnTo>
                    <a:pt x="451" y="400"/>
                  </a:lnTo>
                  <a:lnTo>
                    <a:pt x="449" y="408"/>
                  </a:lnTo>
                  <a:lnTo>
                    <a:pt x="444" y="408"/>
                  </a:lnTo>
                  <a:lnTo>
                    <a:pt x="444" y="403"/>
                  </a:lnTo>
                  <a:lnTo>
                    <a:pt x="436" y="396"/>
                  </a:lnTo>
                  <a:lnTo>
                    <a:pt x="437" y="393"/>
                  </a:lnTo>
                  <a:lnTo>
                    <a:pt x="434" y="394"/>
                  </a:lnTo>
                  <a:lnTo>
                    <a:pt x="422" y="391"/>
                  </a:lnTo>
                  <a:lnTo>
                    <a:pt x="422" y="386"/>
                  </a:lnTo>
                  <a:lnTo>
                    <a:pt x="405" y="388"/>
                  </a:lnTo>
                  <a:lnTo>
                    <a:pt x="408" y="381"/>
                  </a:lnTo>
                  <a:lnTo>
                    <a:pt x="401" y="377"/>
                  </a:lnTo>
                  <a:lnTo>
                    <a:pt x="401" y="371"/>
                  </a:lnTo>
                  <a:lnTo>
                    <a:pt x="388" y="372"/>
                  </a:lnTo>
                  <a:lnTo>
                    <a:pt x="388" y="369"/>
                  </a:lnTo>
                  <a:lnTo>
                    <a:pt x="384" y="371"/>
                  </a:lnTo>
                  <a:lnTo>
                    <a:pt x="374" y="364"/>
                  </a:lnTo>
                  <a:lnTo>
                    <a:pt x="372" y="367"/>
                  </a:lnTo>
                  <a:lnTo>
                    <a:pt x="371" y="360"/>
                  </a:lnTo>
                  <a:lnTo>
                    <a:pt x="365" y="365"/>
                  </a:lnTo>
                  <a:lnTo>
                    <a:pt x="369" y="371"/>
                  </a:lnTo>
                  <a:lnTo>
                    <a:pt x="381" y="376"/>
                  </a:lnTo>
                  <a:lnTo>
                    <a:pt x="379" y="377"/>
                  </a:lnTo>
                  <a:lnTo>
                    <a:pt x="383" y="382"/>
                  </a:lnTo>
                  <a:lnTo>
                    <a:pt x="381" y="386"/>
                  </a:lnTo>
                  <a:lnTo>
                    <a:pt x="383" y="391"/>
                  </a:lnTo>
                  <a:lnTo>
                    <a:pt x="376" y="389"/>
                  </a:lnTo>
                  <a:lnTo>
                    <a:pt x="379" y="401"/>
                  </a:lnTo>
                  <a:lnTo>
                    <a:pt x="383" y="400"/>
                  </a:lnTo>
                  <a:lnTo>
                    <a:pt x="379" y="405"/>
                  </a:lnTo>
                  <a:lnTo>
                    <a:pt x="365" y="413"/>
                  </a:lnTo>
                  <a:lnTo>
                    <a:pt x="362" y="405"/>
                  </a:lnTo>
                  <a:lnTo>
                    <a:pt x="364" y="398"/>
                  </a:lnTo>
                  <a:lnTo>
                    <a:pt x="360" y="394"/>
                  </a:lnTo>
                  <a:lnTo>
                    <a:pt x="360" y="398"/>
                  </a:lnTo>
                  <a:lnTo>
                    <a:pt x="353" y="391"/>
                  </a:lnTo>
                  <a:lnTo>
                    <a:pt x="348" y="396"/>
                  </a:lnTo>
                  <a:lnTo>
                    <a:pt x="348" y="391"/>
                  </a:lnTo>
                  <a:lnTo>
                    <a:pt x="343" y="388"/>
                  </a:lnTo>
                  <a:lnTo>
                    <a:pt x="342" y="393"/>
                  </a:lnTo>
                  <a:lnTo>
                    <a:pt x="328" y="394"/>
                  </a:lnTo>
                  <a:lnTo>
                    <a:pt x="331" y="398"/>
                  </a:lnTo>
                  <a:lnTo>
                    <a:pt x="328" y="403"/>
                  </a:lnTo>
                  <a:lnTo>
                    <a:pt x="326" y="400"/>
                  </a:lnTo>
                  <a:lnTo>
                    <a:pt x="326" y="410"/>
                  </a:lnTo>
                  <a:lnTo>
                    <a:pt x="323" y="408"/>
                  </a:lnTo>
                  <a:lnTo>
                    <a:pt x="323" y="412"/>
                  </a:lnTo>
                  <a:lnTo>
                    <a:pt x="314" y="413"/>
                  </a:lnTo>
                  <a:lnTo>
                    <a:pt x="314" y="410"/>
                  </a:lnTo>
                  <a:lnTo>
                    <a:pt x="307" y="408"/>
                  </a:lnTo>
                  <a:lnTo>
                    <a:pt x="304" y="413"/>
                  </a:lnTo>
                  <a:lnTo>
                    <a:pt x="301" y="408"/>
                  </a:lnTo>
                  <a:lnTo>
                    <a:pt x="311" y="403"/>
                  </a:lnTo>
                  <a:lnTo>
                    <a:pt x="309" y="400"/>
                  </a:lnTo>
                  <a:lnTo>
                    <a:pt x="302" y="400"/>
                  </a:lnTo>
                  <a:lnTo>
                    <a:pt x="299" y="391"/>
                  </a:lnTo>
                  <a:lnTo>
                    <a:pt x="285" y="391"/>
                  </a:lnTo>
                  <a:lnTo>
                    <a:pt x="283" y="396"/>
                  </a:lnTo>
                  <a:lnTo>
                    <a:pt x="271" y="386"/>
                  </a:lnTo>
                  <a:lnTo>
                    <a:pt x="266" y="377"/>
                  </a:lnTo>
                  <a:lnTo>
                    <a:pt x="251" y="372"/>
                  </a:lnTo>
                  <a:lnTo>
                    <a:pt x="241" y="374"/>
                  </a:lnTo>
                  <a:lnTo>
                    <a:pt x="239" y="362"/>
                  </a:lnTo>
                  <a:lnTo>
                    <a:pt x="230" y="362"/>
                  </a:lnTo>
                  <a:lnTo>
                    <a:pt x="232" y="348"/>
                  </a:lnTo>
                  <a:lnTo>
                    <a:pt x="210" y="355"/>
                  </a:lnTo>
                  <a:lnTo>
                    <a:pt x="208" y="350"/>
                  </a:lnTo>
                  <a:lnTo>
                    <a:pt x="210" y="347"/>
                  </a:lnTo>
                  <a:lnTo>
                    <a:pt x="213" y="348"/>
                  </a:lnTo>
                  <a:lnTo>
                    <a:pt x="212" y="343"/>
                  </a:lnTo>
                  <a:lnTo>
                    <a:pt x="200" y="343"/>
                  </a:lnTo>
                  <a:lnTo>
                    <a:pt x="200" y="347"/>
                  </a:lnTo>
                  <a:lnTo>
                    <a:pt x="184" y="355"/>
                  </a:lnTo>
                  <a:lnTo>
                    <a:pt x="184" y="350"/>
                  </a:lnTo>
                  <a:lnTo>
                    <a:pt x="177" y="352"/>
                  </a:lnTo>
                  <a:lnTo>
                    <a:pt x="191" y="369"/>
                  </a:lnTo>
                  <a:lnTo>
                    <a:pt x="171" y="376"/>
                  </a:lnTo>
                  <a:lnTo>
                    <a:pt x="140" y="372"/>
                  </a:lnTo>
                  <a:lnTo>
                    <a:pt x="82" y="353"/>
                  </a:lnTo>
                  <a:lnTo>
                    <a:pt x="36" y="357"/>
                  </a:lnTo>
                  <a:lnTo>
                    <a:pt x="29" y="360"/>
                  </a:lnTo>
                  <a:lnTo>
                    <a:pt x="20" y="352"/>
                  </a:lnTo>
                  <a:lnTo>
                    <a:pt x="29" y="347"/>
                  </a:lnTo>
                  <a:lnTo>
                    <a:pt x="32" y="331"/>
                  </a:lnTo>
                  <a:lnTo>
                    <a:pt x="36" y="324"/>
                  </a:lnTo>
                  <a:lnTo>
                    <a:pt x="36" y="321"/>
                  </a:lnTo>
                  <a:lnTo>
                    <a:pt x="37" y="319"/>
                  </a:lnTo>
                  <a:lnTo>
                    <a:pt x="37" y="316"/>
                  </a:lnTo>
                  <a:lnTo>
                    <a:pt x="39" y="316"/>
                  </a:lnTo>
                  <a:lnTo>
                    <a:pt x="37" y="316"/>
                  </a:lnTo>
                  <a:lnTo>
                    <a:pt x="37" y="312"/>
                  </a:lnTo>
                  <a:lnTo>
                    <a:pt x="36" y="307"/>
                  </a:lnTo>
                  <a:lnTo>
                    <a:pt x="36" y="306"/>
                  </a:lnTo>
                  <a:close/>
                  <a:moveTo>
                    <a:pt x="196" y="369"/>
                  </a:moveTo>
                  <a:lnTo>
                    <a:pt x="207" y="364"/>
                  </a:lnTo>
                  <a:lnTo>
                    <a:pt x="218" y="371"/>
                  </a:lnTo>
                  <a:lnTo>
                    <a:pt x="225" y="371"/>
                  </a:lnTo>
                  <a:lnTo>
                    <a:pt x="220" y="376"/>
                  </a:lnTo>
                  <a:lnTo>
                    <a:pt x="220" y="379"/>
                  </a:lnTo>
                  <a:lnTo>
                    <a:pt x="212" y="381"/>
                  </a:lnTo>
                  <a:lnTo>
                    <a:pt x="196" y="369"/>
                  </a:lnTo>
                  <a:close/>
                  <a:moveTo>
                    <a:pt x="259" y="393"/>
                  </a:moveTo>
                  <a:lnTo>
                    <a:pt x="265" y="396"/>
                  </a:lnTo>
                  <a:lnTo>
                    <a:pt x="271" y="389"/>
                  </a:lnTo>
                  <a:lnTo>
                    <a:pt x="275" y="398"/>
                  </a:lnTo>
                  <a:lnTo>
                    <a:pt x="277" y="394"/>
                  </a:lnTo>
                  <a:lnTo>
                    <a:pt x="277" y="400"/>
                  </a:lnTo>
                  <a:lnTo>
                    <a:pt x="275" y="400"/>
                  </a:lnTo>
                  <a:lnTo>
                    <a:pt x="273" y="396"/>
                  </a:lnTo>
                  <a:lnTo>
                    <a:pt x="275" y="400"/>
                  </a:lnTo>
                  <a:lnTo>
                    <a:pt x="278" y="401"/>
                  </a:lnTo>
                  <a:lnTo>
                    <a:pt x="277" y="403"/>
                  </a:lnTo>
                  <a:lnTo>
                    <a:pt x="280" y="401"/>
                  </a:lnTo>
                  <a:lnTo>
                    <a:pt x="280" y="405"/>
                  </a:lnTo>
                  <a:lnTo>
                    <a:pt x="266" y="403"/>
                  </a:lnTo>
                  <a:lnTo>
                    <a:pt x="259" y="393"/>
                  </a:lnTo>
                  <a:close/>
                  <a:moveTo>
                    <a:pt x="299" y="400"/>
                  </a:moveTo>
                  <a:lnTo>
                    <a:pt x="295" y="403"/>
                  </a:lnTo>
                  <a:lnTo>
                    <a:pt x="297" y="400"/>
                  </a:lnTo>
                  <a:lnTo>
                    <a:pt x="294" y="400"/>
                  </a:lnTo>
                  <a:lnTo>
                    <a:pt x="295" y="405"/>
                  </a:lnTo>
                  <a:lnTo>
                    <a:pt x="297" y="405"/>
                  </a:lnTo>
                  <a:lnTo>
                    <a:pt x="297" y="408"/>
                  </a:lnTo>
                  <a:lnTo>
                    <a:pt x="292" y="408"/>
                  </a:lnTo>
                  <a:lnTo>
                    <a:pt x="294" y="405"/>
                  </a:lnTo>
                  <a:lnTo>
                    <a:pt x="289" y="406"/>
                  </a:lnTo>
                  <a:lnTo>
                    <a:pt x="289" y="400"/>
                  </a:lnTo>
                  <a:lnTo>
                    <a:pt x="287" y="401"/>
                  </a:lnTo>
                  <a:lnTo>
                    <a:pt x="289" y="408"/>
                  </a:lnTo>
                  <a:lnTo>
                    <a:pt x="282" y="405"/>
                  </a:lnTo>
                  <a:lnTo>
                    <a:pt x="280" y="398"/>
                  </a:lnTo>
                  <a:lnTo>
                    <a:pt x="292" y="396"/>
                  </a:lnTo>
                  <a:lnTo>
                    <a:pt x="292" y="394"/>
                  </a:lnTo>
                  <a:lnTo>
                    <a:pt x="299" y="400"/>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54" name="Freeform 53"/>
            <p:cNvSpPr>
              <a:spLocks noEditPoints="1"/>
            </p:cNvSpPr>
            <p:nvPr/>
          </p:nvSpPr>
          <p:spPr bwMode="gray">
            <a:xfrm>
              <a:off x="6503305" y="5021823"/>
              <a:ext cx="1241512" cy="962936"/>
            </a:xfrm>
            <a:custGeom>
              <a:avLst/>
              <a:gdLst/>
              <a:ahLst/>
              <a:cxnLst>
                <a:cxn ang="0">
                  <a:pos x="702" y="293"/>
                </a:cxn>
                <a:cxn ang="0">
                  <a:pos x="743" y="359"/>
                </a:cxn>
                <a:cxn ang="0">
                  <a:pos x="748" y="368"/>
                </a:cxn>
                <a:cxn ang="0">
                  <a:pos x="767" y="510"/>
                </a:cxn>
                <a:cxn ang="0">
                  <a:pos x="743" y="571"/>
                </a:cxn>
                <a:cxn ang="0">
                  <a:pos x="680" y="576"/>
                </a:cxn>
                <a:cxn ang="0">
                  <a:pos x="682" y="563"/>
                </a:cxn>
                <a:cxn ang="0">
                  <a:pos x="618" y="508"/>
                </a:cxn>
                <a:cxn ang="0">
                  <a:pos x="584" y="457"/>
                </a:cxn>
                <a:cxn ang="0">
                  <a:pos x="579" y="457"/>
                </a:cxn>
                <a:cxn ang="0">
                  <a:pos x="576" y="404"/>
                </a:cxn>
                <a:cxn ang="0">
                  <a:pos x="550" y="410"/>
                </a:cxn>
                <a:cxn ang="0">
                  <a:pos x="540" y="417"/>
                </a:cxn>
                <a:cxn ang="0">
                  <a:pos x="516" y="385"/>
                </a:cxn>
                <a:cxn ang="0">
                  <a:pos x="502" y="361"/>
                </a:cxn>
                <a:cxn ang="0">
                  <a:pos x="512" y="356"/>
                </a:cxn>
                <a:cxn ang="0">
                  <a:pos x="523" y="316"/>
                </a:cxn>
                <a:cxn ang="0">
                  <a:pos x="497" y="310"/>
                </a:cxn>
                <a:cxn ang="0">
                  <a:pos x="507" y="322"/>
                </a:cxn>
                <a:cxn ang="0">
                  <a:pos x="494" y="344"/>
                </a:cxn>
                <a:cxn ang="0">
                  <a:pos x="487" y="224"/>
                </a:cxn>
                <a:cxn ang="0">
                  <a:pos x="432" y="180"/>
                </a:cxn>
                <a:cxn ang="0">
                  <a:pos x="388" y="139"/>
                </a:cxn>
                <a:cxn ang="0">
                  <a:pos x="309" y="111"/>
                </a:cxn>
                <a:cxn ang="0">
                  <a:pos x="301" y="129"/>
                </a:cxn>
                <a:cxn ang="0">
                  <a:pos x="215" y="154"/>
                </a:cxn>
                <a:cxn ang="0">
                  <a:pos x="225" y="151"/>
                </a:cxn>
                <a:cxn ang="0">
                  <a:pos x="210" y="127"/>
                </a:cxn>
                <a:cxn ang="0">
                  <a:pos x="183" y="115"/>
                </a:cxn>
                <a:cxn ang="0">
                  <a:pos x="169" y="106"/>
                </a:cxn>
                <a:cxn ang="0">
                  <a:pos x="107" y="98"/>
                </a:cxn>
                <a:cxn ang="0">
                  <a:pos x="133" y="88"/>
                </a:cxn>
                <a:cxn ang="0">
                  <a:pos x="68" y="96"/>
                </a:cxn>
                <a:cxn ang="0">
                  <a:pos x="44" y="88"/>
                </a:cxn>
                <a:cxn ang="0">
                  <a:pos x="29" y="101"/>
                </a:cxn>
                <a:cxn ang="0">
                  <a:pos x="20" y="76"/>
                </a:cxn>
                <a:cxn ang="0">
                  <a:pos x="3" y="50"/>
                </a:cxn>
                <a:cxn ang="0">
                  <a:pos x="131" y="33"/>
                </a:cxn>
                <a:cxn ang="0">
                  <a:pos x="241" y="24"/>
                </a:cxn>
                <a:cxn ang="0">
                  <a:pos x="249" y="45"/>
                </a:cxn>
                <a:cxn ang="0">
                  <a:pos x="328" y="45"/>
                </a:cxn>
                <a:cxn ang="0">
                  <a:pos x="413" y="40"/>
                </a:cxn>
                <a:cxn ang="0">
                  <a:pos x="497" y="38"/>
                </a:cxn>
                <a:cxn ang="0">
                  <a:pos x="516" y="52"/>
                </a:cxn>
                <a:cxn ang="0">
                  <a:pos x="516" y="28"/>
                </a:cxn>
                <a:cxn ang="0">
                  <a:pos x="518" y="5"/>
                </a:cxn>
                <a:cxn ang="0">
                  <a:pos x="533" y="4"/>
                </a:cxn>
                <a:cxn ang="0">
                  <a:pos x="550" y="7"/>
                </a:cxn>
                <a:cxn ang="0">
                  <a:pos x="562" y="24"/>
                </a:cxn>
                <a:cxn ang="0">
                  <a:pos x="593" y="99"/>
                </a:cxn>
                <a:cxn ang="0">
                  <a:pos x="77" y="103"/>
                </a:cxn>
                <a:cxn ang="0">
                  <a:pos x="85" y="101"/>
                </a:cxn>
                <a:cxn ang="0">
                  <a:pos x="36" y="113"/>
                </a:cxn>
                <a:cxn ang="0">
                  <a:pos x="665" y="200"/>
                </a:cxn>
                <a:cxn ang="0">
                  <a:pos x="649" y="180"/>
                </a:cxn>
                <a:cxn ang="0">
                  <a:pos x="682" y="238"/>
                </a:cxn>
                <a:cxn ang="0">
                  <a:pos x="661" y="211"/>
                </a:cxn>
                <a:cxn ang="0">
                  <a:pos x="675" y="219"/>
                </a:cxn>
                <a:cxn ang="0">
                  <a:pos x="671" y="221"/>
                </a:cxn>
                <a:cxn ang="0">
                  <a:pos x="567" y="441"/>
                </a:cxn>
                <a:cxn ang="0">
                  <a:pos x="764" y="563"/>
                </a:cxn>
              </a:cxnLst>
              <a:rect l="0" t="0" r="r" b="b"/>
              <a:pathLst>
                <a:path w="771" h="598">
                  <a:moveTo>
                    <a:pt x="659" y="200"/>
                  </a:moveTo>
                  <a:lnTo>
                    <a:pt x="663" y="205"/>
                  </a:lnTo>
                  <a:lnTo>
                    <a:pt x="654" y="202"/>
                  </a:lnTo>
                  <a:lnTo>
                    <a:pt x="653" y="202"/>
                  </a:lnTo>
                  <a:lnTo>
                    <a:pt x="670" y="241"/>
                  </a:lnTo>
                  <a:lnTo>
                    <a:pt x="702" y="293"/>
                  </a:lnTo>
                  <a:lnTo>
                    <a:pt x="702" y="298"/>
                  </a:lnTo>
                  <a:lnTo>
                    <a:pt x="704" y="296"/>
                  </a:lnTo>
                  <a:lnTo>
                    <a:pt x="714" y="310"/>
                  </a:lnTo>
                  <a:lnTo>
                    <a:pt x="721" y="323"/>
                  </a:lnTo>
                  <a:lnTo>
                    <a:pt x="736" y="352"/>
                  </a:lnTo>
                  <a:lnTo>
                    <a:pt x="743" y="359"/>
                  </a:lnTo>
                  <a:lnTo>
                    <a:pt x="740" y="358"/>
                  </a:lnTo>
                  <a:lnTo>
                    <a:pt x="733" y="356"/>
                  </a:lnTo>
                  <a:lnTo>
                    <a:pt x="730" y="356"/>
                  </a:lnTo>
                  <a:lnTo>
                    <a:pt x="733" y="359"/>
                  </a:lnTo>
                  <a:lnTo>
                    <a:pt x="740" y="359"/>
                  </a:lnTo>
                  <a:lnTo>
                    <a:pt x="748" y="368"/>
                  </a:lnTo>
                  <a:lnTo>
                    <a:pt x="757" y="380"/>
                  </a:lnTo>
                  <a:lnTo>
                    <a:pt x="753" y="381"/>
                  </a:lnTo>
                  <a:lnTo>
                    <a:pt x="764" y="399"/>
                  </a:lnTo>
                  <a:lnTo>
                    <a:pt x="769" y="448"/>
                  </a:lnTo>
                  <a:lnTo>
                    <a:pt x="771" y="486"/>
                  </a:lnTo>
                  <a:lnTo>
                    <a:pt x="767" y="510"/>
                  </a:lnTo>
                  <a:lnTo>
                    <a:pt x="760" y="527"/>
                  </a:lnTo>
                  <a:lnTo>
                    <a:pt x="759" y="539"/>
                  </a:lnTo>
                  <a:lnTo>
                    <a:pt x="764" y="549"/>
                  </a:lnTo>
                  <a:lnTo>
                    <a:pt x="755" y="566"/>
                  </a:lnTo>
                  <a:lnTo>
                    <a:pt x="755" y="571"/>
                  </a:lnTo>
                  <a:lnTo>
                    <a:pt x="743" y="571"/>
                  </a:lnTo>
                  <a:lnTo>
                    <a:pt x="730" y="580"/>
                  </a:lnTo>
                  <a:lnTo>
                    <a:pt x="714" y="580"/>
                  </a:lnTo>
                  <a:lnTo>
                    <a:pt x="702" y="587"/>
                  </a:lnTo>
                  <a:lnTo>
                    <a:pt x="689" y="588"/>
                  </a:lnTo>
                  <a:lnTo>
                    <a:pt x="685" y="587"/>
                  </a:lnTo>
                  <a:lnTo>
                    <a:pt x="680" y="576"/>
                  </a:lnTo>
                  <a:lnTo>
                    <a:pt x="683" y="569"/>
                  </a:lnTo>
                  <a:lnTo>
                    <a:pt x="699" y="578"/>
                  </a:lnTo>
                  <a:lnTo>
                    <a:pt x="704" y="580"/>
                  </a:lnTo>
                  <a:lnTo>
                    <a:pt x="707" y="575"/>
                  </a:lnTo>
                  <a:lnTo>
                    <a:pt x="700" y="568"/>
                  </a:lnTo>
                  <a:lnTo>
                    <a:pt x="682" y="563"/>
                  </a:lnTo>
                  <a:lnTo>
                    <a:pt x="666" y="534"/>
                  </a:lnTo>
                  <a:lnTo>
                    <a:pt x="671" y="530"/>
                  </a:lnTo>
                  <a:lnTo>
                    <a:pt x="665" y="522"/>
                  </a:lnTo>
                  <a:lnTo>
                    <a:pt x="636" y="513"/>
                  </a:lnTo>
                  <a:lnTo>
                    <a:pt x="618" y="515"/>
                  </a:lnTo>
                  <a:lnTo>
                    <a:pt x="618" y="508"/>
                  </a:lnTo>
                  <a:lnTo>
                    <a:pt x="608" y="496"/>
                  </a:lnTo>
                  <a:lnTo>
                    <a:pt x="603" y="479"/>
                  </a:lnTo>
                  <a:lnTo>
                    <a:pt x="600" y="474"/>
                  </a:lnTo>
                  <a:lnTo>
                    <a:pt x="596" y="463"/>
                  </a:lnTo>
                  <a:lnTo>
                    <a:pt x="588" y="462"/>
                  </a:lnTo>
                  <a:lnTo>
                    <a:pt x="584" y="457"/>
                  </a:lnTo>
                  <a:lnTo>
                    <a:pt x="588" y="455"/>
                  </a:lnTo>
                  <a:lnTo>
                    <a:pt x="591" y="443"/>
                  </a:lnTo>
                  <a:lnTo>
                    <a:pt x="600" y="434"/>
                  </a:lnTo>
                  <a:lnTo>
                    <a:pt x="589" y="440"/>
                  </a:lnTo>
                  <a:lnTo>
                    <a:pt x="586" y="453"/>
                  </a:lnTo>
                  <a:lnTo>
                    <a:pt x="579" y="457"/>
                  </a:lnTo>
                  <a:lnTo>
                    <a:pt x="571" y="438"/>
                  </a:lnTo>
                  <a:lnTo>
                    <a:pt x="571" y="433"/>
                  </a:lnTo>
                  <a:lnTo>
                    <a:pt x="571" y="421"/>
                  </a:lnTo>
                  <a:lnTo>
                    <a:pt x="565" y="416"/>
                  </a:lnTo>
                  <a:lnTo>
                    <a:pt x="576" y="410"/>
                  </a:lnTo>
                  <a:lnTo>
                    <a:pt x="576" y="404"/>
                  </a:lnTo>
                  <a:lnTo>
                    <a:pt x="574" y="404"/>
                  </a:lnTo>
                  <a:lnTo>
                    <a:pt x="574" y="409"/>
                  </a:lnTo>
                  <a:lnTo>
                    <a:pt x="560" y="416"/>
                  </a:lnTo>
                  <a:lnTo>
                    <a:pt x="550" y="410"/>
                  </a:lnTo>
                  <a:lnTo>
                    <a:pt x="547" y="407"/>
                  </a:lnTo>
                  <a:lnTo>
                    <a:pt x="550" y="410"/>
                  </a:lnTo>
                  <a:lnTo>
                    <a:pt x="559" y="417"/>
                  </a:lnTo>
                  <a:lnTo>
                    <a:pt x="562" y="431"/>
                  </a:lnTo>
                  <a:lnTo>
                    <a:pt x="548" y="426"/>
                  </a:lnTo>
                  <a:lnTo>
                    <a:pt x="542" y="417"/>
                  </a:lnTo>
                  <a:lnTo>
                    <a:pt x="536" y="412"/>
                  </a:lnTo>
                  <a:lnTo>
                    <a:pt x="540" y="417"/>
                  </a:lnTo>
                  <a:lnTo>
                    <a:pt x="543" y="421"/>
                  </a:lnTo>
                  <a:lnTo>
                    <a:pt x="538" y="417"/>
                  </a:lnTo>
                  <a:lnTo>
                    <a:pt x="523" y="388"/>
                  </a:lnTo>
                  <a:lnTo>
                    <a:pt x="519" y="387"/>
                  </a:lnTo>
                  <a:lnTo>
                    <a:pt x="523" y="392"/>
                  </a:lnTo>
                  <a:lnTo>
                    <a:pt x="516" y="385"/>
                  </a:lnTo>
                  <a:lnTo>
                    <a:pt x="519" y="380"/>
                  </a:lnTo>
                  <a:lnTo>
                    <a:pt x="514" y="373"/>
                  </a:lnTo>
                  <a:lnTo>
                    <a:pt x="502" y="366"/>
                  </a:lnTo>
                  <a:lnTo>
                    <a:pt x="506" y="363"/>
                  </a:lnTo>
                  <a:lnTo>
                    <a:pt x="504" y="364"/>
                  </a:lnTo>
                  <a:lnTo>
                    <a:pt x="502" y="361"/>
                  </a:lnTo>
                  <a:lnTo>
                    <a:pt x="521" y="363"/>
                  </a:lnTo>
                  <a:lnTo>
                    <a:pt x="518" y="359"/>
                  </a:lnTo>
                  <a:lnTo>
                    <a:pt x="526" y="358"/>
                  </a:lnTo>
                  <a:lnTo>
                    <a:pt x="512" y="361"/>
                  </a:lnTo>
                  <a:lnTo>
                    <a:pt x="506" y="359"/>
                  </a:lnTo>
                  <a:lnTo>
                    <a:pt x="512" y="356"/>
                  </a:lnTo>
                  <a:lnTo>
                    <a:pt x="512" y="352"/>
                  </a:lnTo>
                  <a:lnTo>
                    <a:pt x="506" y="358"/>
                  </a:lnTo>
                  <a:lnTo>
                    <a:pt x="514" y="351"/>
                  </a:lnTo>
                  <a:lnTo>
                    <a:pt x="512" y="346"/>
                  </a:lnTo>
                  <a:lnTo>
                    <a:pt x="524" y="328"/>
                  </a:lnTo>
                  <a:lnTo>
                    <a:pt x="523" y="316"/>
                  </a:lnTo>
                  <a:lnTo>
                    <a:pt x="516" y="315"/>
                  </a:lnTo>
                  <a:lnTo>
                    <a:pt x="516" y="327"/>
                  </a:lnTo>
                  <a:lnTo>
                    <a:pt x="512" y="327"/>
                  </a:lnTo>
                  <a:lnTo>
                    <a:pt x="509" y="315"/>
                  </a:lnTo>
                  <a:lnTo>
                    <a:pt x="497" y="306"/>
                  </a:lnTo>
                  <a:lnTo>
                    <a:pt x="497" y="310"/>
                  </a:lnTo>
                  <a:lnTo>
                    <a:pt x="492" y="306"/>
                  </a:lnTo>
                  <a:lnTo>
                    <a:pt x="495" y="310"/>
                  </a:lnTo>
                  <a:lnTo>
                    <a:pt x="494" y="313"/>
                  </a:lnTo>
                  <a:lnTo>
                    <a:pt x="499" y="313"/>
                  </a:lnTo>
                  <a:lnTo>
                    <a:pt x="492" y="318"/>
                  </a:lnTo>
                  <a:lnTo>
                    <a:pt x="507" y="322"/>
                  </a:lnTo>
                  <a:lnTo>
                    <a:pt x="502" y="325"/>
                  </a:lnTo>
                  <a:lnTo>
                    <a:pt x="502" y="340"/>
                  </a:lnTo>
                  <a:lnTo>
                    <a:pt x="499" y="342"/>
                  </a:lnTo>
                  <a:lnTo>
                    <a:pt x="487" y="330"/>
                  </a:lnTo>
                  <a:lnTo>
                    <a:pt x="494" y="340"/>
                  </a:lnTo>
                  <a:lnTo>
                    <a:pt x="494" y="344"/>
                  </a:lnTo>
                  <a:lnTo>
                    <a:pt x="482" y="328"/>
                  </a:lnTo>
                  <a:lnTo>
                    <a:pt x="483" y="294"/>
                  </a:lnTo>
                  <a:lnTo>
                    <a:pt x="489" y="265"/>
                  </a:lnTo>
                  <a:lnTo>
                    <a:pt x="489" y="236"/>
                  </a:lnTo>
                  <a:lnTo>
                    <a:pt x="482" y="226"/>
                  </a:lnTo>
                  <a:lnTo>
                    <a:pt x="487" y="224"/>
                  </a:lnTo>
                  <a:lnTo>
                    <a:pt x="485" y="217"/>
                  </a:lnTo>
                  <a:lnTo>
                    <a:pt x="473" y="205"/>
                  </a:lnTo>
                  <a:lnTo>
                    <a:pt x="466" y="190"/>
                  </a:lnTo>
                  <a:lnTo>
                    <a:pt x="444" y="190"/>
                  </a:lnTo>
                  <a:lnTo>
                    <a:pt x="439" y="181"/>
                  </a:lnTo>
                  <a:lnTo>
                    <a:pt x="432" y="180"/>
                  </a:lnTo>
                  <a:lnTo>
                    <a:pt x="436" y="176"/>
                  </a:lnTo>
                  <a:lnTo>
                    <a:pt x="429" y="175"/>
                  </a:lnTo>
                  <a:lnTo>
                    <a:pt x="422" y="166"/>
                  </a:lnTo>
                  <a:lnTo>
                    <a:pt x="407" y="159"/>
                  </a:lnTo>
                  <a:lnTo>
                    <a:pt x="403" y="144"/>
                  </a:lnTo>
                  <a:lnTo>
                    <a:pt x="388" y="139"/>
                  </a:lnTo>
                  <a:lnTo>
                    <a:pt x="376" y="122"/>
                  </a:lnTo>
                  <a:lnTo>
                    <a:pt x="345" y="106"/>
                  </a:lnTo>
                  <a:lnTo>
                    <a:pt x="335" y="106"/>
                  </a:lnTo>
                  <a:lnTo>
                    <a:pt x="328" y="108"/>
                  </a:lnTo>
                  <a:lnTo>
                    <a:pt x="321" y="106"/>
                  </a:lnTo>
                  <a:lnTo>
                    <a:pt x="309" y="111"/>
                  </a:lnTo>
                  <a:lnTo>
                    <a:pt x="311" y="122"/>
                  </a:lnTo>
                  <a:lnTo>
                    <a:pt x="302" y="122"/>
                  </a:lnTo>
                  <a:lnTo>
                    <a:pt x="304" y="125"/>
                  </a:lnTo>
                  <a:lnTo>
                    <a:pt x="313" y="125"/>
                  </a:lnTo>
                  <a:lnTo>
                    <a:pt x="313" y="129"/>
                  </a:lnTo>
                  <a:lnTo>
                    <a:pt x="301" y="129"/>
                  </a:lnTo>
                  <a:lnTo>
                    <a:pt x="266" y="152"/>
                  </a:lnTo>
                  <a:lnTo>
                    <a:pt x="260" y="149"/>
                  </a:lnTo>
                  <a:lnTo>
                    <a:pt x="256" y="156"/>
                  </a:lnTo>
                  <a:lnTo>
                    <a:pt x="234" y="161"/>
                  </a:lnTo>
                  <a:lnTo>
                    <a:pt x="220" y="164"/>
                  </a:lnTo>
                  <a:lnTo>
                    <a:pt x="215" y="154"/>
                  </a:lnTo>
                  <a:lnTo>
                    <a:pt x="215" y="146"/>
                  </a:lnTo>
                  <a:lnTo>
                    <a:pt x="217" y="144"/>
                  </a:lnTo>
                  <a:lnTo>
                    <a:pt x="217" y="152"/>
                  </a:lnTo>
                  <a:lnTo>
                    <a:pt x="222" y="163"/>
                  </a:lnTo>
                  <a:lnTo>
                    <a:pt x="225" y="161"/>
                  </a:lnTo>
                  <a:lnTo>
                    <a:pt x="225" y="151"/>
                  </a:lnTo>
                  <a:lnTo>
                    <a:pt x="217" y="139"/>
                  </a:lnTo>
                  <a:lnTo>
                    <a:pt x="191" y="123"/>
                  </a:lnTo>
                  <a:lnTo>
                    <a:pt x="198" y="122"/>
                  </a:lnTo>
                  <a:lnTo>
                    <a:pt x="207" y="129"/>
                  </a:lnTo>
                  <a:lnTo>
                    <a:pt x="212" y="129"/>
                  </a:lnTo>
                  <a:lnTo>
                    <a:pt x="210" y="127"/>
                  </a:lnTo>
                  <a:lnTo>
                    <a:pt x="215" y="129"/>
                  </a:lnTo>
                  <a:lnTo>
                    <a:pt x="215" y="127"/>
                  </a:lnTo>
                  <a:lnTo>
                    <a:pt x="213" y="125"/>
                  </a:lnTo>
                  <a:lnTo>
                    <a:pt x="208" y="127"/>
                  </a:lnTo>
                  <a:lnTo>
                    <a:pt x="200" y="118"/>
                  </a:lnTo>
                  <a:lnTo>
                    <a:pt x="183" y="115"/>
                  </a:lnTo>
                  <a:lnTo>
                    <a:pt x="186" y="106"/>
                  </a:lnTo>
                  <a:lnTo>
                    <a:pt x="193" y="106"/>
                  </a:lnTo>
                  <a:lnTo>
                    <a:pt x="195" y="99"/>
                  </a:lnTo>
                  <a:lnTo>
                    <a:pt x="181" y="106"/>
                  </a:lnTo>
                  <a:lnTo>
                    <a:pt x="178" y="103"/>
                  </a:lnTo>
                  <a:lnTo>
                    <a:pt x="169" y="106"/>
                  </a:lnTo>
                  <a:lnTo>
                    <a:pt x="172" y="110"/>
                  </a:lnTo>
                  <a:lnTo>
                    <a:pt x="178" y="110"/>
                  </a:lnTo>
                  <a:lnTo>
                    <a:pt x="183" y="120"/>
                  </a:lnTo>
                  <a:lnTo>
                    <a:pt x="157" y="108"/>
                  </a:lnTo>
                  <a:lnTo>
                    <a:pt x="118" y="99"/>
                  </a:lnTo>
                  <a:lnTo>
                    <a:pt x="107" y="98"/>
                  </a:lnTo>
                  <a:lnTo>
                    <a:pt x="118" y="98"/>
                  </a:lnTo>
                  <a:lnTo>
                    <a:pt x="131" y="96"/>
                  </a:lnTo>
                  <a:lnTo>
                    <a:pt x="131" y="94"/>
                  </a:lnTo>
                  <a:lnTo>
                    <a:pt x="143" y="98"/>
                  </a:lnTo>
                  <a:lnTo>
                    <a:pt x="142" y="93"/>
                  </a:lnTo>
                  <a:lnTo>
                    <a:pt x="133" y="88"/>
                  </a:lnTo>
                  <a:lnTo>
                    <a:pt x="118" y="91"/>
                  </a:lnTo>
                  <a:lnTo>
                    <a:pt x="111" y="88"/>
                  </a:lnTo>
                  <a:lnTo>
                    <a:pt x="97" y="98"/>
                  </a:lnTo>
                  <a:lnTo>
                    <a:pt x="82" y="99"/>
                  </a:lnTo>
                  <a:lnTo>
                    <a:pt x="44" y="110"/>
                  </a:lnTo>
                  <a:lnTo>
                    <a:pt x="68" y="96"/>
                  </a:lnTo>
                  <a:lnTo>
                    <a:pt x="60" y="91"/>
                  </a:lnTo>
                  <a:lnTo>
                    <a:pt x="61" y="82"/>
                  </a:lnTo>
                  <a:lnTo>
                    <a:pt x="58" y="84"/>
                  </a:lnTo>
                  <a:lnTo>
                    <a:pt x="54" y="99"/>
                  </a:lnTo>
                  <a:lnTo>
                    <a:pt x="49" y="88"/>
                  </a:lnTo>
                  <a:lnTo>
                    <a:pt x="44" y="88"/>
                  </a:lnTo>
                  <a:lnTo>
                    <a:pt x="46" y="98"/>
                  </a:lnTo>
                  <a:lnTo>
                    <a:pt x="37" y="110"/>
                  </a:lnTo>
                  <a:lnTo>
                    <a:pt x="24" y="115"/>
                  </a:lnTo>
                  <a:lnTo>
                    <a:pt x="24" y="106"/>
                  </a:lnTo>
                  <a:lnTo>
                    <a:pt x="31" y="103"/>
                  </a:lnTo>
                  <a:lnTo>
                    <a:pt x="29" y="101"/>
                  </a:lnTo>
                  <a:lnTo>
                    <a:pt x="22" y="98"/>
                  </a:lnTo>
                  <a:lnTo>
                    <a:pt x="20" y="93"/>
                  </a:lnTo>
                  <a:lnTo>
                    <a:pt x="22" y="91"/>
                  </a:lnTo>
                  <a:lnTo>
                    <a:pt x="24" y="84"/>
                  </a:lnTo>
                  <a:lnTo>
                    <a:pt x="22" y="79"/>
                  </a:lnTo>
                  <a:lnTo>
                    <a:pt x="20" y="76"/>
                  </a:lnTo>
                  <a:lnTo>
                    <a:pt x="17" y="76"/>
                  </a:lnTo>
                  <a:lnTo>
                    <a:pt x="10" y="70"/>
                  </a:lnTo>
                  <a:lnTo>
                    <a:pt x="8" y="67"/>
                  </a:lnTo>
                  <a:lnTo>
                    <a:pt x="1" y="60"/>
                  </a:lnTo>
                  <a:lnTo>
                    <a:pt x="0" y="58"/>
                  </a:lnTo>
                  <a:lnTo>
                    <a:pt x="3" y="50"/>
                  </a:lnTo>
                  <a:lnTo>
                    <a:pt x="1" y="45"/>
                  </a:lnTo>
                  <a:lnTo>
                    <a:pt x="41" y="41"/>
                  </a:lnTo>
                  <a:lnTo>
                    <a:pt x="77" y="38"/>
                  </a:lnTo>
                  <a:lnTo>
                    <a:pt x="84" y="38"/>
                  </a:lnTo>
                  <a:lnTo>
                    <a:pt x="113" y="35"/>
                  </a:lnTo>
                  <a:lnTo>
                    <a:pt x="131" y="33"/>
                  </a:lnTo>
                  <a:lnTo>
                    <a:pt x="145" y="31"/>
                  </a:lnTo>
                  <a:lnTo>
                    <a:pt x="195" y="26"/>
                  </a:lnTo>
                  <a:lnTo>
                    <a:pt x="195" y="26"/>
                  </a:lnTo>
                  <a:lnTo>
                    <a:pt x="239" y="21"/>
                  </a:lnTo>
                  <a:lnTo>
                    <a:pt x="239" y="23"/>
                  </a:lnTo>
                  <a:lnTo>
                    <a:pt x="241" y="24"/>
                  </a:lnTo>
                  <a:lnTo>
                    <a:pt x="242" y="28"/>
                  </a:lnTo>
                  <a:lnTo>
                    <a:pt x="246" y="31"/>
                  </a:lnTo>
                  <a:lnTo>
                    <a:pt x="248" y="36"/>
                  </a:lnTo>
                  <a:lnTo>
                    <a:pt x="248" y="41"/>
                  </a:lnTo>
                  <a:lnTo>
                    <a:pt x="248" y="43"/>
                  </a:lnTo>
                  <a:lnTo>
                    <a:pt x="249" y="45"/>
                  </a:lnTo>
                  <a:lnTo>
                    <a:pt x="253" y="46"/>
                  </a:lnTo>
                  <a:lnTo>
                    <a:pt x="254" y="50"/>
                  </a:lnTo>
                  <a:lnTo>
                    <a:pt x="254" y="50"/>
                  </a:lnTo>
                  <a:lnTo>
                    <a:pt x="299" y="46"/>
                  </a:lnTo>
                  <a:lnTo>
                    <a:pt x="307" y="45"/>
                  </a:lnTo>
                  <a:lnTo>
                    <a:pt x="328" y="45"/>
                  </a:lnTo>
                  <a:lnTo>
                    <a:pt x="335" y="43"/>
                  </a:lnTo>
                  <a:lnTo>
                    <a:pt x="359" y="43"/>
                  </a:lnTo>
                  <a:lnTo>
                    <a:pt x="371" y="41"/>
                  </a:lnTo>
                  <a:lnTo>
                    <a:pt x="398" y="40"/>
                  </a:lnTo>
                  <a:lnTo>
                    <a:pt x="398" y="40"/>
                  </a:lnTo>
                  <a:lnTo>
                    <a:pt x="413" y="40"/>
                  </a:lnTo>
                  <a:lnTo>
                    <a:pt x="454" y="36"/>
                  </a:lnTo>
                  <a:lnTo>
                    <a:pt x="465" y="36"/>
                  </a:lnTo>
                  <a:lnTo>
                    <a:pt x="477" y="35"/>
                  </a:lnTo>
                  <a:lnTo>
                    <a:pt x="480" y="35"/>
                  </a:lnTo>
                  <a:lnTo>
                    <a:pt x="499" y="33"/>
                  </a:lnTo>
                  <a:lnTo>
                    <a:pt x="497" y="38"/>
                  </a:lnTo>
                  <a:lnTo>
                    <a:pt x="499" y="40"/>
                  </a:lnTo>
                  <a:lnTo>
                    <a:pt x="502" y="41"/>
                  </a:lnTo>
                  <a:lnTo>
                    <a:pt x="502" y="48"/>
                  </a:lnTo>
                  <a:lnTo>
                    <a:pt x="506" y="53"/>
                  </a:lnTo>
                  <a:lnTo>
                    <a:pt x="507" y="53"/>
                  </a:lnTo>
                  <a:lnTo>
                    <a:pt x="516" y="52"/>
                  </a:lnTo>
                  <a:lnTo>
                    <a:pt x="518" y="50"/>
                  </a:lnTo>
                  <a:lnTo>
                    <a:pt x="516" y="45"/>
                  </a:lnTo>
                  <a:lnTo>
                    <a:pt x="518" y="43"/>
                  </a:lnTo>
                  <a:lnTo>
                    <a:pt x="518" y="40"/>
                  </a:lnTo>
                  <a:lnTo>
                    <a:pt x="518" y="29"/>
                  </a:lnTo>
                  <a:lnTo>
                    <a:pt x="516" y="28"/>
                  </a:lnTo>
                  <a:lnTo>
                    <a:pt x="512" y="23"/>
                  </a:lnTo>
                  <a:lnTo>
                    <a:pt x="512" y="11"/>
                  </a:lnTo>
                  <a:lnTo>
                    <a:pt x="514" y="9"/>
                  </a:lnTo>
                  <a:lnTo>
                    <a:pt x="514" y="7"/>
                  </a:lnTo>
                  <a:lnTo>
                    <a:pt x="516" y="7"/>
                  </a:lnTo>
                  <a:lnTo>
                    <a:pt x="518" y="5"/>
                  </a:lnTo>
                  <a:lnTo>
                    <a:pt x="519" y="2"/>
                  </a:lnTo>
                  <a:lnTo>
                    <a:pt x="519" y="2"/>
                  </a:lnTo>
                  <a:lnTo>
                    <a:pt x="523" y="2"/>
                  </a:lnTo>
                  <a:lnTo>
                    <a:pt x="523" y="0"/>
                  </a:lnTo>
                  <a:lnTo>
                    <a:pt x="526" y="4"/>
                  </a:lnTo>
                  <a:lnTo>
                    <a:pt x="533" y="4"/>
                  </a:lnTo>
                  <a:lnTo>
                    <a:pt x="536" y="7"/>
                  </a:lnTo>
                  <a:lnTo>
                    <a:pt x="536" y="5"/>
                  </a:lnTo>
                  <a:lnTo>
                    <a:pt x="540" y="5"/>
                  </a:lnTo>
                  <a:lnTo>
                    <a:pt x="542" y="7"/>
                  </a:lnTo>
                  <a:lnTo>
                    <a:pt x="548" y="9"/>
                  </a:lnTo>
                  <a:lnTo>
                    <a:pt x="550" y="7"/>
                  </a:lnTo>
                  <a:lnTo>
                    <a:pt x="552" y="9"/>
                  </a:lnTo>
                  <a:lnTo>
                    <a:pt x="552" y="7"/>
                  </a:lnTo>
                  <a:lnTo>
                    <a:pt x="559" y="9"/>
                  </a:lnTo>
                  <a:lnTo>
                    <a:pt x="559" y="7"/>
                  </a:lnTo>
                  <a:lnTo>
                    <a:pt x="564" y="19"/>
                  </a:lnTo>
                  <a:lnTo>
                    <a:pt x="562" y="24"/>
                  </a:lnTo>
                  <a:lnTo>
                    <a:pt x="569" y="35"/>
                  </a:lnTo>
                  <a:lnTo>
                    <a:pt x="569" y="43"/>
                  </a:lnTo>
                  <a:lnTo>
                    <a:pt x="572" y="45"/>
                  </a:lnTo>
                  <a:lnTo>
                    <a:pt x="576" y="57"/>
                  </a:lnTo>
                  <a:lnTo>
                    <a:pt x="593" y="89"/>
                  </a:lnTo>
                  <a:lnTo>
                    <a:pt x="593" y="99"/>
                  </a:lnTo>
                  <a:lnTo>
                    <a:pt x="601" y="108"/>
                  </a:lnTo>
                  <a:lnTo>
                    <a:pt x="603" y="115"/>
                  </a:lnTo>
                  <a:lnTo>
                    <a:pt x="618" y="137"/>
                  </a:lnTo>
                  <a:lnTo>
                    <a:pt x="622" y="146"/>
                  </a:lnTo>
                  <a:lnTo>
                    <a:pt x="659" y="200"/>
                  </a:lnTo>
                  <a:close/>
                  <a:moveTo>
                    <a:pt x="77" y="103"/>
                  </a:moveTo>
                  <a:lnTo>
                    <a:pt x="82" y="101"/>
                  </a:lnTo>
                  <a:lnTo>
                    <a:pt x="97" y="99"/>
                  </a:lnTo>
                  <a:lnTo>
                    <a:pt x="104" y="99"/>
                  </a:lnTo>
                  <a:lnTo>
                    <a:pt x="106" y="99"/>
                  </a:lnTo>
                  <a:lnTo>
                    <a:pt x="106" y="99"/>
                  </a:lnTo>
                  <a:lnTo>
                    <a:pt x="85" y="101"/>
                  </a:lnTo>
                  <a:lnTo>
                    <a:pt x="82" y="103"/>
                  </a:lnTo>
                  <a:lnTo>
                    <a:pt x="77" y="103"/>
                  </a:lnTo>
                  <a:lnTo>
                    <a:pt x="41" y="115"/>
                  </a:lnTo>
                  <a:lnTo>
                    <a:pt x="37" y="115"/>
                  </a:lnTo>
                  <a:lnTo>
                    <a:pt x="36" y="113"/>
                  </a:lnTo>
                  <a:lnTo>
                    <a:pt x="36" y="113"/>
                  </a:lnTo>
                  <a:lnTo>
                    <a:pt x="44" y="113"/>
                  </a:lnTo>
                  <a:lnTo>
                    <a:pt x="49" y="110"/>
                  </a:lnTo>
                  <a:lnTo>
                    <a:pt x="58" y="108"/>
                  </a:lnTo>
                  <a:lnTo>
                    <a:pt x="68" y="105"/>
                  </a:lnTo>
                  <a:lnTo>
                    <a:pt x="77" y="103"/>
                  </a:lnTo>
                  <a:close/>
                  <a:moveTo>
                    <a:pt x="665" y="200"/>
                  </a:moveTo>
                  <a:lnTo>
                    <a:pt x="661" y="197"/>
                  </a:lnTo>
                  <a:lnTo>
                    <a:pt x="654" y="190"/>
                  </a:lnTo>
                  <a:lnTo>
                    <a:pt x="646" y="178"/>
                  </a:lnTo>
                  <a:lnTo>
                    <a:pt x="642" y="173"/>
                  </a:lnTo>
                  <a:lnTo>
                    <a:pt x="644" y="173"/>
                  </a:lnTo>
                  <a:lnTo>
                    <a:pt x="649" y="180"/>
                  </a:lnTo>
                  <a:lnTo>
                    <a:pt x="665" y="200"/>
                  </a:lnTo>
                  <a:close/>
                  <a:moveTo>
                    <a:pt x="665" y="200"/>
                  </a:moveTo>
                  <a:lnTo>
                    <a:pt x="682" y="219"/>
                  </a:lnTo>
                  <a:lnTo>
                    <a:pt x="689" y="231"/>
                  </a:lnTo>
                  <a:lnTo>
                    <a:pt x="685" y="238"/>
                  </a:lnTo>
                  <a:lnTo>
                    <a:pt x="682" y="238"/>
                  </a:lnTo>
                  <a:lnTo>
                    <a:pt x="683" y="223"/>
                  </a:lnTo>
                  <a:lnTo>
                    <a:pt x="680" y="217"/>
                  </a:lnTo>
                  <a:lnTo>
                    <a:pt x="675" y="217"/>
                  </a:lnTo>
                  <a:lnTo>
                    <a:pt x="671" y="221"/>
                  </a:lnTo>
                  <a:lnTo>
                    <a:pt x="663" y="219"/>
                  </a:lnTo>
                  <a:lnTo>
                    <a:pt x="661" y="211"/>
                  </a:lnTo>
                  <a:lnTo>
                    <a:pt x="666" y="209"/>
                  </a:lnTo>
                  <a:lnTo>
                    <a:pt x="663" y="205"/>
                  </a:lnTo>
                  <a:lnTo>
                    <a:pt x="675" y="212"/>
                  </a:lnTo>
                  <a:lnTo>
                    <a:pt x="665" y="200"/>
                  </a:lnTo>
                  <a:close/>
                  <a:moveTo>
                    <a:pt x="671" y="221"/>
                  </a:moveTo>
                  <a:lnTo>
                    <a:pt x="675" y="219"/>
                  </a:lnTo>
                  <a:lnTo>
                    <a:pt x="680" y="221"/>
                  </a:lnTo>
                  <a:lnTo>
                    <a:pt x="677" y="236"/>
                  </a:lnTo>
                  <a:lnTo>
                    <a:pt x="678" y="250"/>
                  </a:lnTo>
                  <a:lnTo>
                    <a:pt x="687" y="265"/>
                  </a:lnTo>
                  <a:lnTo>
                    <a:pt x="673" y="241"/>
                  </a:lnTo>
                  <a:lnTo>
                    <a:pt x="671" y="221"/>
                  </a:lnTo>
                  <a:close/>
                  <a:moveTo>
                    <a:pt x="571" y="452"/>
                  </a:moveTo>
                  <a:lnTo>
                    <a:pt x="576" y="460"/>
                  </a:lnTo>
                  <a:lnTo>
                    <a:pt x="572" y="462"/>
                  </a:lnTo>
                  <a:lnTo>
                    <a:pt x="567" y="446"/>
                  </a:lnTo>
                  <a:lnTo>
                    <a:pt x="562" y="443"/>
                  </a:lnTo>
                  <a:lnTo>
                    <a:pt x="567" y="441"/>
                  </a:lnTo>
                  <a:lnTo>
                    <a:pt x="571" y="452"/>
                  </a:lnTo>
                  <a:close/>
                  <a:moveTo>
                    <a:pt x="769" y="552"/>
                  </a:moveTo>
                  <a:lnTo>
                    <a:pt x="762" y="575"/>
                  </a:lnTo>
                  <a:lnTo>
                    <a:pt x="743" y="598"/>
                  </a:lnTo>
                  <a:lnTo>
                    <a:pt x="762" y="569"/>
                  </a:lnTo>
                  <a:lnTo>
                    <a:pt x="764" y="563"/>
                  </a:lnTo>
                  <a:lnTo>
                    <a:pt x="760" y="559"/>
                  </a:lnTo>
                  <a:lnTo>
                    <a:pt x="769" y="55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55" name="Freeform 54"/>
            <p:cNvSpPr>
              <a:spLocks noEditPoints="1"/>
            </p:cNvSpPr>
            <p:nvPr/>
          </p:nvSpPr>
          <p:spPr bwMode="gray">
            <a:xfrm>
              <a:off x="5933272" y="2137845"/>
              <a:ext cx="1037008" cy="1085317"/>
            </a:xfrm>
            <a:custGeom>
              <a:avLst/>
              <a:gdLst/>
              <a:ahLst/>
              <a:cxnLst>
                <a:cxn ang="0">
                  <a:pos x="80" y="40"/>
                </a:cxn>
                <a:cxn ang="0">
                  <a:pos x="154" y="76"/>
                </a:cxn>
                <a:cxn ang="0">
                  <a:pos x="144" y="125"/>
                </a:cxn>
                <a:cxn ang="0">
                  <a:pos x="338" y="217"/>
                </a:cxn>
                <a:cxn ang="0">
                  <a:pos x="301" y="243"/>
                </a:cxn>
                <a:cxn ang="0">
                  <a:pos x="284" y="252"/>
                </a:cxn>
                <a:cxn ang="0">
                  <a:pos x="238" y="286"/>
                </a:cxn>
                <a:cxn ang="0">
                  <a:pos x="210" y="311"/>
                </a:cxn>
                <a:cxn ang="0">
                  <a:pos x="212" y="291"/>
                </a:cxn>
                <a:cxn ang="0">
                  <a:pos x="198" y="296"/>
                </a:cxn>
                <a:cxn ang="0">
                  <a:pos x="202" y="276"/>
                </a:cxn>
                <a:cxn ang="0">
                  <a:pos x="200" y="264"/>
                </a:cxn>
                <a:cxn ang="0">
                  <a:pos x="195" y="253"/>
                </a:cxn>
                <a:cxn ang="0">
                  <a:pos x="174" y="246"/>
                </a:cxn>
                <a:cxn ang="0">
                  <a:pos x="169" y="235"/>
                </a:cxn>
                <a:cxn ang="0">
                  <a:pos x="152" y="233"/>
                </a:cxn>
                <a:cxn ang="0">
                  <a:pos x="140" y="231"/>
                </a:cxn>
                <a:cxn ang="0">
                  <a:pos x="128" y="229"/>
                </a:cxn>
                <a:cxn ang="0">
                  <a:pos x="108" y="223"/>
                </a:cxn>
                <a:cxn ang="0">
                  <a:pos x="19" y="194"/>
                </a:cxn>
                <a:cxn ang="0">
                  <a:pos x="7" y="182"/>
                </a:cxn>
                <a:cxn ang="0">
                  <a:pos x="73" y="146"/>
                </a:cxn>
                <a:cxn ang="0">
                  <a:pos x="125" y="101"/>
                </a:cxn>
                <a:cxn ang="0">
                  <a:pos x="140" y="141"/>
                </a:cxn>
                <a:cxn ang="0">
                  <a:pos x="200" y="137"/>
                </a:cxn>
                <a:cxn ang="0">
                  <a:pos x="280" y="175"/>
                </a:cxn>
                <a:cxn ang="0">
                  <a:pos x="379" y="127"/>
                </a:cxn>
                <a:cxn ang="0">
                  <a:pos x="405" y="154"/>
                </a:cxn>
                <a:cxn ang="0">
                  <a:pos x="463" y="173"/>
                </a:cxn>
                <a:cxn ang="0">
                  <a:pos x="480" y="194"/>
                </a:cxn>
                <a:cxn ang="0">
                  <a:pos x="434" y="199"/>
                </a:cxn>
                <a:cxn ang="0">
                  <a:pos x="367" y="199"/>
                </a:cxn>
                <a:cxn ang="0">
                  <a:pos x="504" y="190"/>
                </a:cxn>
                <a:cxn ang="0">
                  <a:pos x="520" y="194"/>
                </a:cxn>
                <a:cxn ang="0">
                  <a:pos x="489" y="199"/>
                </a:cxn>
                <a:cxn ang="0">
                  <a:pos x="350" y="599"/>
                </a:cxn>
                <a:cxn ang="0">
                  <a:pos x="326" y="455"/>
                </a:cxn>
                <a:cxn ang="0">
                  <a:pos x="323" y="411"/>
                </a:cxn>
                <a:cxn ang="0">
                  <a:pos x="337" y="337"/>
                </a:cxn>
                <a:cxn ang="0">
                  <a:pos x="373" y="342"/>
                </a:cxn>
                <a:cxn ang="0">
                  <a:pos x="391" y="281"/>
                </a:cxn>
                <a:cxn ang="0">
                  <a:pos x="405" y="246"/>
                </a:cxn>
                <a:cxn ang="0">
                  <a:pos x="470" y="238"/>
                </a:cxn>
                <a:cxn ang="0">
                  <a:pos x="520" y="262"/>
                </a:cxn>
                <a:cxn ang="0">
                  <a:pos x="543" y="286"/>
                </a:cxn>
                <a:cxn ang="0">
                  <a:pos x="552" y="327"/>
                </a:cxn>
                <a:cxn ang="0">
                  <a:pos x="530" y="407"/>
                </a:cxn>
                <a:cxn ang="0">
                  <a:pos x="547" y="434"/>
                </a:cxn>
                <a:cxn ang="0">
                  <a:pos x="598" y="393"/>
                </a:cxn>
                <a:cxn ang="0">
                  <a:pos x="641" y="511"/>
                </a:cxn>
                <a:cxn ang="0">
                  <a:pos x="617" y="544"/>
                </a:cxn>
                <a:cxn ang="0">
                  <a:pos x="596" y="602"/>
                </a:cxn>
                <a:cxn ang="0">
                  <a:pos x="508" y="658"/>
                </a:cxn>
                <a:cxn ang="0">
                  <a:pos x="407" y="663"/>
                </a:cxn>
              </a:cxnLst>
              <a:rect l="0" t="0" r="r" b="b"/>
              <a:pathLst>
                <a:path w="644" h="674">
                  <a:moveTo>
                    <a:pt x="126" y="0"/>
                  </a:moveTo>
                  <a:lnTo>
                    <a:pt x="120" y="16"/>
                  </a:lnTo>
                  <a:lnTo>
                    <a:pt x="99" y="24"/>
                  </a:lnTo>
                  <a:lnTo>
                    <a:pt x="91" y="38"/>
                  </a:lnTo>
                  <a:lnTo>
                    <a:pt x="84" y="41"/>
                  </a:lnTo>
                  <a:lnTo>
                    <a:pt x="80" y="40"/>
                  </a:lnTo>
                  <a:lnTo>
                    <a:pt x="79" y="35"/>
                  </a:lnTo>
                  <a:lnTo>
                    <a:pt x="82" y="29"/>
                  </a:lnTo>
                  <a:lnTo>
                    <a:pt x="126" y="0"/>
                  </a:lnTo>
                  <a:close/>
                  <a:moveTo>
                    <a:pt x="135" y="94"/>
                  </a:moveTo>
                  <a:lnTo>
                    <a:pt x="138" y="86"/>
                  </a:lnTo>
                  <a:lnTo>
                    <a:pt x="154" y="76"/>
                  </a:lnTo>
                  <a:lnTo>
                    <a:pt x="185" y="70"/>
                  </a:lnTo>
                  <a:lnTo>
                    <a:pt x="191" y="76"/>
                  </a:lnTo>
                  <a:lnTo>
                    <a:pt x="190" y="79"/>
                  </a:lnTo>
                  <a:lnTo>
                    <a:pt x="176" y="82"/>
                  </a:lnTo>
                  <a:lnTo>
                    <a:pt x="156" y="101"/>
                  </a:lnTo>
                  <a:lnTo>
                    <a:pt x="144" y="125"/>
                  </a:lnTo>
                  <a:lnTo>
                    <a:pt x="138" y="113"/>
                  </a:lnTo>
                  <a:lnTo>
                    <a:pt x="128" y="111"/>
                  </a:lnTo>
                  <a:lnTo>
                    <a:pt x="128" y="100"/>
                  </a:lnTo>
                  <a:lnTo>
                    <a:pt x="135" y="94"/>
                  </a:lnTo>
                  <a:close/>
                  <a:moveTo>
                    <a:pt x="342" y="216"/>
                  </a:moveTo>
                  <a:lnTo>
                    <a:pt x="338" y="217"/>
                  </a:lnTo>
                  <a:lnTo>
                    <a:pt x="338" y="223"/>
                  </a:lnTo>
                  <a:lnTo>
                    <a:pt x="326" y="219"/>
                  </a:lnTo>
                  <a:lnTo>
                    <a:pt x="313" y="223"/>
                  </a:lnTo>
                  <a:lnTo>
                    <a:pt x="309" y="226"/>
                  </a:lnTo>
                  <a:lnTo>
                    <a:pt x="308" y="235"/>
                  </a:lnTo>
                  <a:lnTo>
                    <a:pt x="301" y="243"/>
                  </a:lnTo>
                  <a:lnTo>
                    <a:pt x="294" y="245"/>
                  </a:lnTo>
                  <a:lnTo>
                    <a:pt x="296" y="248"/>
                  </a:lnTo>
                  <a:lnTo>
                    <a:pt x="292" y="250"/>
                  </a:lnTo>
                  <a:lnTo>
                    <a:pt x="289" y="258"/>
                  </a:lnTo>
                  <a:lnTo>
                    <a:pt x="284" y="257"/>
                  </a:lnTo>
                  <a:lnTo>
                    <a:pt x="284" y="252"/>
                  </a:lnTo>
                  <a:lnTo>
                    <a:pt x="291" y="238"/>
                  </a:lnTo>
                  <a:lnTo>
                    <a:pt x="277" y="238"/>
                  </a:lnTo>
                  <a:lnTo>
                    <a:pt x="267" y="252"/>
                  </a:lnTo>
                  <a:lnTo>
                    <a:pt x="251" y="255"/>
                  </a:lnTo>
                  <a:lnTo>
                    <a:pt x="243" y="270"/>
                  </a:lnTo>
                  <a:lnTo>
                    <a:pt x="238" y="286"/>
                  </a:lnTo>
                  <a:lnTo>
                    <a:pt x="222" y="315"/>
                  </a:lnTo>
                  <a:lnTo>
                    <a:pt x="222" y="320"/>
                  </a:lnTo>
                  <a:lnTo>
                    <a:pt x="215" y="318"/>
                  </a:lnTo>
                  <a:lnTo>
                    <a:pt x="210" y="315"/>
                  </a:lnTo>
                  <a:lnTo>
                    <a:pt x="210" y="311"/>
                  </a:lnTo>
                  <a:lnTo>
                    <a:pt x="210" y="311"/>
                  </a:lnTo>
                  <a:lnTo>
                    <a:pt x="210" y="308"/>
                  </a:lnTo>
                  <a:lnTo>
                    <a:pt x="212" y="306"/>
                  </a:lnTo>
                  <a:lnTo>
                    <a:pt x="212" y="305"/>
                  </a:lnTo>
                  <a:lnTo>
                    <a:pt x="215" y="296"/>
                  </a:lnTo>
                  <a:lnTo>
                    <a:pt x="215" y="294"/>
                  </a:lnTo>
                  <a:lnTo>
                    <a:pt x="212" y="291"/>
                  </a:lnTo>
                  <a:lnTo>
                    <a:pt x="207" y="296"/>
                  </a:lnTo>
                  <a:lnTo>
                    <a:pt x="202" y="296"/>
                  </a:lnTo>
                  <a:lnTo>
                    <a:pt x="200" y="298"/>
                  </a:lnTo>
                  <a:lnTo>
                    <a:pt x="198" y="294"/>
                  </a:lnTo>
                  <a:lnTo>
                    <a:pt x="198" y="294"/>
                  </a:lnTo>
                  <a:lnTo>
                    <a:pt x="198" y="296"/>
                  </a:lnTo>
                  <a:lnTo>
                    <a:pt x="197" y="296"/>
                  </a:lnTo>
                  <a:lnTo>
                    <a:pt x="200" y="291"/>
                  </a:lnTo>
                  <a:lnTo>
                    <a:pt x="198" y="286"/>
                  </a:lnTo>
                  <a:lnTo>
                    <a:pt x="202" y="284"/>
                  </a:lnTo>
                  <a:lnTo>
                    <a:pt x="203" y="281"/>
                  </a:lnTo>
                  <a:lnTo>
                    <a:pt x="202" y="276"/>
                  </a:lnTo>
                  <a:lnTo>
                    <a:pt x="200" y="274"/>
                  </a:lnTo>
                  <a:lnTo>
                    <a:pt x="202" y="272"/>
                  </a:lnTo>
                  <a:lnTo>
                    <a:pt x="203" y="269"/>
                  </a:lnTo>
                  <a:lnTo>
                    <a:pt x="203" y="269"/>
                  </a:lnTo>
                  <a:lnTo>
                    <a:pt x="200" y="264"/>
                  </a:lnTo>
                  <a:lnTo>
                    <a:pt x="200" y="264"/>
                  </a:lnTo>
                  <a:lnTo>
                    <a:pt x="202" y="262"/>
                  </a:lnTo>
                  <a:lnTo>
                    <a:pt x="202" y="260"/>
                  </a:lnTo>
                  <a:lnTo>
                    <a:pt x="200" y="258"/>
                  </a:lnTo>
                  <a:lnTo>
                    <a:pt x="200" y="258"/>
                  </a:lnTo>
                  <a:lnTo>
                    <a:pt x="197" y="257"/>
                  </a:lnTo>
                  <a:lnTo>
                    <a:pt x="195" y="253"/>
                  </a:lnTo>
                  <a:lnTo>
                    <a:pt x="186" y="253"/>
                  </a:lnTo>
                  <a:lnTo>
                    <a:pt x="185" y="250"/>
                  </a:lnTo>
                  <a:lnTo>
                    <a:pt x="181" y="252"/>
                  </a:lnTo>
                  <a:lnTo>
                    <a:pt x="178" y="252"/>
                  </a:lnTo>
                  <a:lnTo>
                    <a:pt x="174" y="248"/>
                  </a:lnTo>
                  <a:lnTo>
                    <a:pt x="174" y="246"/>
                  </a:lnTo>
                  <a:lnTo>
                    <a:pt x="179" y="241"/>
                  </a:lnTo>
                  <a:lnTo>
                    <a:pt x="176" y="240"/>
                  </a:lnTo>
                  <a:lnTo>
                    <a:pt x="176" y="238"/>
                  </a:lnTo>
                  <a:lnTo>
                    <a:pt x="174" y="236"/>
                  </a:lnTo>
                  <a:lnTo>
                    <a:pt x="173" y="236"/>
                  </a:lnTo>
                  <a:lnTo>
                    <a:pt x="169" y="235"/>
                  </a:lnTo>
                  <a:lnTo>
                    <a:pt x="167" y="235"/>
                  </a:lnTo>
                  <a:lnTo>
                    <a:pt x="164" y="233"/>
                  </a:lnTo>
                  <a:lnTo>
                    <a:pt x="161" y="235"/>
                  </a:lnTo>
                  <a:lnTo>
                    <a:pt x="159" y="235"/>
                  </a:lnTo>
                  <a:lnTo>
                    <a:pt x="156" y="231"/>
                  </a:lnTo>
                  <a:lnTo>
                    <a:pt x="152" y="233"/>
                  </a:lnTo>
                  <a:lnTo>
                    <a:pt x="149" y="231"/>
                  </a:lnTo>
                  <a:lnTo>
                    <a:pt x="147" y="231"/>
                  </a:lnTo>
                  <a:lnTo>
                    <a:pt x="145" y="229"/>
                  </a:lnTo>
                  <a:lnTo>
                    <a:pt x="144" y="229"/>
                  </a:lnTo>
                  <a:lnTo>
                    <a:pt x="142" y="229"/>
                  </a:lnTo>
                  <a:lnTo>
                    <a:pt x="140" y="231"/>
                  </a:lnTo>
                  <a:lnTo>
                    <a:pt x="138" y="229"/>
                  </a:lnTo>
                  <a:lnTo>
                    <a:pt x="137" y="233"/>
                  </a:lnTo>
                  <a:lnTo>
                    <a:pt x="135" y="233"/>
                  </a:lnTo>
                  <a:lnTo>
                    <a:pt x="132" y="229"/>
                  </a:lnTo>
                  <a:lnTo>
                    <a:pt x="130" y="231"/>
                  </a:lnTo>
                  <a:lnTo>
                    <a:pt x="128" y="229"/>
                  </a:lnTo>
                  <a:lnTo>
                    <a:pt x="125" y="231"/>
                  </a:lnTo>
                  <a:lnTo>
                    <a:pt x="125" y="229"/>
                  </a:lnTo>
                  <a:lnTo>
                    <a:pt x="123" y="229"/>
                  </a:lnTo>
                  <a:lnTo>
                    <a:pt x="123" y="229"/>
                  </a:lnTo>
                  <a:lnTo>
                    <a:pt x="113" y="226"/>
                  </a:lnTo>
                  <a:lnTo>
                    <a:pt x="108" y="223"/>
                  </a:lnTo>
                  <a:lnTo>
                    <a:pt x="99" y="219"/>
                  </a:lnTo>
                  <a:lnTo>
                    <a:pt x="38" y="207"/>
                  </a:lnTo>
                  <a:lnTo>
                    <a:pt x="22" y="204"/>
                  </a:lnTo>
                  <a:lnTo>
                    <a:pt x="22" y="200"/>
                  </a:lnTo>
                  <a:lnTo>
                    <a:pt x="20" y="199"/>
                  </a:lnTo>
                  <a:lnTo>
                    <a:pt x="19" y="194"/>
                  </a:lnTo>
                  <a:lnTo>
                    <a:pt x="14" y="187"/>
                  </a:lnTo>
                  <a:lnTo>
                    <a:pt x="10" y="187"/>
                  </a:lnTo>
                  <a:lnTo>
                    <a:pt x="10" y="185"/>
                  </a:lnTo>
                  <a:lnTo>
                    <a:pt x="7" y="185"/>
                  </a:lnTo>
                  <a:lnTo>
                    <a:pt x="7" y="183"/>
                  </a:lnTo>
                  <a:lnTo>
                    <a:pt x="7" y="182"/>
                  </a:lnTo>
                  <a:lnTo>
                    <a:pt x="2" y="183"/>
                  </a:lnTo>
                  <a:lnTo>
                    <a:pt x="0" y="180"/>
                  </a:lnTo>
                  <a:lnTo>
                    <a:pt x="27" y="166"/>
                  </a:lnTo>
                  <a:lnTo>
                    <a:pt x="36" y="156"/>
                  </a:lnTo>
                  <a:lnTo>
                    <a:pt x="43" y="151"/>
                  </a:lnTo>
                  <a:lnTo>
                    <a:pt x="73" y="146"/>
                  </a:lnTo>
                  <a:lnTo>
                    <a:pt x="85" y="137"/>
                  </a:lnTo>
                  <a:lnTo>
                    <a:pt x="91" y="129"/>
                  </a:lnTo>
                  <a:lnTo>
                    <a:pt x="101" y="129"/>
                  </a:lnTo>
                  <a:lnTo>
                    <a:pt x="104" y="123"/>
                  </a:lnTo>
                  <a:lnTo>
                    <a:pt x="108" y="117"/>
                  </a:lnTo>
                  <a:lnTo>
                    <a:pt x="125" y="101"/>
                  </a:lnTo>
                  <a:lnTo>
                    <a:pt x="126" y="111"/>
                  </a:lnTo>
                  <a:lnTo>
                    <a:pt x="135" y="113"/>
                  </a:lnTo>
                  <a:lnTo>
                    <a:pt x="135" y="122"/>
                  </a:lnTo>
                  <a:lnTo>
                    <a:pt x="142" y="125"/>
                  </a:lnTo>
                  <a:lnTo>
                    <a:pt x="142" y="132"/>
                  </a:lnTo>
                  <a:lnTo>
                    <a:pt x="140" y="141"/>
                  </a:lnTo>
                  <a:lnTo>
                    <a:pt x="142" y="146"/>
                  </a:lnTo>
                  <a:lnTo>
                    <a:pt x="161" y="129"/>
                  </a:lnTo>
                  <a:lnTo>
                    <a:pt x="161" y="134"/>
                  </a:lnTo>
                  <a:lnTo>
                    <a:pt x="171" y="132"/>
                  </a:lnTo>
                  <a:lnTo>
                    <a:pt x="181" y="130"/>
                  </a:lnTo>
                  <a:lnTo>
                    <a:pt x="200" y="137"/>
                  </a:lnTo>
                  <a:lnTo>
                    <a:pt x="224" y="170"/>
                  </a:lnTo>
                  <a:lnTo>
                    <a:pt x="244" y="170"/>
                  </a:lnTo>
                  <a:lnTo>
                    <a:pt x="251" y="164"/>
                  </a:lnTo>
                  <a:lnTo>
                    <a:pt x="261" y="173"/>
                  </a:lnTo>
                  <a:lnTo>
                    <a:pt x="270" y="168"/>
                  </a:lnTo>
                  <a:lnTo>
                    <a:pt x="280" y="175"/>
                  </a:lnTo>
                  <a:lnTo>
                    <a:pt x="291" y="158"/>
                  </a:lnTo>
                  <a:lnTo>
                    <a:pt x="313" y="144"/>
                  </a:lnTo>
                  <a:lnTo>
                    <a:pt x="318" y="146"/>
                  </a:lnTo>
                  <a:lnTo>
                    <a:pt x="335" y="139"/>
                  </a:lnTo>
                  <a:lnTo>
                    <a:pt x="361" y="139"/>
                  </a:lnTo>
                  <a:lnTo>
                    <a:pt x="379" y="127"/>
                  </a:lnTo>
                  <a:lnTo>
                    <a:pt x="400" y="123"/>
                  </a:lnTo>
                  <a:lnTo>
                    <a:pt x="395" y="132"/>
                  </a:lnTo>
                  <a:lnTo>
                    <a:pt x="398" y="147"/>
                  </a:lnTo>
                  <a:lnTo>
                    <a:pt x="396" y="152"/>
                  </a:lnTo>
                  <a:lnTo>
                    <a:pt x="398" y="156"/>
                  </a:lnTo>
                  <a:lnTo>
                    <a:pt x="405" y="154"/>
                  </a:lnTo>
                  <a:lnTo>
                    <a:pt x="415" y="158"/>
                  </a:lnTo>
                  <a:lnTo>
                    <a:pt x="427" y="151"/>
                  </a:lnTo>
                  <a:lnTo>
                    <a:pt x="432" y="159"/>
                  </a:lnTo>
                  <a:lnTo>
                    <a:pt x="443" y="149"/>
                  </a:lnTo>
                  <a:lnTo>
                    <a:pt x="451" y="147"/>
                  </a:lnTo>
                  <a:lnTo>
                    <a:pt x="463" y="173"/>
                  </a:lnTo>
                  <a:lnTo>
                    <a:pt x="456" y="178"/>
                  </a:lnTo>
                  <a:lnTo>
                    <a:pt x="460" y="182"/>
                  </a:lnTo>
                  <a:lnTo>
                    <a:pt x="468" y="180"/>
                  </a:lnTo>
                  <a:lnTo>
                    <a:pt x="477" y="183"/>
                  </a:lnTo>
                  <a:lnTo>
                    <a:pt x="473" y="187"/>
                  </a:lnTo>
                  <a:lnTo>
                    <a:pt x="480" y="194"/>
                  </a:lnTo>
                  <a:lnTo>
                    <a:pt x="487" y="195"/>
                  </a:lnTo>
                  <a:lnTo>
                    <a:pt x="487" y="200"/>
                  </a:lnTo>
                  <a:lnTo>
                    <a:pt x="472" y="200"/>
                  </a:lnTo>
                  <a:lnTo>
                    <a:pt x="455" y="200"/>
                  </a:lnTo>
                  <a:lnTo>
                    <a:pt x="443" y="204"/>
                  </a:lnTo>
                  <a:lnTo>
                    <a:pt x="434" y="199"/>
                  </a:lnTo>
                  <a:lnTo>
                    <a:pt x="429" y="199"/>
                  </a:lnTo>
                  <a:lnTo>
                    <a:pt x="427" y="219"/>
                  </a:lnTo>
                  <a:lnTo>
                    <a:pt x="419" y="216"/>
                  </a:lnTo>
                  <a:lnTo>
                    <a:pt x="402" y="204"/>
                  </a:lnTo>
                  <a:lnTo>
                    <a:pt x="376" y="199"/>
                  </a:lnTo>
                  <a:lnTo>
                    <a:pt x="367" y="199"/>
                  </a:lnTo>
                  <a:lnTo>
                    <a:pt x="357" y="214"/>
                  </a:lnTo>
                  <a:lnTo>
                    <a:pt x="342" y="216"/>
                  </a:lnTo>
                  <a:close/>
                  <a:moveTo>
                    <a:pt x="490" y="194"/>
                  </a:moveTo>
                  <a:lnTo>
                    <a:pt x="496" y="197"/>
                  </a:lnTo>
                  <a:lnTo>
                    <a:pt x="497" y="192"/>
                  </a:lnTo>
                  <a:lnTo>
                    <a:pt x="504" y="190"/>
                  </a:lnTo>
                  <a:lnTo>
                    <a:pt x="502" y="187"/>
                  </a:lnTo>
                  <a:lnTo>
                    <a:pt x="499" y="185"/>
                  </a:lnTo>
                  <a:lnTo>
                    <a:pt x="504" y="183"/>
                  </a:lnTo>
                  <a:lnTo>
                    <a:pt x="509" y="183"/>
                  </a:lnTo>
                  <a:lnTo>
                    <a:pt x="514" y="192"/>
                  </a:lnTo>
                  <a:lnTo>
                    <a:pt x="520" y="194"/>
                  </a:lnTo>
                  <a:lnTo>
                    <a:pt x="518" y="200"/>
                  </a:lnTo>
                  <a:lnTo>
                    <a:pt x="513" y="202"/>
                  </a:lnTo>
                  <a:lnTo>
                    <a:pt x="508" y="199"/>
                  </a:lnTo>
                  <a:lnTo>
                    <a:pt x="496" y="202"/>
                  </a:lnTo>
                  <a:lnTo>
                    <a:pt x="490" y="195"/>
                  </a:lnTo>
                  <a:lnTo>
                    <a:pt x="489" y="199"/>
                  </a:lnTo>
                  <a:lnTo>
                    <a:pt x="490" y="194"/>
                  </a:lnTo>
                  <a:close/>
                  <a:moveTo>
                    <a:pt x="313" y="674"/>
                  </a:moveTo>
                  <a:lnTo>
                    <a:pt x="328" y="657"/>
                  </a:lnTo>
                  <a:lnTo>
                    <a:pt x="337" y="633"/>
                  </a:lnTo>
                  <a:lnTo>
                    <a:pt x="345" y="617"/>
                  </a:lnTo>
                  <a:lnTo>
                    <a:pt x="350" y="599"/>
                  </a:lnTo>
                  <a:lnTo>
                    <a:pt x="350" y="561"/>
                  </a:lnTo>
                  <a:lnTo>
                    <a:pt x="344" y="523"/>
                  </a:lnTo>
                  <a:lnTo>
                    <a:pt x="325" y="487"/>
                  </a:lnTo>
                  <a:lnTo>
                    <a:pt x="316" y="469"/>
                  </a:lnTo>
                  <a:lnTo>
                    <a:pt x="323" y="455"/>
                  </a:lnTo>
                  <a:lnTo>
                    <a:pt x="326" y="455"/>
                  </a:lnTo>
                  <a:lnTo>
                    <a:pt x="323" y="455"/>
                  </a:lnTo>
                  <a:lnTo>
                    <a:pt x="323" y="450"/>
                  </a:lnTo>
                  <a:lnTo>
                    <a:pt x="320" y="436"/>
                  </a:lnTo>
                  <a:lnTo>
                    <a:pt x="321" y="436"/>
                  </a:lnTo>
                  <a:lnTo>
                    <a:pt x="314" y="426"/>
                  </a:lnTo>
                  <a:lnTo>
                    <a:pt x="323" y="411"/>
                  </a:lnTo>
                  <a:lnTo>
                    <a:pt x="330" y="392"/>
                  </a:lnTo>
                  <a:lnTo>
                    <a:pt x="330" y="373"/>
                  </a:lnTo>
                  <a:lnTo>
                    <a:pt x="326" y="354"/>
                  </a:lnTo>
                  <a:lnTo>
                    <a:pt x="338" y="351"/>
                  </a:lnTo>
                  <a:lnTo>
                    <a:pt x="338" y="346"/>
                  </a:lnTo>
                  <a:lnTo>
                    <a:pt x="337" y="337"/>
                  </a:lnTo>
                  <a:lnTo>
                    <a:pt x="338" y="332"/>
                  </a:lnTo>
                  <a:lnTo>
                    <a:pt x="359" y="320"/>
                  </a:lnTo>
                  <a:lnTo>
                    <a:pt x="369" y="296"/>
                  </a:lnTo>
                  <a:lnTo>
                    <a:pt x="374" y="298"/>
                  </a:lnTo>
                  <a:lnTo>
                    <a:pt x="369" y="322"/>
                  </a:lnTo>
                  <a:lnTo>
                    <a:pt x="373" y="342"/>
                  </a:lnTo>
                  <a:lnTo>
                    <a:pt x="381" y="342"/>
                  </a:lnTo>
                  <a:lnTo>
                    <a:pt x="386" y="332"/>
                  </a:lnTo>
                  <a:lnTo>
                    <a:pt x="390" y="315"/>
                  </a:lnTo>
                  <a:lnTo>
                    <a:pt x="386" y="293"/>
                  </a:lnTo>
                  <a:lnTo>
                    <a:pt x="386" y="286"/>
                  </a:lnTo>
                  <a:lnTo>
                    <a:pt x="391" y="281"/>
                  </a:lnTo>
                  <a:lnTo>
                    <a:pt x="407" y="274"/>
                  </a:lnTo>
                  <a:lnTo>
                    <a:pt x="415" y="272"/>
                  </a:lnTo>
                  <a:lnTo>
                    <a:pt x="419" y="269"/>
                  </a:lnTo>
                  <a:lnTo>
                    <a:pt x="407" y="264"/>
                  </a:lnTo>
                  <a:lnTo>
                    <a:pt x="402" y="253"/>
                  </a:lnTo>
                  <a:lnTo>
                    <a:pt x="405" y="246"/>
                  </a:lnTo>
                  <a:lnTo>
                    <a:pt x="410" y="240"/>
                  </a:lnTo>
                  <a:lnTo>
                    <a:pt x="412" y="233"/>
                  </a:lnTo>
                  <a:lnTo>
                    <a:pt x="429" y="226"/>
                  </a:lnTo>
                  <a:lnTo>
                    <a:pt x="449" y="238"/>
                  </a:lnTo>
                  <a:lnTo>
                    <a:pt x="461" y="236"/>
                  </a:lnTo>
                  <a:lnTo>
                    <a:pt x="470" y="238"/>
                  </a:lnTo>
                  <a:lnTo>
                    <a:pt x="475" y="243"/>
                  </a:lnTo>
                  <a:lnTo>
                    <a:pt x="479" y="252"/>
                  </a:lnTo>
                  <a:lnTo>
                    <a:pt x="492" y="250"/>
                  </a:lnTo>
                  <a:lnTo>
                    <a:pt x="504" y="257"/>
                  </a:lnTo>
                  <a:lnTo>
                    <a:pt x="509" y="257"/>
                  </a:lnTo>
                  <a:lnTo>
                    <a:pt x="520" y="262"/>
                  </a:lnTo>
                  <a:lnTo>
                    <a:pt x="526" y="260"/>
                  </a:lnTo>
                  <a:lnTo>
                    <a:pt x="528" y="264"/>
                  </a:lnTo>
                  <a:lnTo>
                    <a:pt x="535" y="269"/>
                  </a:lnTo>
                  <a:lnTo>
                    <a:pt x="533" y="270"/>
                  </a:lnTo>
                  <a:lnTo>
                    <a:pt x="537" y="274"/>
                  </a:lnTo>
                  <a:lnTo>
                    <a:pt x="543" y="286"/>
                  </a:lnTo>
                  <a:lnTo>
                    <a:pt x="535" y="293"/>
                  </a:lnTo>
                  <a:lnTo>
                    <a:pt x="537" y="296"/>
                  </a:lnTo>
                  <a:lnTo>
                    <a:pt x="533" y="298"/>
                  </a:lnTo>
                  <a:lnTo>
                    <a:pt x="538" y="305"/>
                  </a:lnTo>
                  <a:lnTo>
                    <a:pt x="547" y="311"/>
                  </a:lnTo>
                  <a:lnTo>
                    <a:pt x="552" y="327"/>
                  </a:lnTo>
                  <a:lnTo>
                    <a:pt x="552" y="347"/>
                  </a:lnTo>
                  <a:lnTo>
                    <a:pt x="552" y="368"/>
                  </a:lnTo>
                  <a:lnTo>
                    <a:pt x="540" y="376"/>
                  </a:lnTo>
                  <a:lnTo>
                    <a:pt x="538" y="387"/>
                  </a:lnTo>
                  <a:lnTo>
                    <a:pt x="537" y="399"/>
                  </a:lnTo>
                  <a:lnTo>
                    <a:pt x="530" y="407"/>
                  </a:lnTo>
                  <a:lnTo>
                    <a:pt x="518" y="412"/>
                  </a:lnTo>
                  <a:lnTo>
                    <a:pt x="514" y="417"/>
                  </a:lnTo>
                  <a:lnTo>
                    <a:pt x="516" y="441"/>
                  </a:lnTo>
                  <a:lnTo>
                    <a:pt x="535" y="450"/>
                  </a:lnTo>
                  <a:lnTo>
                    <a:pt x="538" y="448"/>
                  </a:lnTo>
                  <a:lnTo>
                    <a:pt x="547" y="434"/>
                  </a:lnTo>
                  <a:lnTo>
                    <a:pt x="550" y="436"/>
                  </a:lnTo>
                  <a:lnTo>
                    <a:pt x="552" y="431"/>
                  </a:lnTo>
                  <a:lnTo>
                    <a:pt x="557" y="421"/>
                  </a:lnTo>
                  <a:lnTo>
                    <a:pt x="559" y="409"/>
                  </a:lnTo>
                  <a:lnTo>
                    <a:pt x="588" y="392"/>
                  </a:lnTo>
                  <a:lnTo>
                    <a:pt x="598" y="393"/>
                  </a:lnTo>
                  <a:lnTo>
                    <a:pt x="605" y="400"/>
                  </a:lnTo>
                  <a:lnTo>
                    <a:pt x="615" y="417"/>
                  </a:lnTo>
                  <a:lnTo>
                    <a:pt x="619" y="428"/>
                  </a:lnTo>
                  <a:lnTo>
                    <a:pt x="634" y="482"/>
                  </a:lnTo>
                  <a:lnTo>
                    <a:pt x="644" y="503"/>
                  </a:lnTo>
                  <a:lnTo>
                    <a:pt x="641" y="511"/>
                  </a:lnTo>
                  <a:lnTo>
                    <a:pt x="643" y="525"/>
                  </a:lnTo>
                  <a:lnTo>
                    <a:pt x="641" y="540"/>
                  </a:lnTo>
                  <a:lnTo>
                    <a:pt x="631" y="542"/>
                  </a:lnTo>
                  <a:lnTo>
                    <a:pt x="632" y="537"/>
                  </a:lnTo>
                  <a:lnTo>
                    <a:pt x="624" y="537"/>
                  </a:lnTo>
                  <a:lnTo>
                    <a:pt x="617" y="544"/>
                  </a:lnTo>
                  <a:lnTo>
                    <a:pt x="619" y="546"/>
                  </a:lnTo>
                  <a:lnTo>
                    <a:pt x="614" y="559"/>
                  </a:lnTo>
                  <a:lnTo>
                    <a:pt x="615" y="563"/>
                  </a:lnTo>
                  <a:lnTo>
                    <a:pt x="614" y="573"/>
                  </a:lnTo>
                  <a:lnTo>
                    <a:pt x="600" y="583"/>
                  </a:lnTo>
                  <a:lnTo>
                    <a:pt x="596" y="602"/>
                  </a:lnTo>
                  <a:lnTo>
                    <a:pt x="598" y="612"/>
                  </a:lnTo>
                  <a:lnTo>
                    <a:pt x="579" y="648"/>
                  </a:lnTo>
                  <a:lnTo>
                    <a:pt x="557" y="652"/>
                  </a:lnTo>
                  <a:lnTo>
                    <a:pt x="549" y="653"/>
                  </a:lnTo>
                  <a:lnTo>
                    <a:pt x="509" y="658"/>
                  </a:lnTo>
                  <a:lnTo>
                    <a:pt x="508" y="658"/>
                  </a:lnTo>
                  <a:lnTo>
                    <a:pt x="475" y="663"/>
                  </a:lnTo>
                  <a:lnTo>
                    <a:pt x="475" y="657"/>
                  </a:lnTo>
                  <a:lnTo>
                    <a:pt x="472" y="657"/>
                  </a:lnTo>
                  <a:lnTo>
                    <a:pt x="443" y="660"/>
                  </a:lnTo>
                  <a:lnTo>
                    <a:pt x="436" y="662"/>
                  </a:lnTo>
                  <a:lnTo>
                    <a:pt x="407" y="663"/>
                  </a:lnTo>
                  <a:lnTo>
                    <a:pt x="395" y="665"/>
                  </a:lnTo>
                  <a:lnTo>
                    <a:pt x="374" y="667"/>
                  </a:lnTo>
                  <a:lnTo>
                    <a:pt x="361" y="669"/>
                  </a:lnTo>
                  <a:lnTo>
                    <a:pt x="338" y="670"/>
                  </a:lnTo>
                  <a:lnTo>
                    <a:pt x="313" y="674"/>
                  </a:lnTo>
                  <a:close/>
                </a:path>
              </a:pathLst>
            </a:custGeom>
            <a:grpFill/>
            <a:ln w="28575" cap="flat" cmpd="sng">
              <a:solidFill>
                <a:sysClr val="window" lastClr="FFFFFF"/>
              </a:solidFill>
              <a:prstDash val="solid"/>
              <a:round/>
              <a:headEnd type="none" w="med" len="med"/>
              <a:tailEnd type="none" w="med" len="me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56" name="Freeform 180"/>
            <p:cNvSpPr>
              <a:spLocks noEditPoints="1"/>
            </p:cNvSpPr>
            <p:nvPr/>
          </p:nvSpPr>
          <p:spPr bwMode="gray">
            <a:xfrm>
              <a:off x="1794901" y="4783504"/>
              <a:ext cx="1413809" cy="1331687"/>
            </a:xfrm>
            <a:custGeom>
              <a:avLst/>
              <a:gdLst/>
              <a:ahLst/>
              <a:cxnLst>
                <a:cxn ang="0">
                  <a:pos x="318" y="268"/>
                </a:cxn>
                <a:cxn ang="0">
                  <a:pos x="280" y="220"/>
                </a:cxn>
                <a:cxn ang="0">
                  <a:pos x="285" y="208"/>
                </a:cxn>
                <a:cxn ang="0">
                  <a:pos x="294" y="177"/>
                </a:cxn>
                <a:cxn ang="0">
                  <a:pos x="374" y="187"/>
                </a:cxn>
                <a:cxn ang="0">
                  <a:pos x="396" y="148"/>
                </a:cxn>
                <a:cxn ang="0">
                  <a:pos x="349" y="51"/>
                </a:cxn>
                <a:cxn ang="0">
                  <a:pos x="434" y="111"/>
                </a:cxn>
                <a:cxn ang="0">
                  <a:pos x="484" y="133"/>
                </a:cxn>
                <a:cxn ang="0">
                  <a:pos x="441" y="0"/>
                </a:cxn>
                <a:cxn ang="0">
                  <a:pos x="567" y="42"/>
                </a:cxn>
                <a:cxn ang="0">
                  <a:pos x="636" y="82"/>
                </a:cxn>
                <a:cxn ang="0">
                  <a:pos x="711" y="146"/>
                </a:cxn>
                <a:cxn ang="0">
                  <a:pos x="719" y="541"/>
                </a:cxn>
                <a:cxn ang="0">
                  <a:pos x="839" y="685"/>
                </a:cxn>
                <a:cxn ang="0">
                  <a:pos x="858" y="808"/>
                </a:cxn>
                <a:cxn ang="0">
                  <a:pos x="834" y="772"/>
                </a:cxn>
                <a:cxn ang="0">
                  <a:pos x="822" y="707"/>
                </a:cxn>
                <a:cxn ang="0">
                  <a:pos x="808" y="651"/>
                </a:cxn>
                <a:cxn ang="0">
                  <a:pos x="793" y="635"/>
                </a:cxn>
                <a:cxn ang="0">
                  <a:pos x="779" y="637"/>
                </a:cxn>
                <a:cxn ang="0">
                  <a:pos x="738" y="599"/>
                </a:cxn>
                <a:cxn ang="0">
                  <a:pos x="646" y="516"/>
                </a:cxn>
                <a:cxn ang="0">
                  <a:pos x="605" y="463"/>
                </a:cxn>
                <a:cxn ang="0">
                  <a:pos x="593" y="442"/>
                </a:cxn>
                <a:cxn ang="0">
                  <a:pos x="576" y="442"/>
                </a:cxn>
                <a:cxn ang="0">
                  <a:pos x="554" y="464"/>
                </a:cxn>
                <a:cxn ang="0">
                  <a:pos x="506" y="451"/>
                </a:cxn>
                <a:cxn ang="0">
                  <a:pos x="516" y="406"/>
                </a:cxn>
                <a:cxn ang="0">
                  <a:pos x="478" y="401"/>
                </a:cxn>
                <a:cxn ang="0">
                  <a:pos x="441" y="439"/>
                </a:cxn>
                <a:cxn ang="0">
                  <a:pos x="374" y="440"/>
                </a:cxn>
                <a:cxn ang="0">
                  <a:pos x="313" y="451"/>
                </a:cxn>
                <a:cxn ang="0">
                  <a:pos x="277" y="451"/>
                </a:cxn>
                <a:cxn ang="0">
                  <a:pos x="222" y="432"/>
                </a:cxn>
                <a:cxn ang="0">
                  <a:pos x="167" y="408"/>
                </a:cxn>
                <a:cxn ang="0">
                  <a:pos x="237" y="430"/>
                </a:cxn>
                <a:cxn ang="0">
                  <a:pos x="352" y="403"/>
                </a:cxn>
                <a:cxn ang="0">
                  <a:pos x="342" y="360"/>
                </a:cxn>
                <a:cxn ang="0">
                  <a:pos x="149" y="116"/>
                </a:cxn>
                <a:cxn ang="0">
                  <a:pos x="160" y="405"/>
                </a:cxn>
                <a:cxn ang="0">
                  <a:pos x="65" y="389"/>
                </a:cxn>
                <a:cxn ang="0">
                  <a:pos x="25" y="377"/>
                </a:cxn>
                <a:cxn ang="0">
                  <a:pos x="278" y="100"/>
                </a:cxn>
                <a:cxn ang="0">
                  <a:pos x="454" y="469"/>
                </a:cxn>
                <a:cxn ang="0">
                  <a:pos x="805" y="702"/>
                </a:cxn>
                <a:cxn ang="0">
                  <a:pos x="813" y="678"/>
                </a:cxn>
                <a:cxn ang="0">
                  <a:pos x="776" y="678"/>
                </a:cxn>
                <a:cxn ang="0">
                  <a:pos x="783" y="666"/>
                </a:cxn>
                <a:cxn ang="0">
                  <a:pos x="388" y="485"/>
                </a:cxn>
                <a:cxn ang="0">
                  <a:pos x="400" y="476"/>
                </a:cxn>
                <a:cxn ang="0">
                  <a:pos x="432" y="490"/>
                </a:cxn>
                <a:cxn ang="0">
                  <a:pos x="774" y="700"/>
                </a:cxn>
                <a:cxn ang="0">
                  <a:pos x="767" y="688"/>
                </a:cxn>
                <a:cxn ang="0">
                  <a:pos x="824" y="726"/>
                </a:cxn>
                <a:cxn ang="0">
                  <a:pos x="801" y="721"/>
                </a:cxn>
                <a:cxn ang="0">
                  <a:pos x="837" y="758"/>
                </a:cxn>
                <a:cxn ang="0">
                  <a:pos x="817" y="815"/>
                </a:cxn>
                <a:cxn ang="0">
                  <a:pos x="803" y="780"/>
                </a:cxn>
                <a:cxn ang="0">
                  <a:pos x="810" y="784"/>
                </a:cxn>
                <a:cxn ang="0">
                  <a:pos x="834" y="786"/>
                </a:cxn>
                <a:cxn ang="0">
                  <a:pos x="825" y="799"/>
                </a:cxn>
              </a:cxnLst>
              <a:rect l="0" t="0" r="r" b="b"/>
              <a:pathLst>
                <a:path w="878" h="827">
                  <a:moveTo>
                    <a:pt x="290" y="331"/>
                  </a:moveTo>
                  <a:lnTo>
                    <a:pt x="289" y="331"/>
                  </a:lnTo>
                  <a:lnTo>
                    <a:pt x="289" y="333"/>
                  </a:lnTo>
                  <a:lnTo>
                    <a:pt x="278" y="331"/>
                  </a:lnTo>
                  <a:lnTo>
                    <a:pt x="282" y="329"/>
                  </a:lnTo>
                  <a:lnTo>
                    <a:pt x="282" y="328"/>
                  </a:lnTo>
                  <a:lnTo>
                    <a:pt x="280" y="329"/>
                  </a:lnTo>
                  <a:lnTo>
                    <a:pt x="273" y="321"/>
                  </a:lnTo>
                  <a:lnTo>
                    <a:pt x="278" y="326"/>
                  </a:lnTo>
                  <a:lnTo>
                    <a:pt x="287" y="324"/>
                  </a:lnTo>
                  <a:lnTo>
                    <a:pt x="284" y="324"/>
                  </a:lnTo>
                  <a:lnTo>
                    <a:pt x="289" y="317"/>
                  </a:lnTo>
                  <a:lnTo>
                    <a:pt x="289" y="316"/>
                  </a:lnTo>
                  <a:lnTo>
                    <a:pt x="296" y="317"/>
                  </a:lnTo>
                  <a:lnTo>
                    <a:pt x="290" y="312"/>
                  </a:lnTo>
                  <a:lnTo>
                    <a:pt x="289" y="314"/>
                  </a:lnTo>
                  <a:lnTo>
                    <a:pt x="289" y="311"/>
                  </a:lnTo>
                  <a:lnTo>
                    <a:pt x="290" y="305"/>
                  </a:lnTo>
                  <a:lnTo>
                    <a:pt x="292" y="305"/>
                  </a:lnTo>
                  <a:lnTo>
                    <a:pt x="292" y="307"/>
                  </a:lnTo>
                  <a:lnTo>
                    <a:pt x="296" y="304"/>
                  </a:lnTo>
                  <a:lnTo>
                    <a:pt x="302" y="304"/>
                  </a:lnTo>
                  <a:lnTo>
                    <a:pt x="306" y="280"/>
                  </a:lnTo>
                  <a:lnTo>
                    <a:pt x="309" y="278"/>
                  </a:lnTo>
                  <a:lnTo>
                    <a:pt x="309" y="276"/>
                  </a:lnTo>
                  <a:lnTo>
                    <a:pt x="313" y="276"/>
                  </a:lnTo>
                  <a:lnTo>
                    <a:pt x="309" y="275"/>
                  </a:lnTo>
                  <a:lnTo>
                    <a:pt x="307" y="276"/>
                  </a:lnTo>
                  <a:lnTo>
                    <a:pt x="306" y="276"/>
                  </a:lnTo>
                  <a:lnTo>
                    <a:pt x="307" y="275"/>
                  </a:lnTo>
                  <a:lnTo>
                    <a:pt x="307" y="271"/>
                  </a:lnTo>
                  <a:lnTo>
                    <a:pt x="318" y="268"/>
                  </a:lnTo>
                  <a:lnTo>
                    <a:pt x="319" y="266"/>
                  </a:lnTo>
                  <a:lnTo>
                    <a:pt x="328" y="268"/>
                  </a:lnTo>
                  <a:lnTo>
                    <a:pt x="323" y="266"/>
                  </a:lnTo>
                  <a:lnTo>
                    <a:pt x="323" y="263"/>
                  </a:lnTo>
                  <a:lnTo>
                    <a:pt x="323" y="266"/>
                  </a:lnTo>
                  <a:lnTo>
                    <a:pt x="319" y="264"/>
                  </a:lnTo>
                  <a:lnTo>
                    <a:pt x="311" y="268"/>
                  </a:lnTo>
                  <a:lnTo>
                    <a:pt x="311" y="270"/>
                  </a:lnTo>
                  <a:lnTo>
                    <a:pt x="306" y="268"/>
                  </a:lnTo>
                  <a:lnTo>
                    <a:pt x="306" y="271"/>
                  </a:lnTo>
                  <a:lnTo>
                    <a:pt x="302" y="268"/>
                  </a:lnTo>
                  <a:lnTo>
                    <a:pt x="306" y="275"/>
                  </a:lnTo>
                  <a:lnTo>
                    <a:pt x="301" y="278"/>
                  </a:lnTo>
                  <a:lnTo>
                    <a:pt x="296" y="275"/>
                  </a:lnTo>
                  <a:lnTo>
                    <a:pt x="294" y="276"/>
                  </a:lnTo>
                  <a:lnTo>
                    <a:pt x="282" y="271"/>
                  </a:lnTo>
                  <a:lnTo>
                    <a:pt x="268" y="259"/>
                  </a:lnTo>
                  <a:lnTo>
                    <a:pt x="270" y="254"/>
                  </a:lnTo>
                  <a:lnTo>
                    <a:pt x="273" y="254"/>
                  </a:lnTo>
                  <a:lnTo>
                    <a:pt x="270" y="247"/>
                  </a:lnTo>
                  <a:lnTo>
                    <a:pt x="270" y="239"/>
                  </a:lnTo>
                  <a:lnTo>
                    <a:pt x="272" y="237"/>
                  </a:lnTo>
                  <a:lnTo>
                    <a:pt x="268" y="237"/>
                  </a:lnTo>
                  <a:lnTo>
                    <a:pt x="266" y="230"/>
                  </a:lnTo>
                  <a:lnTo>
                    <a:pt x="266" y="227"/>
                  </a:lnTo>
                  <a:lnTo>
                    <a:pt x="268" y="229"/>
                  </a:lnTo>
                  <a:lnTo>
                    <a:pt x="272" y="227"/>
                  </a:lnTo>
                  <a:lnTo>
                    <a:pt x="266" y="225"/>
                  </a:lnTo>
                  <a:lnTo>
                    <a:pt x="265" y="220"/>
                  </a:lnTo>
                  <a:lnTo>
                    <a:pt x="275" y="222"/>
                  </a:lnTo>
                  <a:lnTo>
                    <a:pt x="277" y="220"/>
                  </a:lnTo>
                  <a:lnTo>
                    <a:pt x="280" y="220"/>
                  </a:lnTo>
                  <a:lnTo>
                    <a:pt x="282" y="217"/>
                  </a:lnTo>
                  <a:lnTo>
                    <a:pt x="282" y="220"/>
                  </a:lnTo>
                  <a:lnTo>
                    <a:pt x="285" y="222"/>
                  </a:lnTo>
                  <a:lnTo>
                    <a:pt x="284" y="223"/>
                  </a:lnTo>
                  <a:lnTo>
                    <a:pt x="289" y="230"/>
                  </a:lnTo>
                  <a:lnTo>
                    <a:pt x="287" y="234"/>
                  </a:lnTo>
                  <a:lnTo>
                    <a:pt x="280" y="235"/>
                  </a:lnTo>
                  <a:lnTo>
                    <a:pt x="294" y="235"/>
                  </a:lnTo>
                  <a:lnTo>
                    <a:pt x="296" y="239"/>
                  </a:lnTo>
                  <a:lnTo>
                    <a:pt x="292" y="244"/>
                  </a:lnTo>
                  <a:lnTo>
                    <a:pt x="301" y="246"/>
                  </a:lnTo>
                  <a:lnTo>
                    <a:pt x="302" y="244"/>
                  </a:lnTo>
                  <a:lnTo>
                    <a:pt x="296" y="234"/>
                  </a:lnTo>
                  <a:lnTo>
                    <a:pt x="304" y="239"/>
                  </a:lnTo>
                  <a:lnTo>
                    <a:pt x="301" y="234"/>
                  </a:lnTo>
                  <a:lnTo>
                    <a:pt x="304" y="234"/>
                  </a:lnTo>
                  <a:lnTo>
                    <a:pt x="296" y="234"/>
                  </a:lnTo>
                  <a:lnTo>
                    <a:pt x="285" y="225"/>
                  </a:lnTo>
                  <a:lnTo>
                    <a:pt x="287" y="222"/>
                  </a:lnTo>
                  <a:lnTo>
                    <a:pt x="284" y="218"/>
                  </a:lnTo>
                  <a:lnTo>
                    <a:pt x="282" y="217"/>
                  </a:lnTo>
                  <a:lnTo>
                    <a:pt x="280" y="217"/>
                  </a:lnTo>
                  <a:lnTo>
                    <a:pt x="278" y="217"/>
                  </a:lnTo>
                  <a:lnTo>
                    <a:pt x="278" y="215"/>
                  </a:lnTo>
                  <a:lnTo>
                    <a:pt x="278" y="213"/>
                  </a:lnTo>
                  <a:lnTo>
                    <a:pt x="289" y="215"/>
                  </a:lnTo>
                  <a:lnTo>
                    <a:pt x="285" y="211"/>
                  </a:lnTo>
                  <a:lnTo>
                    <a:pt x="282" y="211"/>
                  </a:lnTo>
                  <a:lnTo>
                    <a:pt x="282" y="208"/>
                  </a:lnTo>
                  <a:lnTo>
                    <a:pt x="285" y="208"/>
                  </a:lnTo>
                  <a:lnTo>
                    <a:pt x="285" y="205"/>
                  </a:lnTo>
                  <a:lnTo>
                    <a:pt x="285" y="208"/>
                  </a:lnTo>
                  <a:lnTo>
                    <a:pt x="284" y="208"/>
                  </a:lnTo>
                  <a:lnTo>
                    <a:pt x="280" y="203"/>
                  </a:lnTo>
                  <a:lnTo>
                    <a:pt x="285" y="205"/>
                  </a:lnTo>
                  <a:lnTo>
                    <a:pt x="287" y="203"/>
                  </a:lnTo>
                  <a:lnTo>
                    <a:pt x="285" y="201"/>
                  </a:lnTo>
                  <a:lnTo>
                    <a:pt x="289" y="203"/>
                  </a:lnTo>
                  <a:lnTo>
                    <a:pt x="289" y="201"/>
                  </a:lnTo>
                  <a:lnTo>
                    <a:pt x="296" y="203"/>
                  </a:lnTo>
                  <a:lnTo>
                    <a:pt x="302" y="201"/>
                  </a:lnTo>
                  <a:lnTo>
                    <a:pt x="290" y="199"/>
                  </a:lnTo>
                  <a:lnTo>
                    <a:pt x="285" y="201"/>
                  </a:lnTo>
                  <a:lnTo>
                    <a:pt x="285" y="203"/>
                  </a:lnTo>
                  <a:lnTo>
                    <a:pt x="280" y="203"/>
                  </a:lnTo>
                  <a:lnTo>
                    <a:pt x="280" y="205"/>
                  </a:lnTo>
                  <a:lnTo>
                    <a:pt x="277" y="206"/>
                  </a:lnTo>
                  <a:lnTo>
                    <a:pt x="275" y="203"/>
                  </a:lnTo>
                  <a:lnTo>
                    <a:pt x="277" y="198"/>
                  </a:lnTo>
                  <a:lnTo>
                    <a:pt x="278" y="198"/>
                  </a:lnTo>
                  <a:lnTo>
                    <a:pt x="275" y="193"/>
                  </a:lnTo>
                  <a:lnTo>
                    <a:pt x="277" y="189"/>
                  </a:lnTo>
                  <a:lnTo>
                    <a:pt x="280" y="191"/>
                  </a:lnTo>
                  <a:lnTo>
                    <a:pt x="282" y="189"/>
                  </a:lnTo>
                  <a:lnTo>
                    <a:pt x="280" y="186"/>
                  </a:lnTo>
                  <a:lnTo>
                    <a:pt x="275" y="184"/>
                  </a:lnTo>
                  <a:lnTo>
                    <a:pt x="277" y="181"/>
                  </a:lnTo>
                  <a:lnTo>
                    <a:pt x="280" y="177"/>
                  </a:lnTo>
                  <a:lnTo>
                    <a:pt x="278" y="181"/>
                  </a:lnTo>
                  <a:lnTo>
                    <a:pt x="285" y="184"/>
                  </a:lnTo>
                  <a:lnTo>
                    <a:pt x="284" y="181"/>
                  </a:lnTo>
                  <a:lnTo>
                    <a:pt x="284" y="176"/>
                  </a:lnTo>
                  <a:lnTo>
                    <a:pt x="292" y="182"/>
                  </a:lnTo>
                  <a:lnTo>
                    <a:pt x="294" y="177"/>
                  </a:lnTo>
                  <a:lnTo>
                    <a:pt x="297" y="174"/>
                  </a:lnTo>
                  <a:lnTo>
                    <a:pt x="318" y="172"/>
                  </a:lnTo>
                  <a:lnTo>
                    <a:pt x="321" y="176"/>
                  </a:lnTo>
                  <a:lnTo>
                    <a:pt x="319" y="177"/>
                  </a:lnTo>
                  <a:lnTo>
                    <a:pt x="323" y="181"/>
                  </a:lnTo>
                  <a:lnTo>
                    <a:pt x="319" y="181"/>
                  </a:lnTo>
                  <a:lnTo>
                    <a:pt x="323" y="182"/>
                  </a:lnTo>
                  <a:lnTo>
                    <a:pt x="321" y="179"/>
                  </a:lnTo>
                  <a:lnTo>
                    <a:pt x="325" y="179"/>
                  </a:lnTo>
                  <a:lnTo>
                    <a:pt x="319" y="177"/>
                  </a:lnTo>
                  <a:lnTo>
                    <a:pt x="321" y="176"/>
                  </a:lnTo>
                  <a:lnTo>
                    <a:pt x="321" y="174"/>
                  </a:lnTo>
                  <a:lnTo>
                    <a:pt x="331" y="176"/>
                  </a:lnTo>
                  <a:lnTo>
                    <a:pt x="323" y="174"/>
                  </a:lnTo>
                  <a:lnTo>
                    <a:pt x="326" y="169"/>
                  </a:lnTo>
                  <a:lnTo>
                    <a:pt x="328" y="170"/>
                  </a:lnTo>
                  <a:lnTo>
                    <a:pt x="328" y="167"/>
                  </a:lnTo>
                  <a:lnTo>
                    <a:pt x="335" y="165"/>
                  </a:lnTo>
                  <a:lnTo>
                    <a:pt x="340" y="170"/>
                  </a:lnTo>
                  <a:lnTo>
                    <a:pt x="338" y="164"/>
                  </a:lnTo>
                  <a:lnTo>
                    <a:pt x="345" y="164"/>
                  </a:lnTo>
                  <a:lnTo>
                    <a:pt x="349" y="167"/>
                  </a:lnTo>
                  <a:lnTo>
                    <a:pt x="355" y="174"/>
                  </a:lnTo>
                  <a:lnTo>
                    <a:pt x="355" y="177"/>
                  </a:lnTo>
                  <a:lnTo>
                    <a:pt x="354" y="177"/>
                  </a:lnTo>
                  <a:lnTo>
                    <a:pt x="355" y="179"/>
                  </a:lnTo>
                  <a:lnTo>
                    <a:pt x="349" y="179"/>
                  </a:lnTo>
                  <a:lnTo>
                    <a:pt x="355" y="179"/>
                  </a:lnTo>
                  <a:lnTo>
                    <a:pt x="357" y="184"/>
                  </a:lnTo>
                  <a:lnTo>
                    <a:pt x="362" y="186"/>
                  </a:lnTo>
                  <a:lnTo>
                    <a:pt x="372" y="187"/>
                  </a:lnTo>
                  <a:lnTo>
                    <a:pt x="374" y="187"/>
                  </a:lnTo>
                  <a:lnTo>
                    <a:pt x="384" y="186"/>
                  </a:lnTo>
                  <a:lnTo>
                    <a:pt x="384" y="184"/>
                  </a:lnTo>
                  <a:lnTo>
                    <a:pt x="388" y="189"/>
                  </a:lnTo>
                  <a:lnTo>
                    <a:pt x="384" y="189"/>
                  </a:lnTo>
                  <a:lnTo>
                    <a:pt x="403" y="201"/>
                  </a:lnTo>
                  <a:lnTo>
                    <a:pt x="415" y="199"/>
                  </a:lnTo>
                  <a:lnTo>
                    <a:pt x="417" y="196"/>
                  </a:lnTo>
                  <a:lnTo>
                    <a:pt x="419" y="189"/>
                  </a:lnTo>
                  <a:lnTo>
                    <a:pt x="422" y="184"/>
                  </a:lnTo>
                  <a:lnTo>
                    <a:pt x="420" y="176"/>
                  </a:lnTo>
                  <a:lnTo>
                    <a:pt x="422" y="176"/>
                  </a:lnTo>
                  <a:lnTo>
                    <a:pt x="417" y="172"/>
                  </a:lnTo>
                  <a:lnTo>
                    <a:pt x="422" y="170"/>
                  </a:lnTo>
                  <a:lnTo>
                    <a:pt x="427" y="176"/>
                  </a:lnTo>
                  <a:lnTo>
                    <a:pt x="427" y="174"/>
                  </a:lnTo>
                  <a:lnTo>
                    <a:pt x="432" y="176"/>
                  </a:lnTo>
                  <a:lnTo>
                    <a:pt x="436" y="174"/>
                  </a:lnTo>
                  <a:lnTo>
                    <a:pt x="434" y="164"/>
                  </a:lnTo>
                  <a:lnTo>
                    <a:pt x="437" y="165"/>
                  </a:lnTo>
                  <a:lnTo>
                    <a:pt x="434" y="162"/>
                  </a:lnTo>
                  <a:lnTo>
                    <a:pt x="427" y="164"/>
                  </a:lnTo>
                  <a:lnTo>
                    <a:pt x="424" y="162"/>
                  </a:lnTo>
                  <a:lnTo>
                    <a:pt x="422" y="157"/>
                  </a:lnTo>
                  <a:lnTo>
                    <a:pt x="422" y="158"/>
                  </a:lnTo>
                  <a:lnTo>
                    <a:pt x="419" y="158"/>
                  </a:lnTo>
                  <a:lnTo>
                    <a:pt x="413" y="155"/>
                  </a:lnTo>
                  <a:lnTo>
                    <a:pt x="403" y="155"/>
                  </a:lnTo>
                  <a:lnTo>
                    <a:pt x="398" y="157"/>
                  </a:lnTo>
                  <a:lnTo>
                    <a:pt x="395" y="157"/>
                  </a:lnTo>
                  <a:lnTo>
                    <a:pt x="396" y="152"/>
                  </a:lnTo>
                  <a:lnTo>
                    <a:pt x="398" y="152"/>
                  </a:lnTo>
                  <a:lnTo>
                    <a:pt x="396" y="148"/>
                  </a:lnTo>
                  <a:lnTo>
                    <a:pt x="396" y="143"/>
                  </a:lnTo>
                  <a:lnTo>
                    <a:pt x="391" y="141"/>
                  </a:lnTo>
                  <a:lnTo>
                    <a:pt x="395" y="148"/>
                  </a:lnTo>
                  <a:lnTo>
                    <a:pt x="391" y="150"/>
                  </a:lnTo>
                  <a:lnTo>
                    <a:pt x="388" y="140"/>
                  </a:lnTo>
                  <a:lnTo>
                    <a:pt x="376" y="129"/>
                  </a:lnTo>
                  <a:lnTo>
                    <a:pt x="367" y="126"/>
                  </a:lnTo>
                  <a:lnTo>
                    <a:pt x="369" y="126"/>
                  </a:lnTo>
                  <a:lnTo>
                    <a:pt x="366" y="124"/>
                  </a:lnTo>
                  <a:lnTo>
                    <a:pt x="366" y="123"/>
                  </a:lnTo>
                  <a:lnTo>
                    <a:pt x="364" y="124"/>
                  </a:lnTo>
                  <a:lnTo>
                    <a:pt x="367" y="126"/>
                  </a:lnTo>
                  <a:lnTo>
                    <a:pt x="362" y="123"/>
                  </a:lnTo>
                  <a:lnTo>
                    <a:pt x="347" y="102"/>
                  </a:lnTo>
                  <a:lnTo>
                    <a:pt x="347" y="95"/>
                  </a:lnTo>
                  <a:lnTo>
                    <a:pt x="352" y="93"/>
                  </a:lnTo>
                  <a:lnTo>
                    <a:pt x="349" y="87"/>
                  </a:lnTo>
                  <a:lnTo>
                    <a:pt x="349" y="80"/>
                  </a:lnTo>
                  <a:lnTo>
                    <a:pt x="350" y="76"/>
                  </a:lnTo>
                  <a:lnTo>
                    <a:pt x="354" y="76"/>
                  </a:lnTo>
                  <a:lnTo>
                    <a:pt x="349" y="78"/>
                  </a:lnTo>
                  <a:lnTo>
                    <a:pt x="352" y="83"/>
                  </a:lnTo>
                  <a:lnTo>
                    <a:pt x="354" y="85"/>
                  </a:lnTo>
                  <a:lnTo>
                    <a:pt x="357" y="85"/>
                  </a:lnTo>
                  <a:lnTo>
                    <a:pt x="357" y="83"/>
                  </a:lnTo>
                  <a:lnTo>
                    <a:pt x="360" y="83"/>
                  </a:lnTo>
                  <a:lnTo>
                    <a:pt x="364" y="88"/>
                  </a:lnTo>
                  <a:lnTo>
                    <a:pt x="359" y="78"/>
                  </a:lnTo>
                  <a:lnTo>
                    <a:pt x="347" y="64"/>
                  </a:lnTo>
                  <a:lnTo>
                    <a:pt x="342" y="52"/>
                  </a:lnTo>
                  <a:lnTo>
                    <a:pt x="343" y="49"/>
                  </a:lnTo>
                  <a:lnTo>
                    <a:pt x="349" y="51"/>
                  </a:lnTo>
                  <a:lnTo>
                    <a:pt x="345" y="51"/>
                  </a:lnTo>
                  <a:lnTo>
                    <a:pt x="343" y="51"/>
                  </a:lnTo>
                  <a:lnTo>
                    <a:pt x="349" y="52"/>
                  </a:lnTo>
                  <a:lnTo>
                    <a:pt x="354" y="56"/>
                  </a:lnTo>
                  <a:lnTo>
                    <a:pt x="354" y="54"/>
                  </a:lnTo>
                  <a:lnTo>
                    <a:pt x="359" y="54"/>
                  </a:lnTo>
                  <a:lnTo>
                    <a:pt x="364" y="59"/>
                  </a:lnTo>
                  <a:lnTo>
                    <a:pt x="367" y="61"/>
                  </a:lnTo>
                  <a:lnTo>
                    <a:pt x="367" y="58"/>
                  </a:lnTo>
                  <a:lnTo>
                    <a:pt x="371" y="61"/>
                  </a:lnTo>
                  <a:lnTo>
                    <a:pt x="372" y="59"/>
                  </a:lnTo>
                  <a:lnTo>
                    <a:pt x="383" y="63"/>
                  </a:lnTo>
                  <a:lnTo>
                    <a:pt x="388" y="71"/>
                  </a:lnTo>
                  <a:lnTo>
                    <a:pt x="393" y="75"/>
                  </a:lnTo>
                  <a:lnTo>
                    <a:pt x="390" y="66"/>
                  </a:lnTo>
                  <a:lnTo>
                    <a:pt x="393" y="66"/>
                  </a:lnTo>
                  <a:lnTo>
                    <a:pt x="405" y="71"/>
                  </a:lnTo>
                  <a:lnTo>
                    <a:pt x="405" y="75"/>
                  </a:lnTo>
                  <a:lnTo>
                    <a:pt x="413" y="75"/>
                  </a:lnTo>
                  <a:lnTo>
                    <a:pt x="419" y="78"/>
                  </a:lnTo>
                  <a:lnTo>
                    <a:pt x="420" y="78"/>
                  </a:lnTo>
                  <a:lnTo>
                    <a:pt x="427" y="83"/>
                  </a:lnTo>
                  <a:lnTo>
                    <a:pt x="431" y="88"/>
                  </a:lnTo>
                  <a:lnTo>
                    <a:pt x="425" y="83"/>
                  </a:lnTo>
                  <a:lnTo>
                    <a:pt x="427" y="88"/>
                  </a:lnTo>
                  <a:lnTo>
                    <a:pt x="422" y="90"/>
                  </a:lnTo>
                  <a:lnTo>
                    <a:pt x="420" y="93"/>
                  </a:lnTo>
                  <a:lnTo>
                    <a:pt x="413" y="90"/>
                  </a:lnTo>
                  <a:lnTo>
                    <a:pt x="419" y="93"/>
                  </a:lnTo>
                  <a:lnTo>
                    <a:pt x="417" y="97"/>
                  </a:lnTo>
                  <a:lnTo>
                    <a:pt x="420" y="100"/>
                  </a:lnTo>
                  <a:lnTo>
                    <a:pt x="434" y="111"/>
                  </a:lnTo>
                  <a:lnTo>
                    <a:pt x="434" y="116"/>
                  </a:lnTo>
                  <a:lnTo>
                    <a:pt x="443" y="121"/>
                  </a:lnTo>
                  <a:lnTo>
                    <a:pt x="446" y="128"/>
                  </a:lnTo>
                  <a:lnTo>
                    <a:pt x="446" y="126"/>
                  </a:lnTo>
                  <a:lnTo>
                    <a:pt x="449" y="126"/>
                  </a:lnTo>
                  <a:lnTo>
                    <a:pt x="449" y="124"/>
                  </a:lnTo>
                  <a:lnTo>
                    <a:pt x="456" y="123"/>
                  </a:lnTo>
                  <a:lnTo>
                    <a:pt x="463" y="129"/>
                  </a:lnTo>
                  <a:lnTo>
                    <a:pt x="461" y="133"/>
                  </a:lnTo>
                  <a:lnTo>
                    <a:pt x="460" y="131"/>
                  </a:lnTo>
                  <a:lnTo>
                    <a:pt x="461" y="133"/>
                  </a:lnTo>
                  <a:lnTo>
                    <a:pt x="465" y="131"/>
                  </a:lnTo>
                  <a:lnTo>
                    <a:pt x="465" y="126"/>
                  </a:lnTo>
                  <a:lnTo>
                    <a:pt x="456" y="117"/>
                  </a:lnTo>
                  <a:lnTo>
                    <a:pt x="453" y="116"/>
                  </a:lnTo>
                  <a:lnTo>
                    <a:pt x="451" y="119"/>
                  </a:lnTo>
                  <a:lnTo>
                    <a:pt x="451" y="117"/>
                  </a:lnTo>
                  <a:lnTo>
                    <a:pt x="451" y="116"/>
                  </a:lnTo>
                  <a:lnTo>
                    <a:pt x="454" y="114"/>
                  </a:lnTo>
                  <a:lnTo>
                    <a:pt x="456" y="112"/>
                  </a:lnTo>
                  <a:lnTo>
                    <a:pt x="454" y="104"/>
                  </a:lnTo>
                  <a:lnTo>
                    <a:pt x="451" y="99"/>
                  </a:lnTo>
                  <a:lnTo>
                    <a:pt x="453" y="93"/>
                  </a:lnTo>
                  <a:lnTo>
                    <a:pt x="456" y="93"/>
                  </a:lnTo>
                  <a:lnTo>
                    <a:pt x="460" y="95"/>
                  </a:lnTo>
                  <a:lnTo>
                    <a:pt x="460" y="104"/>
                  </a:lnTo>
                  <a:lnTo>
                    <a:pt x="456" y="107"/>
                  </a:lnTo>
                  <a:lnTo>
                    <a:pt x="460" y="117"/>
                  </a:lnTo>
                  <a:lnTo>
                    <a:pt x="468" y="121"/>
                  </a:lnTo>
                  <a:lnTo>
                    <a:pt x="470" y="129"/>
                  </a:lnTo>
                  <a:lnTo>
                    <a:pt x="480" y="136"/>
                  </a:lnTo>
                  <a:lnTo>
                    <a:pt x="484" y="133"/>
                  </a:lnTo>
                  <a:lnTo>
                    <a:pt x="482" y="129"/>
                  </a:lnTo>
                  <a:lnTo>
                    <a:pt x="485" y="129"/>
                  </a:lnTo>
                  <a:lnTo>
                    <a:pt x="478" y="128"/>
                  </a:lnTo>
                  <a:lnTo>
                    <a:pt x="475" y="123"/>
                  </a:lnTo>
                  <a:lnTo>
                    <a:pt x="470" y="119"/>
                  </a:lnTo>
                  <a:lnTo>
                    <a:pt x="466" y="119"/>
                  </a:lnTo>
                  <a:lnTo>
                    <a:pt x="463" y="117"/>
                  </a:lnTo>
                  <a:lnTo>
                    <a:pt x="461" y="107"/>
                  </a:lnTo>
                  <a:lnTo>
                    <a:pt x="466" y="104"/>
                  </a:lnTo>
                  <a:lnTo>
                    <a:pt x="472" y="105"/>
                  </a:lnTo>
                  <a:lnTo>
                    <a:pt x="468" y="99"/>
                  </a:lnTo>
                  <a:lnTo>
                    <a:pt x="461" y="95"/>
                  </a:lnTo>
                  <a:lnTo>
                    <a:pt x="461" y="93"/>
                  </a:lnTo>
                  <a:lnTo>
                    <a:pt x="460" y="95"/>
                  </a:lnTo>
                  <a:lnTo>
                    <a:pt x="458" y="93"/>
                  </a:lnTo>
                  <a:lnTo>
                    <a:pt x="463" y="92"/>
                  </a:lnTo>
                  <a:lnTo>
                    <a:pt x="463" y="90"/>
                  </a:lnTo>
                  <a:lnTo>
                    <a:pt x="456" y="92"/>
                  </a:lnTo>
                  <a:lnTo>
                    <a:pt x="441" y="75"/>
                  </a:lnTo>
                  <a:lnTo>
                    <a:pt x="444" y="66"/>
                  </a:lnTo>
                  <a:lnTo>
                    <a:pt x="446" y="59"/>
                  </a:lnTo>
                  <a:lnTo>
                    <a:pt x="441" y="44"/>
                  </a:lnTo>
                  <a:lnTo>
                    <a:pt x="436" y="32"/>
                  </a:lnTo>
                  <a:lnTo>
                    <a:pt x="436" y="30"/>
                  </a:lnTo>
                  <a:lnTo>
                    <a:pt x="431" y="20"/>
                  </a:lnTo>
                  <a:lnTo>
                    <a:pt x="427" y="11"/>
                  </a:lnTo>
                  <a:lnTo>
                    <a:pt x="422" y="3"/>
                  </a:lnTo>
                  <a:lnTo>
                    <a:pt x="429" y="10"/>
                  </a:lnTo>
                  <a:lnTo>
                    <a:pt x="431" y="8"/>
                  </a:lnTo>
                  <a:lnTo>
                    <a:pt x="434" y="6"/>
                  </a:lnTo>
                  <a:lnTo>
                    <a:pt x="437" y="5"/>
                  </a:lnTo>
                  <a:lnTo>
                    <a:pt x="441" y="0"/>
                  </a:lnTo>
                  <a:lnTo>
                    <a:pt x="470" y="23"/>
                  </a:lnTo>
                  <a:lnTo>
                    <a:pt x="485" y="27"/>
                  </a:lnTo>
                  <a:lnTo>
                    <a:pt x="495" y="25"/>
                  </a:lnTo>
                  <a:lnTo>
                    <a:pt x="492" y="27"/>
                  </a:lnTo>
                  <a:lnTo>
                    <a:pt x="495" y="27"/>
                  </a:lnTo>
                  <a:lnTo>
                    <a:pt x="501" y="23"/>
                  </a:lnTo>
                  <a:lnTo>
                    <a:pt x="501" y="22"/>
                  </a:lnTo>
                  <a:lnTo>
                    <a:pt x="504" y="22"/>
                  </a:lnTo>
                  <a:lnTo>
                    <a:pt x="504" y="20"/>
                  </a:lnTo>
                  <a:lnTo>
                    <a:pt x="506" y="20"/>
                  </a:lnTo>
                  <a:lnTo>
                    <a:pt x="531" y="20"/>
                  </a:lnTo>
                  <a:lnTo>
                    <a:pt x="533" y="25"/>
                  </a:lnTo>
                  <a:lnTo>
                    <a:pt x="531" y="22"/>
                  </a:lnTo>
                  <a:lnTo>
                    <a:pt x="531" y="25"/>
                  </a:lnTo>
                  <a:lnTo>
                    <a:pt x="528" y="22"/>
                  </a:lnTo>
                  <a:lnTo>
                    <a:pt x="526" y="22"/>
                  </a:lnTo>
                  <a:lnTo>
                    <a:pt x="533" y="27"/>
                  </a:lnTo>
                  <a:lnTo>
                    <a:pt x="535" y="25"/>
                  </a:lnTo>
                  <a:lnTo>
                    <a:pt x="545" y="34"/>
                  </a:lnTo>
                  <a:lnTo>
                    <a:pt x="545" y="32"/>
                  </a:lnTo>
                  <a:lnTo>
                    <a:pt x="562" y="35"/>
                  </a:lnTo>
                  <a:lnTo>
                    <a:pt x="566" y="39"/>
                  </a:lnTo>
                  <a:lnTo>
                    <a:pt x="560" y="37"/>
                  </a:lnTo>
                  <a:lnTo>
                    <a:pt x="564" y="41"/>
                  </a:lnTo>
                  <a:lnTo>
                    <a:pt x="559" y="42"/>
                  </a:lnTo>
                  <a:lnTo>
                    <a:pt x="562" y="44"/>
                  </a:lnTo>
                  <a:lnTo>
                    <a:pt x="560" y="49"/>
                  </a:lnTo>
                  <a:lnTo>
                    <a:pt x="562" y="44"/>
                  </a:lnTo>
                  <a:lnTo>
                    <a:pt x="566" y="42"/>
                  </a:lnTo>
                  <a:lnTo>
                    <a:pt x="567" y="44"/>
                  </a:lnTo>
                  <a:lnTo>
                    <a:pt x="574" y="47"/>
                  </a:lnTo>
                  <a:lnTo>
                    <a:pt x="567" y="42"/>
                  </a:lnTo>
                  <a:lnTo>
                    <a:pt x="567" y="37"/>
                  </a:lnTo>
                  <a:lnTo>
                    <a:pt x="564" y="35"/>
                  </a:lnTo>
                  <a:lnTo>
                    <a:pt x="574" y="37"/>
                  </a:lnTo>
                  <a:lnTo>
                    <a:pt x="583" y="41"/>
                  </a:lnTo>
                  <a:lnTo>
                    <a:pt x="579" y="39"/>
                  </a:lnTo>
                  <a:lnTo>
                    <a:pt x="581" y="42"/>
                  </a:lnTo>
                  <a:lnTo>
                    <a:pt x="576" y="39"/>
                  </a:lnTo>
                  <a:lnTo>
                    <a:pt x="578" y="44"/>
                  </a:lnTo>
                  <a:lnTo>
                    <a:pt x="579" y="42"/>
                  </a:lnTo>
                  <a:lnTo>
                    <a:pt x="583" y="46"/>
                  </a:lnTo>
                  <a:lnTo>
                    <a:pt x="583" y="42"/>
                  </a:lnTo>
                  <a:lnTo>
                    <a:pt x="588" y="49"/>
                  </a:lnTo>
                  <a:lnTo>
                    <a:pt x="593" y="51"/>
                  </a:lnTo>
                  <a:lnTo>
                    <a:pt x="591" y="49"/>
                  </a:lnTo>
                  <a:lnTo>
                    <a:pt x="601" y="56"/>
                  </a:lnTo>
                  <a:lnTo>
                    <a:pt x="613" y="58"/>
                  </a:lnTo>
                  <a:lnTo>
                    <a:pt x="625" y="58"/>
                  </a:lnTo>
                  <a:lnTo>
                    <a:pt x="632" y="59"/>
                  </a:lnTo>
                  <a:lnTo>
                    <a:pt x="632" y="61"/>
                  </a:lnTo>
                  <a:lnTo>
                    <a:pt x="629" y="59"/>
                  </a:lnTo>
                  <a:lnTo>
                    <a:pt x="629" y="63"/>
                  </a:lnTo>
                  <a:lnTo>
                    <a:pt x="634" y="66"/>
                  </a:lnTo>
                  <a:lnTo>
                    <a:pt x="634" y="68"/>
                  </a:lnTo>
                  <a:lnTo>
                    <a:pt x="636" y="70"/>
                  </a:lnTo>
                  <a:lnTo>
                    <a:pt x="641" y="73"/>
                  </a:lnTo>
                  <a:lnTo>
                    <a:pt x="641" y="76"/>
                  </a:lnTo>
                  <a:lnTo>
                    <a:pt x="636" y="76"/>
                  </a:lnTo>
                  <a:lnTo>
                    <a:pt x="627" y="73"/>
                  </a:lnTo>
                  <a:lnTo>
                    <a:pt x="631" y="76"/>
                  </a:lnTo>
                  <a:lnTo>
                    <a:pt x="629" y="80"/>
                  </a:lnTo>
                  <a:lnTo>
                    <a:pt x="631" y="78"/>
                  </a:lnTo>
                  <a:lnTo>
                    <a:pt x="636" y="82"/>
                  </a:lnTo>
                  <a:lnTo>
                    <a:pt x="637" y="80"/>
                  </a:lnTo>
                  <a:lnTo>
                    <a:pt x="641" y="80"/>
                  </a:lnTo>
                  <a:lnTo>
                    <a:pt x="644" y="83"/>
                  </a:lnTo>
                  <a:lnTo>
                    <a:pt x="644" y="80"/>
                  </a:lnTo>
                  <a:lnTo>
                    <a:pt x="648" y="82"/>
                  </a:lnTo>
                  <a:lnTo>
                    <a:pt x="648" y="80"/>
                  </a:lnTo>
                  <a:lnTo>
                    <a:pt x="649" y="82"/>
                  </a:lnTo>
                  <a:lnTo>
                    <a:pt x="646" y="83"/>
                  </a:lnTo>
                  <a:lnTo>
                    <a:pt x="648" y="83"/>
                  </a:lnTo>
                  <a:lnTo>
                    <a:pt x="649" y="82"/>
                  </a:lnTo>
                  <a:lnTo>
                    <a:pt x="653" y="88"/>
                  </a:lnTo>
                  <a:lnTo>
                    <a:pt x="651" y="90"/>
                  </a:lnTo>
                  <a:lnTo>
                    <a:pt x="648" y="90"/>
                  </a:lnTo>
                  <a:lnTo>
                    <a:pt x="656" y="99"/>
                  </a:lnTo>
                  <a:lnTo>
                    <a:pt x="661" y="99"/>
                  </a:lnTo>
                  <a:lnTo>
                    <a:pt x="673" y="105"/>
                  </a:lnTo>
                  <a:lnTo>
                    <a:pt x="678" y="111"/>
                  </a:lnTo>
                  <a:lnTo>
                    <a:pt x="678" y="114"/>
                  </a:lnTo>
                  <a:lnTo>
                    <a:pt x="680" y="112"/>
                  </a:lnTo>
                  <a:lnTo>
                    <a:pt x="683" y="116"/>
                  </a:lnTo>
                  <a:lnTo>
                    <a:pt x="687" y="119"/>
                  </a:lnTo>
                  <a:lnTo>
                    <a:pt x="680" y="119"/>
                  </a:lnTo>
                  <a:lnTo>
                    <a:pt x="685" y="126"/>
                  </a:lnTo>
                  <a:lnTo>
                    <a:pt x="677" y="121"/>
                  </a:lnTo>
                  <a:lnTo>
                    <a:pt x="690" y="129"/>
                  </a:lnTo>
                  <a:lnTo>
                    <a:pt x="687" y="129"/>
                  </a:lnTo>
                  <a:lnTo>
                    <a:pt x="689" y="131"/>
                  </a:lnTo>
                  <a:lnTo>
                    <a:pt x="685" y="131"/>
                  </a:lnTo>
                  <a:lnTo>
                    <a:pt x="695" y="140"/>
                  </a:lnTo>
                  <a:lnTo>
                    <a:pt x="697" y="138"/>
                  </a:lnTo>
                  <a:lnTo>
                    <a:pt x="704" y="141"/>
                  </a:lnTo>
                  <a:lnTo>
                    <a:pt x="711" y="146"/>
                  </a:lnTo>
                  <a:lnTo>
                    <a:pt x="709" y="148"/>
                  </a:lnTo>
                  <a:lnTo>
                    <a:pt x="719" y="150"/>
                  </a:lnTo>
                  <a:lnTo>
                    <a:pt x="725" y="153"/>
                  </a:lnTo>
                  <a:lnTo>
                    <a:pt x="738" y="165"/>
                  </a:lnTo>
                  <a:lnTo>
                    <a:pt x="738" y="169"/>
                  </a:lnTo>
                  <a:lnTo>
                    <a:pt x="743" y="170"/>
                  </a:lnTo>
                  <a:lnTo>
                    <a:pt x="748" y="176"/>
                  </a:lnTo>
                  <a:lnTo>
                    <a:pt x="750" y="179"/>
                  </a:lnTo>
                  <a:lnTo>
                    <a:pt x="779" y="198"/>
                  </a:lnTo>
                  <a:lnTo>
                    <a:pt x="781" y="203"/>
                  </a:lnTo>
                  <a:lnTo>
                    <a:pt x="791" y="211"/>
                  </a:lnTo>
                  <a:lnTo>
                    <a:pt x="807" y="217"/>
                  </a:lnTo>
                  <a:lnTo>
                    <a:pt x="805" y="220"/>
                  </a:lnTo>
                  <a:lnTo>
                    <a:pt x="807" y="218"/>
                  </a:lnTo>
                  <a:lnTo>
                    <a:pt x="812" y="220"/>
                  </a:lnTo>
                  <a:lnTo>
                    <a:pt x="819" y="223"/>
                  </a:lnTo>
                  <a:lnTo>
                    <a:pt x="819" y="225"/>
                  </a:lnTo>
                  <a:lnTo>
                    <a:pt x="820" y="223"/>
                  </a:lnTo>
                  <a:lnTo>
                    <a:pt x="830" y="232"/>
                  </a:lnTo>
                  <a:lnTo>
                    <a:pt x="834" y="240"/>
                  </a:lnTo>
                  <a:lnTo>
                    <a:pt x="842" y="247"/>
                  </a:lnTo>
                  <a:lnTo>
                    <a:pt x="846" y="252"/>
                  </a:lnTo>
                  <a:lnTo>
                    <a:pt x="848" y="254"/>
                  </a:lnTo>
                  <a:lnTo>
                    <a:pt x="849" y="254"/>
                  </a:lnTo>
                  <a:lnTo>
                    <a:pt x="848" y="252"/>
                  </a:lnTo>
                  <a:lnTo>
                    <a:pt x="853" y="256"/>
                  </a:lnTo>
                  <a:lnTo>
                    <a:pt x="836" y="290"/>
                  </a:lnTo>
                  <a:lnTo>
                    <a:pt x="798" y="364"/>
                  </a:lnTo>
                  <a:lnTo>
                    <a:pt x="735" y="485"/>
                  </a:lnTo>
                  <a:lnTo>
                    <a:pt x="709" y="536"/>
                  </a:lnTo>
                  <a:lnTo>
                    <a:pt x="718" y="545"/>
                  </a:lnTo>
                  <a:lnTo>
                    <a:pt x="719" y="541"/>
                  </a:lnTo>
                  <a:lnTo>
                    <a:pt x="728" y="551"/>
                  </a:lnTo>
                  <a:lnTo>
                    <a:pt x="736" y="548"/>
                  </a:lnTo>
                  <a:lnTo>
                    <a:pt x="748" y="555"/>
                  </a:lnTo>
                  <a:lnTo>
                    <a:pt x="742" y="562"/>
                  </a:lnTo>
                  <a:lnTo>
                    <a:pt x="748" y="572"/>
                  </a:lnTo>
                  <a:lnTo>
                    <a:pt x="748" y="577"/>
                  </a:lnTo>
                  <a:lnTo>
                    <a:pt x="760" y="606"/>
                  </a:lnTo>
                  <a:lnTo>
                    <a:pt x="759" y="618"/>
                  </a:lnTo>
                  <a:lnTo>
                    <a:pt x="776" y="616"/>
                  </a:lnTo>
                  <a:lnTo>
                    <a:pt x="781" y="618"/>
                  </a:lnTo>
                  <a:lnTo>
                    <a:pt x="784" y="615"/>
                  </a:lnTo>
                  <a:lnTo>
                    <a:pt x="788" y="610"/>
                  </a:lnTo>
                  <a:lnTo>
                    <a:pt x="793" y="610"/>
                  </a:lnTo>
                  <a:lnTo>
                    <a:pt x="793" y="606"/>
                  </a:lnTo>
                  <a:lnTo>
                    <a:pt x="807" y="606"/>
                  </a:lnTo>
                  <a:lnTo>
                    <a:pt x="813" y="606"/>
                  </a:lnTo>
                  <a:lnTo>
                    <a:pt x="820" y="618"/>
                  </a:lnTo>
                  <a:lnTo>
                    <a:pt x="819" y="622"/>
                  </a:lnTo>
                  <a:lnTo>
                    <a:pt x="815" y="623"/>
                  </a:lnTo>
                  <a:lnTo>
                    <a:pt x="817" y="625"/>
                  </a:lnTo>
                  <a:lnTo>
                    <a:pt x="817" y="627"/>
                  </a:lnTo>
                  <a:lnTo>
                    <a:pt x="817" y="628"/>
                  </a:lnTo>
                  <a:lnTo>
                    <a:pt x="822" y="634"/>
                  </a:lnTo>
                  <a:lnTo>
                    <a:pt x="822" y="639"/>
                  </a:lnTo>
                  <a:lnTo>
                    <a:pt x="825" y="639"/>
                  </a:lnTo>
                  <a:lnTo>
                    <a:pt x="825" y="645"/>
                  </a:lnTo>
                  <a:lnTo>
                    <a:pt x="825" y="651"/>
                  </a:lnTo>
                  <a:lnTo>
                    <a:pt x="832" y="657"/>
                  </a:lnTo>
                  <a:lnTo>
                    <a:pt x="837" y="671"/>
                  </a:lnTo>
                  <a:lnTo>
                    <a:pt x="836" y="678"/>
                  </a:lnTo>
                  <a:lnTo>
                    <a:pt x="837" y="683"/>
                  </a:lnTo>
                  <a:lnTo>
                    <a:pt x="839" y="685"/>
                  </a:lnTo>
                  <a:lnTo>
                    <a:pt x="844" y="719"/>
                  </a:lnTo>
                  <a:lnTo>
                    <a:pt x="846" y="726"/>
                  </a:lnTo>
                  <a:lnTo>
                    <a:pt x="841" y="729"/>
                  </a:lnTo>
                  <a:lnTo>
                    <a:pt x="848" y="733"/>
                  </a:lnTo>
                  <a:lnTo>
                    <a:pt x="842" y="738"/>
                  </a:lnTo>
                  <a:lnTo>
                    <a:pt x="848" y="743"/>
                  </a:lnTo>
                  <a:lnTo>
                    <a:pt x="846" y="750"/>
                  </a:lnTo>
                  <a:lnTo>
                    <a:pt x="851" y="753"/>
                  </a:lnTo>
                  <a:lnTo>
                    <a:pt x="860" y="763"/>
                  </a:lnTo>
                  <a:lnTo>
                    <a:pt x="866" y="769"/>
                  </a:lnTo>
                  <a:lnTo>
                    <a:pt x="868" y="774"/>
                  </a:lnTo>
                  <a:lnTo>
                    <a:pt x="871" y="775"/>
                  </a:lnTo>
                  <a:lnTo>
                    <a:pt x="870" y="779"/>
                  </a:lnTo>
                  <a:lnTo>
                    <a:pt x="878" y="782"/>
                  </a:lnTo>
                  <a:lnTo>
                    <a:pt x="877" y="791"/>
                  </a:lnTo>
                  <a:lnTo>
                    <a:pt x="871" y="794"/>
                  </a:lnTo>
                  <a:lnTo>
                    <a:pt x="868" y="803"/>
                  </a:lnTo>
                  <a:lnTo>
                    <a:pt x="868" y="813"/>
                  </a:lnTo>
                  <a:lnTo>
                    <a:pt x="865" y="815"/>
                  </a:lnTo>
                  <a:lnTo>
                    <a:pt x="854" y="823"/>
                  </a:lnTo>
                  <a:lnTo>
                    <a:pt x="848" y="827"/>
                  </a:lnTo>
                  <a:lnTo>
                    <a:pt x="849" y="823"/>
                  </a:lnTo>
                  <a:lnTo>
                    <a:pt x="846" y="827"/>
                  </a:lnTo>
                  <a:lnTo>
                    <a:pt x="848" y="818"/>
                  </a:lnTo>
                  <a:lnTo>
                    <a:pt x="846" y="823"/>
                  </a:lnTo>
                  <a:lnTo>
                    <a:pt x="842" y="825"/>
                  </a:lnTo>
                  <a:lnTo>
                    <a:pt x="841" y="821"/>
                  </a:lnTo>
                  <a:lnTo>
                    <a:pt x="842" y="816"/>
                  </a:lnTo>
                  <a:lnTo>
                    <a:pt x="841" y="815"/>
                  </a:lnTo>
                  <a:lnTo>
                    <a:pt x="848" y="813"/>
                  </a:lnTo>
                  <a:lnTo>
                    <a:pt x="849" y="815"/>
                  </a:lnTo>
                  <a:lnTo>
                    <a:pt x="858" y="808"/>
                  </a:lnTo>
                  <a:lnTo>
                    <a:pt x="849" y="813"/>
                  </a:lnTo>
                  <a:lnTo>
                    <a:pt x="848" y="811"/>
                  </a:lnTo>
                  <a:lnTo>
                    <a:pt x="844" y="813"/>
                  </a:lnTo>
                  <a:lnTo>
                    <a:pt x="842" y="810"/>
                  </a:lnTo>
                  <a:lnTo>
                    <a:pt x="842" y="808"/>
                  </a:lnTo>
                  <a:lnTo>
                    <a:pt x="848" y="804"/>
                  </a:lnTo>
                  <a:lnTo>
                    <a:pt x="854" y="808"/>
                  </a:lnTo>
                  <a:lnTo>
                    <a:pt x="854" y="806"/>
                  </a:lnTo>
                  <a:lnTo>
                    <a:pt x="849" y="804"/>
                  </a:lnTo>
                  <a:lnTo>
                    <a:pt x="854" y="791"/>
                  </a:lnTo>
                  <a:lnTo>
                    <a:pt x="853" y="787"/>
                  </a:lnTo>
                  <a:lnTo>
                    <a:pt x="854" y="786"/>
                  </a:lnTo>
                  <a:lnTo>
                    <a:pt x="853" y="786"/>
                  </a:lnTo>
                  <a:lnTo>
                    <a:pt x="851" y="779"/>
                  </a:lnTo>
                  <a:lnTo>
                    <a:pt x="856" y="775"/>
                  </a:lnTo>
                  <a:lnTo>
                    <a:pt x="848" y="777"/>
                  </a:lnTo>
                  <a:lnTo>
                    <a:pt x="846" y="775"/>
                  </a:lnTo>
                  <a:lnTo>
                    <a:pt x="832" y="775"/>
                  </a:lnTo>
                  <a:lnTo>
                    <a:pt x="836" y="779"/>
                  </a:lnTo>
                  <a:lnTo>
                    <a:pt x="832" y="780"/>
                  </a:lnTo>
                  <a:lnTo>
                    <a:pt x="832" y="784"/>
                  </a:lnTo>
                  <a:lnTo>
                    <a:pt x="830" y="786"/>
                  </a:lnTo>
                  <a:lnTo>
                    <a:pt x="829" y="782"/>
                  </a:lnTo>
                  <a:lnTo>
                    <a:pt x="829" y="786"/>
                  </a:lnTo>
                  <a:lnTo>
                    <a:pt x="827" y="789"/>
                  </a:lnTo>
                  <a:lnTo>
                    <a:pt x="824" y="784"/>
                  </a:lnTo>
                  <a:lnTo>
                    <a:pt x="824" y="777"/>
                  </a:lnTo>
                  <a:lnTo>
                    <a:pt x="825" y="779"/>
                  </a:lnTo>
                  <a:lnTo>
                    <a:pt x="827" y="775"/>
                  </a:lnTo>
                  <a:lnTo>
                    <a:pt x="829" y="777"/>
                  </a:lnTo>
                  <a:lnTo>
                    <a:pt x="830" y="772"/>
                  </a:lnTo>
                  <a:lnTo>
                    <a:pt x="834" y="772"/>
                  </a:lnTo>
                  <a:lnTo>
                    <a:pt x="836" y="765"/>
                  </a:lnTo>
                  <a:lnTo>
                    <a:pt x="848" y="767"/>
                  </a:lnTo>
                  <a:lnTo>
                    <a:pt x="839" y="763"/>
                  </a:lnTo>
                  <a:lnTo>
                    <a:pt x="839" y="758"/>
                  </a:lnTo>
                  <a:lnTo>
                    <a:pt x="836" y="755"/>
                  </a:lnTo>
                  <a:lnTo>
                    <a:pt x="836" y="751"/>
                  </a:lnTo>
                  <a:lnTo>
                    <a:pt x="832" y="748"/>
                  </a:lnTo>
                  <a:lnTo>
                    <a:pt x="836" y="745"/>
                  </a:lnTo>
                  <a:lnTo>
                    <a:pt x="830" y="743"/>
                  </a:lnTo>
                  <a:lnTo>
                    <a:pt x="832" y="743"/>
                  </a:lnTo>
                  <a:lnTo>
                    <a:pt x="832" y="739"/>
                  </a:lnTo>
                  <a:lnTo>
                    <a:pt x="837" y="738"/>
                  </a:lnTo>
                  <a:lnTo>
                    <a:pt x="832" y="739"/>
                  </a:lnTo>
                  <a:lnTo>
                    <a:pt x="829" y="733"/>
                  </a:lnTo>
                  <a:lnTo>
                    <a:pt x="827" y="728"/>
                  </a:lnTo>
                  <a:lnTo>
                    <a:pt x="830" y="729"/>
                  </a:lnTo>
                  <a:lnTo>
                    <a:pt x="830" y="724"/>
                  </a:lnTo>
                  <a:lnTo>
                    <a:pt x="829" y="726"/>
                  </a:lnTo>
                  <a:lnTo>
                    <a:pt x="824" y="721"/>
                  </a:lnTo>
                  <a:lnTo>
                    <a:pt x="825" y="719"/>
                  </a:lnTo>
                  <a:lnTo>
                    <a:pt x="824" y="719"/>
                  </a:lnTo>
                  <a:lnTo>
                    <a:pt x="822" y="717"/>
                  </a:lnTo>
                  <a:lnTo>
                    <a:pt x="820" y="719"/>
                  </a:lnTo>
                  <a:lnTo>
                    <a:pt x="817" y="716"/>
                  </a:lnTo>
                  <a:lnTo>
                    <a:pt x="815" y="714"/>
                  </a:lnTo>
                  <a:lnTo>
                    <a:pt x="819" y="712"/>
                  </a:lnTo>
                  <a:lnTo>
                    <a:pt x="824" y="714"/>
                  </a:lnTo>
                  <a:lnTo>
                    <a:pt x="829" y="712"/>
                  </a:lnTo>
                  <a:lnTo>
                    <a:pt x="825" y="712"/>
                  </a:lnTo>
                  <a:lnTo>
                    <a:pt x="820" y="710"/>
                  </a:lnTo>
                  <a:lnTo>
                    <a:pt x="824" y="707"/>
                  </a:lnTo>
                  <a:lnTo>
                    <a:pt x="822" y="707"/>
                  </a:lnTo>
                  <a:lnTo>
                    <a:pt x="822" y="702"/>
                  </a:lnTo>
                  <a:lnTo>
                    <a:pt x="827" y="702"/>
                  </a:lnTo>
                  <a:lnTo>
                    <a:pt x="820" y="700"/>
                  </a:lnTo>
                  <a:lnTo>
                    <a:pt x="820" y="697"/>
                  </a:lnTo>
                  <a:lnTo>
                    <a:pt x="822" y="695"/>
                  </a:lnTo>
                  <a:lnTo>
                    <a:pt x="832" y="707"/>
                  </a:lnTo>
                  <a:lnTo>
                    <a:pt x="824" y="693"/>
                  </a:lnTo>
                  <a:lnTo>
                    <a:pt x="827" y="688"/>
                  </a:lnTo>
                  <a:lnTo>
                    <a:pt x="836" y="695"/>
                  </a:lnTo>
                  <a:lnTo>
                    <a:pt x="827" y="688"/>
                  </a:lnTo>
                  <a:lnTo>
                    <a:pt x="825" y="688"/>
                  </a:lnTo>
                  <a:lnTo>
                    <a:pt x="822" y="692"/>
                  </a:lnTo>
                  <a:lnTo>
                    <a:pt x="820" y="685"/>
                  </a:lnTo>
                  <a:lnTo>
                    <a:pt x="822" y="685"/>
                  </a:lnTo>
                  <a:lnTo>
                    <a:pt x="824" y="686"/>
                  </a:lnTo>
                  <a:lnTo>
                    <a:pt x="825" y="685"/>
                  </a:lnTo>
                  <a:lnTo>
                    <a:pt x="824" y="681"/>
                  </a:lnTo>
                  <a:lnTo>
                    <a:pt x="827" y="680"/>
                  </a:lnTo>
                  <a:lnTo>
                    <a:pt x="820" y="683"/>
                  </a:lnTo>
                  <a:lnTo>
                    <a:pt x="819" y="678"/>
                  </a:lnTo>
                  <a:lnTo>
                    <a:pt x="820" y="671"/>
                  </a:lnTo>
                  <a:lnTo>
                    <a:pt x="824" y="671"/>
                  </a:lnTo>
                  <a:lnTo>
                    <a:pt x="824" y="668"/>
                  </a:lnTo>
                  <a:lnTo>
                    <a:pt x="827" y="666"/>
                  </a:lnTo>
                  <a:lnTo>
                    <a:pt x="830" y="666"/>
                  </a:lnTo>
                  <a:lnTo>
                    <a:pt x="825" y="664"/>
                  </a:lnTo>
                  <a:lnTo>
                    <a:pt x="817" y="673"/>
                  </a:lnTo>
                  <a:lnTo>
                    <a:pt x="812" y="664"/>
                  </a:lnTo>
                  <a:lnTo>
                    <a:pt x="807" y="661"/>
                  </a:lnTo>
                  <a:lnTo>
                    <a:pt x="808" y="657"/>
                  </a:lnTo>
                  <a:lnTo>
                    <a:pt x="807" y="649"/>
                  </a:lnTo>
                  <a:lnTo>
                    <a:pt x="808" y="651"/>
                  </a:lnTo>
                  <a:lnTo>
                    <a:pt x="810" y="645"/>
                  </a:lnTo>
                  <a:lnTo>
                    <a:pt x="807" y="647"/>
                  </a:lnTo>
                  <a:lnTo>
                    <a:pt x="807" y="642"/>
                  </a:lnTo>
                  <a:lnTo>
                    <a:pt x="808" y="637"/>
                  </a:lnTo>
                  <a:lnTo>
                    <a:pt x="808" y="625"/>
                  </a:lnTo>
                  <a:lnTo>
                    <a:pt x="808" y="623"/>
                  </a:lnTo>
                  <a:lnTo>
                    <a:pt x="812" y="620"/>
                  </a:lnTo>
                  <a:lnTo>
                    <a:pt x="808" y="623"/>
                  </a:lnTo>
                  <a:lnTo>
                    <a:pt x="808" y="625"/>
                  </a:lnTo>
                  <a:lnTo>
                    <a:pt x="805" y="622"/>
                  </a:lnTo>
                  <a:lnTo>
                    <a:pt x="807" y="628"/>
                  </a:lnTo>
                  <a:lnTo>
                    <a:pt x="807" y="632"/>
                  </a:lnTo>
                  <a:lnTo>
                    <a:pt x="805" y="628"/>
                  </a:lnTo>
                  <a:lnTo>
                    <a:pt x="803" y="625"/>
                  </a:lnTo>
                  <a:lnTo>
                    <a:pt x="805" y="632"/>
                  </a:lnTo>
                  <a:lnTo>
                    <a:pt x="803" y="637"/>
                  </a:lnTo>
                  <a:lnTo>
                    <a:pt x="803" y="649"/>
                  </a:lnTo>
                  <a:lnTo>
                    <a:pt x="801" y="651"/>
                  </a:lnTo>
                  <a:lnTo>
                    <a:pt x="801" y="657"/>
                  </a:lnTo>
                  <a:lnTo>
                    <a:pt x="798" y="664"/>
                  </a:lnTo>
                  <a:lnTo>
                    <a:pt x="793" y="661"/>
                  </a:lnTo>
                  <a:lnTo>
                    <a:pt x="793" y="652"/>
                  </a:lnTo>
                  <a:lnTo>
                    <a:pt x="793" y="656"/>
                  </a:lnTo>
                  <a:lnTo>
                    <a:pt x="789" y="652"/>
                  </a:lnTo>
                  <a:lnTo>
                    <a:pt x="783" y="651"/>
                  </a:lnTo>
                  <a:lnTo>
                    <a:pt x="784" y="649"/>
                  </a:lnTo>
                  <a:lnTo>
                    <a:pt x="783" y="647"/>
                  </a:lnTo>
                  <a:lnTo>
                    <a:pt x="786" y="649"/>
                  </a:lnTo>
                  <a:lnTo>
                    <a:pt x="786" y="644"/>
                  </a:lnTo>
                  <a:lnTo>
                    <a:pt x="788" y="644"/>
                  </a:lnTo>
                  <a:lnTo>
                    <a:pt x="786" y="635"/>
                  </a:lnTo>
                  <a:lnTo>
                    <a:pt x="793" y="635"/>
                  </a:lnTo>
                  <a:lnTo>
                    <a:pt x="789" y="632"/>
                  </a:lnTo>
                  <a:lnTo>
                    <a:pt x="788" y="634"/>
                  </a:lnTo>
                  <a:lnTo>
                    <a:pt x="788" y="632"/>
                  </a:lnTo>
                  <a:lnTo>
                    <a:pt x="788" y="627"/>
                  </a:lnTo>
                  <a:lnTo>
                    <a:pt x="786" y="630"/>
                  </a:lnTo>
                  <a:lnTo>
                    <a:pt x="784" y="630"/>
                  </a:lnTo>
                  <a:lnTo>
                    <a:pt x="788" y="630"/>
                  </a:lnTo>
                  <a:lnTo>
                    <a:pt x="786" y="634"/>
                  </a:lnTo>
                  <a:lnTo>
                    <a:pt x="783" y="635"/>
                  </a:lnTo>
                  <a:lnTo>
                    <a:pt x="779" y="632"/>
                  </a:lnTo>
                  <a:lnTo>
                    <a:pt x="783" y="632"/>
                  </a:lnTo>
                  <a:lnTo>
                    <a:pt x="777" y="630"/>
                  </a:lnTo>
                  <a:lnTo>
                    <a:pt x="779" y="625"/>
                  </a:lnTo>
                  <a:lnTo>
                    <a:pt x="777" y="627"/>
                  </a:lnTo>
                  <a:lnTo>
                    <a:pt x="776" y="622"/>
                  </a:lnTo>
                  <a:lnTo>
                    <a:pt x="776" y="627"/>
                  </a:lnTo>
                  <a:lnTo>
                    <a:pt x="774" y="627"/>
                  </a:lnTo>
                  <a:lnTo>
                    <a:pt x="769" y="616"/>
                  </a:lnTo>
                  <a:lnTo>
                    <a:pt x="771" y="623"/>
                  </a:lnTo>
                  <a:lnTo>
                    <a:pt x="767" y="622"/>
                  </a:lnTo>
                  <a:lnTo>
                    <a:pt x="764" y="625"/>
                  </a:lnTo>
                  <a:lnTo>
                    <a:pt x="769" y="623"/>
                  </a:lnTo>
                  <a:lnTo>
                    <a:pt x="776" y="628"/>
                  </a:lnTo>
                  <a:lnTo>
                    <a:pt x="777" y="632"/>
                  </a:lnTo>
                  <a:lnTo>
                    <a:pt x="774" y="628"/>
                  </a:lnTo>
                  <a:lnTo>
                    <a:pt x="774" y="634"/>
                  </a:lnTo>
                  <a:lnTo>
                    <a:pt x="776" y="637"/>
                  </a:lnTo>
                  <a:lnTo>
                    <a:pt x="776" y="634"/>
                  </a:lnTo>
                  <a:lnTo>
                    <a:pt x="779" y="637"/>
                  </a:lnTo>
                  <a:lnTo>
                    <a:pt x="774" y="637"/>
                  </a:lnTo>
                  <a:lnTo>
                    <a:pt x="777" y="640"/>
                  </a:lnTo>
                  <a:lnTo>
                    <a:pt x="779" y="637"/>
                  </a:lnTo>
                  <a:lnTo>
                    <a:pt x="781" y="644"/>
                  </a:lnTo>
                  <a:lnTo>
                    <a:pt x="779" y="644"/>
                  </a:lnTo>
                  <a:lnTo>
                    <a:pt x="781" y="645"/>
                  </a:lnTo>
                  <a:lnTo>
                    <a:pt x="781" y="649"/>
                  </a:lnTo>
                  <a:lnTo>
                    <a:pt x="779" y="651"/>
                  </a:lnTo>
                  <a:lnTo>
                    <a:pt x="774" y="651"/>
                  </a:lnTo>
                  <a:lnTo>
                    <a:pt x="774" y="647"/>
                  </a:lnTo>
                  <a:lnTo>
                    <a:pt x="771" y="644"/>
                  </a:lnTo>
                  <a:lnTo>
                    <a:pt x="771" y="645"/>
                  </a:lnTo>
                  <a:lnTo>
                    <a:pt x="769" y="645"/>
                  </a:lnTo>
                  <a:lnTo>
                    <a:pt x="771" y="647"/>
                  </a:lnTo>
                  <a:lnTo>
                    <a:pt x="772" y="647"/>
                  </a:lnTo>
                  <a:lnTo>
                    <a:pt x="772" y="649"/>
                  </a:lnTo>
                  <a:lnTo>
                    <a:pt x="767" y="645"/>
                  </a:lnTo>
                  <a:lnTo>
                    <a:pt x="767" y="649"/>
                  </a:lnTo>
                  <a:lnTo>
                    <a:pt x="764" y="649"/>
                  </a:lnTo>
                  <a:lnTo>
                    <a:pt x="764" y="647"/>
                  </a:lnTo>
                  <a:lnTo>
                    <a:pt x="766" y="647"/>
                  </a:lnTo>
                  <a:lnTo>
                    <a:pt x="762" y="644"/>
                  </a:lnTo>
                  <a:lnTo>
                    <a:pt x="762" y="642"/>
                  </a:lnTo>
                  <a:lnTo>
                    <a:pt x="760" y="640"/>
                  </a:lnTo>
                  <a:lnTo>
                    <a:pt x="759" y="640"/>
                  </a:lnTo>
                  <a:lnTo>
                    <a:pt x="750" y="627"/>
                  </a:lnTo>
                  <a:lnTo>
                    <a:pt x="755" y="627"/>
                  </a:lnTo>
                  <a:lnTo>
                    <a:pt x="750" y="625"/>
                  </a:lnTo>
                  <a:lnTo>
                    <a:pt x="747" y="618"/>
                  </a:lnTo>
                  <a:lnTo>
                    <a:pt x="748" y="613"/>
                  </a:lnTo>
                  <a:lnTo>
                    <a:pt x="743" y="604"/>
                  </a:lnTo>
                  <a:lnTo>
                    <a:pt x="738" y="599"/>
                  </a:lnTo>
                  <a:lnTo>
                    <a:pt x="740" y="601"/>
                  </a:lnTo>
                  <a:lnTo>
                    <a:pt x="743" y="599"/>
                  </a:lnTo>
                  <a:lnTo>
                    <a:pt x="738" y="599"/>
                  </a:lnTo>
                  <a:lnTo>
                    <a:pt x="730" y="587"/>
                  </a:lnTo>
                  <a:lnTo>
                    <a:pt x="731" y="589"/>
                  </a:lnTo>
                  <a:lnTo>
                    <a:pt x="730" y="586"/>
                  </a:lnTo>
                  <a:lnTo>
                    <a:pt x="728" y="586"/>
                  </a:lnTo>
                  <a:lnTo>
                    <a:pt x="719" y="574"/>
                  </a:lnTo>
                  <a:lnTo>
                    <a:pt x="726" y="574"/>
                  </a:lnTo>
                  <a:lnTo>
                    <a:pt x="730" y="572"/>
                  </a:lnTo>
                  <a:lnTo>
                    <a:pt x="730" y="565"/>
                  </a:lnTo>
                  <a:lnTo>
                    <a:pt x="735" y="562"/>
                  </a:lnTo>
                  <a:lnTo>
                    <a:pt x="736" y="569"/>
                  </a:lnTo>
                  <a:lnTo>
                    <a:pt x="733" y="572"/>
                  </a:lnTo>
                  <a:lnTo>
                    <a:pt x="733" y="577"/>
                  </a:lnTo>
                  <a:lnTo>
                    <a:pt x="731" y="577"/>
                  </a:lnTo>
                  <a:lnTo>
                    <a:pt x="731" y="579"/>
                  </a:lnTo>
                  <a:lnTo>
                    <a:pt x="733" y="577"/>
                  </a:lnTo>
                  <a:lnTo>
                    <a:pt x="736" y="570"/>
                  </a:lnTo>
                  <a:lnTo>
                    <a:pt x="743" y="574"/>
                  </a:lnTo>
                  <a:lnTo>
                    <a:pt x="738" y="569"/>
                  </a:lnTo>
                  <a:lnTo>
                    <a:pt x="735" y="560"/>
                  </a:lnTo>
                  <a:lnTo>
                    <a:pt x="731" y="562"/>
                  </a:lnTo>
                  <a:lnTo>
                    <a:pt x="725" y="563"/>
                  </a:lnTo>
                  <a:lnTo>
                    <a:pt x="711" y="562"/>
                  </a:lnTo>
                  <a:lnTo>
                    <a:pt x="701" y="553"/>
                  </a:lnTo>
                  <a:lnTo>
                    <a:pt x="692" y="546"/>
                  </a:lnTo>
                  <a:lnTo>
                    <a:pt x="699" y="545"/>
                  </a:lnTo>
                  <a:lnTo>
                    <a:pt x="699" y="541"/>
                  </a:lnTo>
                  <a:lnTo>
                    <a:pt x="699" y="538"/>
                  </a:lnTo>
                  <a:lnTo>
                    <a:pt x="695" y="538"/>
                  </a:lnTo>
                  <a:lnTo>
                    <a:pt x="697" y="541"/>
                  </a:lnTo>
                  <a:lnTo>
                    <a:pt x="689" y="541"/>
                  </a:lnTo>
                  <a:lnTo>
                    <a:pt x="672" y="524"/>
                  </a:lnTo>
                  <a:lnTo>
                    <a:pt x="646" y="516"/>
                  </a:lnTo>
                  <a:lnTo>
                    <a:pt x="642" y="512"/>
                  </a:lnTo>
                  <a:lnTo>
                    <a:pt x="644" y="514"/>
                  </a:lnTo>
                  <a:lnTo>
                    <a:pt x="641" y="507"/>
                  </a:lnTo>
                  <a:lnTo>
                    <a:pt x="644" y="505"/>
                  </a:lnTo>
                  <a:lnTo>
                    <a:pt x="636" y="502"/>
                  </a:lnTo>
                  <a:lnTo>
                    <a:pt x="636" y="499"/>
                  </a:lnTo>
                  <a:lnTo>
                    <a:pt x="631" y="495"/>
                  </a:lnTo>
                  <a:lnTo>
                    <a:pt x="636" y="492"/>
                  </a:lnTo>
                  <a:lnTo>
                    <a:pt x="637" y="490"/>
                  </a:lnTo>
                  <a:lnTo>
                    <a:pt x="636" y="490"/>
                  </a:lnTo>
                  <a:lnTo>
                    <a:pt x="641" y="485"/>
                  </a:lnTo>
                  <a:lnTo>
                    <a:pt x="644" y="485"/>
                  </a:lnTo>
                  <a:lnTo>
                    <a:pt x="641" y="485"/>
                  </a:lnTo>
                  <a:lnTo>
                    <a:pt x="639" y="487"/>
                  </a:lnTo>
                  <a:lnTo>
                    <a:pt x="627" y="490"/>
                  </a:lnTo>
                  <a:lnTo>
                    <a:pt x="624" y="488"/>
                  </a:lnTo>
                  <a:lnTo>
                    <a:pt x="620" y="481"/>
                  </a:lnTo>
                  <a:lnTo>
                    <a:pt x="615" y="478"/>
                  </a:lnTo>
                  <a:lnTo>
                    <a:pt x="624" y="475"/>
                  </a:lnTo>
                  <a:lnTo>
                    <a:pt x="619" y="475"/>
                  </a:lnTo>
                  <a:lnTo>
                    <a:pt x="620" y="475"/>
                  </a:lnTo>
                  <a:lnTo>
                    <a:pt x="619" y="473"/>
                  </a:lnTo>
                  <a:lnTo>
                    <a:pt x="620" y="473"/>
                  </a:lnTo>
                  <a:lnTo>
                    <a:pt x="617" y="473"/>
                  </a:lnTo>
                  <a:lnTo>
                    <a:pt x="619" y="471"/>
                  </a:lnTo>
                  <a:lnTo>
                    <a:pt x="612" y="469"/>
                  </a:lnTo>
                  <a:lnTo>
                    <a:pt x="619" y="469"/>
                  </a:lnTo>
                  <a:lnTo>
                    <a:pt x="619" y="466"/>
                  </a:lnTo>
                  <a:lnTo>
                    <a:pt x="613" y="466"/>
                  </a:lnTo>
                  <a:lnTo>
                    <a:pt x="613" y="464"/>
                  </a:lnTo>
                  <a:lnTo>
                    <a:pt x="608" y="466"/>
                  </a:lnTo>
                  <a:lnTo>
                    <a:pt x="605" y="463"/>
                  </a:lnTo>
                  <a:lnTo>
                    <a:pt x="605" y="461"/>
                  </a:lnTo>
                  <a:lnTo>
                    <a:pt x="619" y="464"/>
                  </a:lnTo>
                  <a:lnTo>
                    <a:pt x="617" y="461"/>
                  </a:lnTo>
                  <a:lnTo>
                    <a:pt x="613" y="463"/>
                  </a:lnTo>
                  <a:lnTo>
                    <a:pt x="608" y="459"/>
                  </a:lnTo>
                  <a:lnTo>
                    <a:pt x="608" y="457"/>
                  </a:lnTo>
                  <a:lnTo>
                    <a:pt x="608" y="454"/>
                  </a:lnTo>
                  <a:lnTo>
                    <a:pt x="610" y="456"/>
                  </a:lnTo>
                  <a:lnTo>
                    <a:pt x="608" y="454"/>
                  </a:lnTo>
                  <a:lnTo>
                    <a:pt x="612" y="452"/>
                  </a:lnTo>
                  <a:lnTo>
                    <a:pt x="613" y="454"/>
                  </a:lnTo>
                  <a:lnTo>
                    <a:pt x="612" y="452"/>
                  </a:lnTo>
                  <a:lnTo>
                    <a:pt x="620" y="456"/>
                  </a:lnTo>
                  <a:lnTo>
                    <a:pt x="620" y="454"/>
                  </a:lnTo>
                  <a:lnTo>
                    <a:pt x="613" y="451"/>
                  </a:lnTo>
                  <a:lnTo>
                    <a:pt x="603" y="452"/>
                  </a:lnTo>
                  <a:lnTo>
                    <a:pt x="603" y="451"/>
                  </a:lnTo>
                  <a:lnTo>
                    <a:pt x="605" y="449"/>
                  </a:lnTo>
                  <a:lnTo>
                    <a:pt x="601" y="449"/>
                  </a:lnTo>
                  <a:lnTo>
                    <a:pt x="600" y="449"/>
                  </a:lnTo>
                  <a:lnTo>
                    <a:pt x="600" y="447"/>
                  </a:lnTo>
                  <a:lnTo>
                    <a:pt x="598" y="447"/>
                  </a:lnTo>
                  <a:lnTo>
                    <a:pt x="598" y="449"/>
                  </a:lnTo>
                  <a:lnTo>
                    <a:pt x="595" y="449"/>
                  </a:lnTo>
                  <a:lnTo>
                    <a:pt x="593" y="447"/>
                  </a:lnTo>
                  <a:lnTo>
                    <a:pt x="596" y="446"/>
                  </a:lnTo>
                  <a:lnTo>
                    <a:pt x="595" y="446"/>
                  </a:lnTo>
                  <a:lnTo>
                    <a:pt x="596" y="444"/>
                  </a:lnTo>
                  <a:lnTo>
                    <a:pt x="591" y="446"/>
                  </a:lnTo>
                  <a:lnTo>
                    <a:pt x="596" y="442"/>
                  </a:lnTo>
                  <a:lnTo>
                    <a:pt x="596" y="439"/>
                  </a:lnTo>
                  <a:lnTo>
                    <a:pt x="593" y="442"/>
                  </a:lnTo>
                  <a:lnTo>
                    <a:pt x="591" y="442"/>
                  </a:lnTo>
                  <a:lnTo>
                    <a:pt x="593" y="442"/>
                  </a:lnTo>
                  <a:lnTo>
                    <a:pt x="589" y="447"/>
                  </a:lnTo>
                  <a:lnTo>
                    <a:pt x="588" y="446"/>
                  </a:lnTo>
                  <a:lnTo>
                    <a:pt x="589" y="444"/>
                  </a:lnTo>
                  <a:lnTo>
                    <a:pt x="586" y="444"/>
                  </a:lnTo>
                  <a:lnTo>
                    <a:pt x="586" y="446"/>
                  </a:lnTo>
                  <a:lnTo>
                    <a:pt x="584" y="446"/>
                  </a:lnTo>
                  <a:lnTo>
                    <a:pt x="583" y="439"/>
                  </a:lnTo>
                  <a:lnTo>
                    <a:pt x="595" y="435"/>
                  </a:lnTo>
                  <a:lnTo>
                    <a:pt x="593" y="434"/>
                  </a:lnTo>
                  <a:lnTo>
                    <a:pt x="595" y="434"/>
                  </a:lnTo>
                  <a:lnTo>
                    <a:pt x="584" y="437"/>
                  </a:lnTo>
                  <a:lnTo>
                    <a:pt x="584" y="434"/>
                  </a:lnTo>
                  <a:lnTo>
                    <a:pt x="578" y="432"/>
                  </a:lnTo>
                  <a:lnTo>
                    <a:pt x="579" y="432"/>
                  </a:lnTo>
                  <a:lnTo>
                    <a:pt x="576" y="434"/>
                  </a:lnTo>
                  <a:lnTo>
                    <a:pt x="583" y="435"/>
                  </a:lnTo>
                  <a:lnTo>
                    <a:pt x="579" y="437"/>
                  </a:lnTo>
                  <a:lnTo>
                    <a:pt x="578" y="435"/>
                  </a:lnTo>
                  <a:lnTo>
                    <a:pt x="578" y="437"/>
                  </a:lnTo>
                  <a:lnTo>
                    <a:pt x="576" y="439"/>
                  </a:lnTo>
                  <a:lnTo>
                    <a:pt x="574" y="439"/>
                  </a:lnTo>
                  <a:lnTo>
                    <a:pt x="574" y="440"/>
                  </a:lnTo>
                  <a:lnTo>
                    <a:pt x="567" y="437"/>
                  </a:lnTo>
                  <a:lnTo>
                    <a:pt x="572" y="439"/>
                  </a:lnTo>
                  <a:lnTo>
                    <a:pt x="569" y="439"/>
                  </a:lnTo>
                  <a:lnTo>
                    <a:pt x="567" y="439"/>
                  </a:lnTo>
                  <a:lnTo>
                    <a:pt x="566" y="440"/>
                  </a:lnTo>
                  <a:lnTo>
                    <a:pt x="574" y="440"/>
                  </a:lnTo>
                  <a:lnTo>
                    <a:pt x="569" y="446"/>
                  </a:lnTo>
                  <a:lnTo>
                    <a:pt x="576" y="442"/>
                  </a:lnTo>
                  <a:lnTo>
                    <a:pt x="574" y="447"/>
                  </a:lnTo>
                  <a:lnTo>
                    <a:pt x="569" y="449"/>
                  </a:lnTo>
                  <a:lnTo>
                    <a:pt x="567" y="446"/>
                  </a:lnTo>
                  <a:lnTo>
                    <a:pt x="562" y="447"/>
                  </a:lnTo>
                  <a:lnTo>
                    <a:pt x="567" y="447"/>
                  </a:lnTo>
                  <a:lnTo>
                    <a:pt x="569" y="452"/>
                  </a:lnTo>
                  <a:lnTo>
                    <a:pt x="571" y="451"/>
                  </a:lnTo>
                  <a:lnTo>
                    <a:pt x="572" y="451"/>
                  </a:lnTo>
                  <a:lnTo>
                    <a:pt x="572" y="452"/>
                  </a:lnTo>
                  <a:lnTo>
                    <a:pt x="576" y="449"/>
                  </a:lnTo>
                  <a:lnTo>
                    <a:pt x="576" y="456"/>
                  </a:lnTo>
                  <a:lnTo>
                    <a:pt x="572" y="456"/>
                  </a:lnTo>
                  <a:lnTo>
                    <a:pt x="571" y="454"/>
                  </a:lnTo>
                  <a:lnTo>
                    <a:pt x="571" y="457"/>
                  </a:lnTo>
                  <a:lnTo>
                    <a:pt x="569" y="454"/>
                  </a:lnTo>
                  <a:lnTo>
                    <a:pt x="569" y="456"/>
                  </a:lnTo>
                  <a:lnTo>
                    <a:pt x="564" y="457"/>
                  </a:lnTo>
                  <a:lnTo>
                    <a:pt x="564" y="456"/>
                  </a:lnTo>
                  <a:lnTo>
                    <a:pt x="564" y="457"/>
                  </a:lnTo>
                  <a:lnTo>
                    <a:pt x="560" y="459"/>
                  </a:lnTo>
                  <a:lnTo>
                    <a:pt x="567" y="459"/>
                  </a:lnTo>
                  <a:lnTo>
                    <a:pt x="566" y="459"/>
                  </a:lnTo>
                  <a:lnTo>
                    <a:pt x="566" y="461"/>
                  </a:lnTo>
                  <a:lnTo>
                    <a:pt x="566" y="463"/>
                  </a:lnTo>
                  <a:lnTo>
                    <a:pt x="567" y="461"/>
                  </a:lnTo>
                  <a:lnTo>
                    <a:pt x="564" y="463"/>
                  </a:lnTo>
                  <a:lnTo>
                    <a:pt x="562" y="459"/>
                  </a:lnTo>
                  <a:lnTo>
                    <a:pt x="559" y="463"/>
                  </a:lnTo>
                  <a:lnTo>
                    <a:pt x="557" y="466"/>
                  </a:lnTo>
                  <a:lnTo>
                    <a:pt x="555" y="463"/>
                  </a:lnTo>
                  <a:lnTo>
                    <a:pt x="555" y="464"/>
                  </a:lnTo>
                  <a:lnTo>
                    <a:pt x="554" y="464"/>
                  </a:lnTo>
                  <a:lnTo>
                    <a:pt x="552" y="464"/>
                  </a:lnTo>
                  <a:lnTo>
                    <a:pt x="545" y="457"/>
                  </a:lnTo>
                  <a:lnTo>
                    <a:pt x="543" y="456"/>
                  </a:lnTo>
                  <a:lnTo>
                    <a:pt x="547" y="456"/>
                  </a:lnTo>
                  <a:lnTo>
                    <a:pt x="545" y="454"/>
                  </a:lnTo>
                  <a:lnTo>
                    <a:pt x="538" y="457"/>
                  </a:lnTo>
                  <a:lnTo>
                    <a:pt x="542" y="454"/>
                  </a:lnTo>
                  <a:lnTo>
                    <a:pt x="542" y="449"/>
                  </a:lnTo>
                  <a:lnTo>
                    <a:pt x="540" y="452"/>
                  </a:lnTo>
                  <a:lnTo>
                    <a:pt x="531" y="456"/>
                  </a:lnTo>
                  <a:lnTo>
                    <a:pt x="531" y="459"/>
                  </a:lnTo>
                  <a:lnTo>
                    <a:pt x="530" y="457"/>
                  </a:lnTo>
                  <a:lnTo>
                    <a:pt x="533" y="452"/>
                  </a:lnTo>
                  <a:lnTo>
                    <a:pt x="531" y="451"/>
                  </a:lnTo>
                  <a:lnTo>
                    <a:pt x="530" y="454"/>
                  </a:lnTo>
                  <a:lnTo>
                    <a:pt x="528" y="452"/>
                  </a:lnTo>
                  <a:lnTo>
                    <a:pt x="528" y="456"/>
                  </a:lnTo>
                  <a:lnTo>
                    <a:pt x="526" y="459"/>
                  </a:lnTo>
                  <a:lnTo>
                    <a:pt x="523" y="451"/>
                  </a:lnTo>
                  <a:lnTo>
                    <a:pt x="523" y="456"/>
                  </a:lnTo>
                  <a:lnTo>
                    <a:pt x="521" y="456"/>
                  </a:lnTo>
                  <a:lnTo>
                    <a:pt x="519" y="457"/>
                  </a:lnTo>
                  <a:lnTo>
                    <a:pt x="519" y="454"/>
                  </a:lnTo>
                  <a:lnTo>
                    <a:pt x="518" y="457"/>
                  </a:lnTo>
                  <a:lnTo>
                    <a:pt x="516" y="456"/>
                  </a:lnTo>
                  <a:lnTo>
                    <a:pt x="514" y="457"/>
                  </a:lnTo>
                  <a:lnTo>
                    <a:pt x="509" y="457"/>
                  </a:lnTo>
                  <a:lnTo>
                    <a:pt x="518" y="451"/>
                  </a:lnTo>
                  <a:lnTo>
                    <a:pt x="507" y="456"/>
                  </a:lnTo>
                  <a:lnTo>
                    <a:pt x="507" y="454"/>
                  </a:lnTo>
                  <a:lnTo>
                    <a:pt x="511" y="452"/>
                  </a:lnTo>
                  <a:lnTo>
                    <a:pt x="506" y="451"/>
                  </a:lnTo>
                  <a:lnTo>
                    <a:pt x="506" y="454"/>
                  </a:lnTo>
                  <a:lnTo>
                    <a:pt x="504" y="454"/>
                  </a:lnTo>
                  <a:lnTo>
                    <a:pt x="504" y="456"/>
                  </a:lnTo>
                  <a:lnTo>
                    <a:pt x="497" y="456"/>
                  </a:lnTo>
                  <a:lnTo>
                    <a:pt x="495" y="457"/>
                  </a:lnTo>
                  <a:lnTo>
                    <a:pt x="494" y="459"/>
                  </a:lnTo>
                  <a:lnTo>
                    <a:pt x="494" y="454"/>
                  </a:lnTo>
                  <a:lnTo>
                    <a:pt x="490" y="451"/>
                  </a:lnTo>
                  <a:lnTo>
                    <a:pt x="490" y="456"/>
                  </a:lnTo>
                  <a:lnTo>
                    <a:pt x="485" y="451"/>
                  </a:lnTo>
                  <a:lnTo>
                    <a:pt x="478" y="451"/>
                  </a:lnTo>
                  <a:lnTo>
                    <a:pt x="478" y="447"/>
                  </a:lnTo>
                  <a:lnTo>
                    <a:pt x="475" y="444"/>
                  </a:lnTo>
                  <a:lnTo>
                    <a:pt x="477" y="442"/>
                  </a:lnTo>
                  <a:lnTo>
                    <a:pt x="480" y="442"/>
                  </a:lnTo>
                  <a:lnTo>
                    <a:pt x="480" y="440"/>
                  </a:lnTo>
                  <a:lnTo>
                    <a:pt x="485" y="440"/>
                  </a:lnTo>
                  <a:lnTo>
                    <a:pt x="490" y="446"/>
                  </a:lnTo>
                  <a:lnTo>
                    <a:pt x="490" y="442"/>
                  </a:lnTo>
                  <a:lnTo>
                    <a:pt x="497" y="444"/>
                  </a:lnTo>
                  <a:lnTo>
                    <a:pt x="497" y="442"/>
                  </a:lnTo>
                  <a:lnTo>
                    <a:pt x="504" y="440"/>
                  </a:lnTo>
                  <a:lnTo>
                    <a:pt x="494" y="439"/>
                  </a:lnTo>
                  <a:lnTo>
                    <a:pt x="492" y="439"/>
                  </a:lnTo>
                  <a:lnTo>
                    <a:pt x="492" y="440"/>
                  </a:lnTo>
                  <a:lnTo>
                    <a:pt x="487" y="430"/>
                  </a:lnTo>
                  <a:lnTo>
                    <a:pt x="495" y="423"/>
                  </a:lnTo>
                  <a:lnTo>
                    <a:pt x="504" y="422"/>
                  </a:lnTo>
                  <a:lnTo>
                    <a:pt x="509" y="416"/>
                  </a:lnTo>
                  <a:lnTo>
                    <a:pt x="511" y="418"/>
                  </a:lnTo>
                  <a:lnTo>
                    <a:pt x="514" y="413"/>
                  </a:lnTo>
                  <a:lnTo>
                    <a:pt x="516" y="406"/>
                  </a:lnTo>
                  <a:lnTo>
                    <a:pt x="523" y="408"/>
                  </a:lnTo>
                  <a:lnTo>
                    <a:pt x="540" y="408"/>
                  </a:lnTo>
                  <a:lnTo>
                    <a:pt x="545" y="416"/>
                  </a:lnTo>
                  <a:lnTo>
                    <a:pt x="550" y="418"/>
                  </a:lnTo>
                  <a:lnTo>
                    <a:pt x="562" y="430"/>
                  </a:lnTo>
                  <a:lnTo>
                    <a:pt x="562" y="427"/>
                  </a:lnTo>
                  <a:lnTo>
                    <a:pt x="559" y="425"/>
                  </a:lnTo>
                  <a:lnTo>
                    <a:pt x="548" y="410"/>
                  </a:lnTo>
                  <a:lnTo>
                    <a:pt x="560" y="406"/>
                  </a:lnTo>
                  <a:lnTo>
                    <a:pt x="571" y="408"/>
                  </a:lnTo>
                  <a:lnTo>
                    <a:pt x="562" y="405"/>
                  </a:lnTo>
                  <a:lnTo>
                    <a:pt x="557" y="405"/>
                  </a:lnTo>
                  <a:lnTo>
                    <a:pt x="552" y="408"/>
                  </a:lnTo>
                  <a:lnTo>
                    <a:pt x="543" y="401"/>
                  </a:lnTo>
                  <a:lnTo>
                    <a:pt x="543" y="396"/>
                  </a:lnTo>
                  <a:lnTo>
                    <a:pt x="542" y="399"/>
                  </a:lnTo>
                  <a:lnTo>
                    <a:pt x="533" y="398"/>
                  </a:lnTo>
                  <a:lnTo>
                    <a:pt x="526" y="399"/>
                  </a:lnTo>
                  <a:lnTo>
                    <a:pt x="513" y="396"/>
                  </a:lnTo>
                  <a:lnTo>
                    <a:pt x="511" y="398"/>
                  </a:lnTo>
                  <a:lnTo>
                    <a:pt x="509" y="403"/>
                  </a:lnTo>
                  <a:lnTo>
                    <a:pt x="507" y="399"/>
                  </a:lnTo>
                  <a:lnTo>
                    <a:pt x="502" y="399"/>
                  </a:lnTo>
                  <a:lnTo>
                    <a:pt x="494" y="401"/>
                  </a:lnTo>
                  <a:lnTo>
                    <a:pt x="492" y="403"/>
                  </a:lnTo>
                  <a:lnTo>
                    <a:pt x="494" y="406"/>
                  </a:lnTo>
                  <a:lnTo>
                    <a:pt x="489" y="406"/>
                  </a:lnTo>
                  <a:lnTo>
                    <a:pt x="482" y="406"/>
                  </a:lnTo>
                  <a:lnTo>
                    <a:pt x="478" y="403"/>
                  </a:lnTo>
                  <a:lnTo>
                    <a:pt x="478" y="399"/>
                  </a:lnTo>
                  <a:lnTo>
                    <a:pt x="475" y="398"/>
                  </a:lnTo>
                  <a:lnTo>
                    <a:pt x="478" y="401"/>
                  </a:lnTo>
                  <a:lnTo>
                    <a:pt x="477" y="403"/>
                  </a:lnTo>
                  <a:lnTo>
                    <a:pt x="480" y="411"/>
                  </a:lnTo>
                  <a:lnTo>
                    <a:pt x="475" y="415"/>
                  </a:lnTo>
                  <a:lnTo>
                    <a:pt x="465" y="410"/>
                  </a:lnTo>
                  <a:lnTo>
                    <a:pt x="463" y="410"/>
                  </a:lnTo>
                  <a:lnTo>
                    <a:pt x="468" y="413"/>
                  </a:lnTo>
                  <a:lnTo>
                    <a:pt x="465" y="416"/>
                  </a:lnTo>
                  <a:lnTo>
                    <a:pt x="460" y="416"/>
                  </a:lnTo>
                  <a:lnTo>
                    <a:pt x="456" y="413"/>
                  </a:lnTo>
                  <a:lnTo>
                    <a:pt x="460" y="413"/>
                  </a:lnTo>
                  <a:lnTo>
                    <a:pt x="458" y="408"/>
                  </a:lnTo>
                  <a:lnTo>
                    <a:pt x="454" y="413"/>
                  </a:lnTo>
                  <a:lnTo>
                    <a:pt x="453" y="413"/>
                  </a:lnTo>
                  <a:lnTo>
                    <a:pt x="454" y="410"/>
                  </a:lnTo>
                  <a:lnTo>
                    <a:pt x="451" y="410"/>
                  </a:lnTo>
                  <a:lnTo>
                    <a:pt x="453" y="413"/>
                  </a:lnTo>
                  <a:lnTo>
                    <a:pt x="451" y="415"/>
                  </a:lnTo>
                  <a:lnTo>
                    <a:pt x="446" y="411"/>
                  </a:lnTo>
                  <a:lnTo>
                    <a:pt x="446" y="413"/>
                  </a:lnTo>
                  <a:lnTo>
                    <a:pt x="446" y="415"/>
                  </a:lnTo>
                  <a:lnTo>
                    <a:pt x="437" y="413"/>
                  </a:lnTo>
                  <a:lnTo>
                    <a:pt x="441" y="415"/>
                  </a:lnTo>
                  <a:lnTo>
                    <a:pt x="436" y="415"/>
                  </a:lnTo>
                  <a:lnTo>
                    <a:pt x="434" y="418"/>
                  </a:lnTo>
                  <a:lnTo>
                    <a:pt x="429" y="418"/>
                  </a:lnTo>
                  <a:lnTo>
                    <a:pt x="431" y="420"/>
                  </a:lnTo>
                  <a:lnTo>
                    <a:pt x="429" y="423"/>
                  </a:lnTo>
                  <a:lnTo>
                    <a:pt x="432" y="423"/>
                  </a:lnTo>
                  <a:lnTo>
                    <a:pt x="439" y="427"/>
                  </a:lnTo>
                  <a:lnTo>
                    <a:pt x="443" y="434"/>
                  </a:lnTo>
                  <a:lnTo>
                    <a:pt x="443" y="439"/>
                  </a:lnTo>
                  <a:lnTo>
                    <a:pt x="441" y="439"/>
                  </a:lnTo>
                  <a:lnTo>
                    <a:pt x="443" y="440"/>
                  </a:lnTo>
                  <a:lnTo>
                    <a:pt x="443" y="439"/>
                  </a:lnTo>
                  <a:lnTo>
                    <a:pt x="441" y="439"/>
                  </a:lnTo>
                  <a:lnTo>
                    <a:pt x="436" y="442"/>
                  </a:lnTo>
                  <a:lnTo>
                    <a:pt x="431" y="442"/>
                  </a:lnTo>
                  <a:lnTo>
                    <a:pt x="425" y="439"/>
                  </a:lnTo>
                  <a:lnTo>
                    <a:pt x="422" y="440"/>
                  </a:lnTo>
                  <a:lnTo>
                    <a:pt x="422" y="442"/>
                  </a:lnTo>
                  <a:lnTo>
                    <a:pt x="419" y="440"/>
                  </a:lnTo>
                  <a:lnTo>
                    <a:pt x="419" y="444"/>
                  </a:lnTo>
                  <a:lnTo>
                    <a:pt x="410" y="442"/>
                  </a:lnTo>
                  <a:lnTo>
                    <a:pt x="413" y="446"/>
                  </a:lnTo>
                  <a:lnTo>
                    <a:pt x="410" y="446"/>
                  </a:lnTo>
                  <a:lnTo>
                    <a:pt x="412" y="447"/>
                  </a:lnTo>
                  <a:lnTo>
                    <a:pt x="410" y="447"/>
                  </a:lnTo>
                  <a:lnTo>
                    <a:pt x="408" y="446"/>
                  </a:lnTo>
                  <a:lnTo>
                    <a:pt x="408" y="449"/>
                  </a:lnTo>
                  <a:lnTo>
                    <a:pt x="407" y="447"/>
                  </a:lnTo>
                  <a:lnTo>
                    <a:pt x="405" y="449"/>
                  </a:lnTo>
                  <a:lnTo>
                    <a:pt x="405" y="444"/>
                  </a:lnTo>
                  <a:lnTo>
                    <a:pt x="403" y="447"/>
                  </a:lnTo>
                  <a:lnTo>
                    <a:pt x="401" y="444"/>
                  </a:lnTo>
                  <a:lnTo>
                    <a:pt x="401" y="447"/>
                  </a:lnTo>
                  <a:lnTo>
                    <a:pt x="400" y="447"/>
                  </a:lnTo>
                  <a:lnTo>
                    <a:pt x="398" y="446"/>
                  </a:lnTo>
                  <a:lnTo>
                    <a:pt x="395" y="446"/>
                  </a:lnTo>
                  <a:lnTo>
                    <a:pt x="391" y="442"/>
                  </a:lnTo>
                  <a:lnTo>
                    <a:pt x="388" y="442"/>
                  </a:lnTo>
                  <a:lnTo>
                    <a:pt x="386" y="446"/>
                  </a:lnTo>
                  <a:lnTo>
                    <a:pt x="381" y="444"/>
                  </a:lnTo>
                  <a:lnTo>
                    <a:pt x="379" y="447"/>
                  </a:lnTo>
                  <a:lnTo>
                    <a:pt x="374" y="440"/>
                  </a:lnTo>
                  <a:lnTo>
                    <a:pt x="372" y="442"/>
                  </a:lnTo>
                  <a:lnTo>
                    <a:pt x="372" y="446"/>
                  </a:lnTo>
                  <a:lnTo>
                    <a:pt x="369" y="444"/>
                  </a:lnTo>
                  <a:lnTo>
                    <a:pt x="367" y="446"/>
                  </a:lnTo>
                  <a:lnTo>
                    <a:pt x="362" y="442"/>
                  </a:lnTo>
                  <a:lnTo>
                    <a:pt x="360" y="444"/>
                  </a:lnTo>
                  <a:lnTo>
                    <a:pt x="359" y="442"/>
                  </a:lnTo>
                  <a:lnTo>
                    <a:pt x="359" y="446"/>
                  </a:lnTo>
                  <a:lnTo>
                    <a:pt x="357" y="442"/>
                  </a:lnTo>
                  <a:lnTo>
                    <a:pt x="347" y="442"/>
                  </a:lnTo>
                  <a:lnTo>
                    <a:pt x="345" y="444"/>
                  </a:lnTo>
                  <a:lnTo>
                    <a:pt x="350" y="446"/>
                  </a:lnTo>
                  <a:lnTo>
                    <a:pt x="347" y="446"/>
                  </a:lnTo>
                  <a:lnTo>
                    <a:pt x="347" y="449"/>
                  </a:lnTo>
                  <a:lnTo>
                    <a:pt x="345" y="451"/>
                  </a:lnTo>
                  <a:lnTo>
                    <a:pt x="343" y="449"/>
                  </a:lnTo>
                  <a:lnTo>
                    <a:pt x="342" y="451"/>
                  </a:lnTo>
                  <a:lnTo>
                    <a:pt x="338" y="449"/>
                  </a:lnTo>
                  <a:lnTo>
                    <a:pt x="338" y="452"/>
                  </a:lnTo>
                  <a:lnTo>
                    <a:pt x="337" y="447"/>
                  </a:lnTo>
                  <a:lnTo>
                    <a:pt x="331" y="451"/>
                  </a:lnTo>
                  <a:lnTo>
                    <a:pt x="331" y="447"/>
                  </a:lnTo>
                  <a:lnTo>
                    <a:pt x="330" y="449"/>
                  </a:lnTo>
                  <a:lnTo>
                    <a:pt x="325" y="449"/>
                  </a:lnTo>
                  <a:lnTo>
                    <a:pt x="323" y="447"/>
                  </a:lnTo>
                  <a:lnTo>
                    <a:pt x="323" y="449"/>
                  </a:lnTo>
                  <a:lnTo>
                    <a:pt x="321" y="449"/>
                  </a:lnTo>
                  <a:lnTo>
                    <a:pt x="318" y="444"/>
                  </a:lnTo>
                  <a:lnTo>
                    <a:pt x="318" y="447"/>
                  </a:lnTo>
                  <a:lnTo>
                    <a:pt x="313" y="446"/>
                  </a:lnTo>
                  <a:lnTo>
                    <a:pt x="314" y="449"/>
                  </a:lnTo>
                  <a:lnTo>
                    <a:pt x="313" y="451"/>
                  </a:lnTo>
                  <a:lnTo>
                    <a:pt x="309" y="447"/>
                  </a:lnTo>
                  <a:lnTo>
                    <a:pt x="307" y="444"/>
                  </a:lnTo>
                  <a:lnTo>
                    <a:pt x="299" y="442"/>
                  </a:lnTo>
                  <a:lnTo>
                    <a:pt x="299" y="444"/>
                  </a:lnTo>
                  <a:lnTo>
                    <a:pt x="304" y="447"/>
                  </a:lnTo>
                  <a:lnTo>
                    <a:pt x="302" y="449"/>
                  </a:lnTo>
                  <a:lnTo>
                    <a:pt x="297" y="444"/>
                  </a:lnTo>
                  <a:lnTo>
                    <a:pt x="296" y="446"/>
                  </a:lnTo>
                  <a:lnTo>
                    <a:pt x="290" y="442"/>
                  </a:lnTo>
                  <a:lnTo>
                    <a:pt x="282" y="444"/>
                  </a:lnTo>
                  <a:lnTo>
                    <a:pt x="284" y="446"/>
                  </a:lnTo>
                  <a:lnTo>
                    <a:pt x="285" y="444"/>
                  </a:lnTo>
                  <a:lnTo>
                    <a:pt x="287" y="444"/>
                  </a:lnTo>
                  <a:lnTo>
                    <a:pt x="290" y="449"/>
                  </a:lnTo>
                  <a:lnTo>
                    <a:pt x="287" y="449"/>
                  </a:lnTo>
                  <a:lnTo>
                    <a:pt x="285" y="451"/>
                  </a:lnTo>
                  <a:lnTo>
                    <a:pt x="292" y="452"/>
                  </a:lnTo>
                  <a:lnTo>
                    <a:pt x="285" y="452"/>
                  </a:lnTo>
                  <a:lnTo>
                    <a:pt x="285" y="451"/>
                  </a:lnTo>
                  <a:lnTo>
                    <a:pt x="282" y="454"/>
                  </a:lnTo>
                  <a:lnTo>
                    <a:pt x="282" y="451"/>
                  </a:lnTo>
                  <a:lnTo>
                    <a:pt x="280" y="456"/>
                  </a:lnTo>
                  <a:lnTo>
                    <a:pt x="278" y="452"/>
                  </a:lnTo>
                  <a:lnTo>
                    <a:pt x="280" y="452"/>
                  </a:lnTo>
                  <a:lnTo>
                    <a:pt x="278" y="452"/>
                  </a:lnTo>
                  <a:lnTo>
                    <a:pt x="278" y="449"/>
                  </a:lnTo>
                  <a:lnTo>
                    <a:pt x="284" y="449"/>
                  </a:lnTo>
                  <a:lnTo>
                    <a:pt x="282" y="446"/>
                  </a:lnTo>
                  <a:lnTo>
                    <a:pt x="282" y="449"/>
                  </a:lnTo>
                  <a:lnTo>
                    <a:pt x="278" y="449"/>
                  </a:lnTo>
                  <a:lnTo>
                    <a:pt x="278" y="447"/>
                  </a:lnTo>
                  <a:lnTo>
                    <a:pt x="277" y="451"/>
                  </a:lnTo>
                  <a:lnTo>
                    <a:pt x="275" y="449"/>
                  </a:lnTo>
                  <a:lnTo>
                    <a:pt x="277" y="451"/>
                  </a:lnTo>
                  <a:lnTo>
                    <a:pt x="275" y="452"/>
                  </a:lnTo>
                  <a:lnTo>
                    <a:pt x="272" y="449"/>
                  </a:lnTo>
                  <a:lnTo>
                    <a:pt x="268" y="451"/>
                  </a:lnTo>
                  <a:lnTo>
                    <a:pt x="260" y="446"/>
                  </a:lnTo>
                  <a:lnTo>
                    <a:pt x="256" y="447"/>
                  </a:lnTo>
                  <a:lnTo>
                    <a:pt x="258" y="442"/>
                  </a:lnTo>
                  <a:lnTo>
                    <a:pt x="256" y="442"/>
                  </a:lnTo>
                  <a:lnTo>
                    <a:pt x="254" y="446"/>
                  </a:lnTo>
                  <a:lnTo>
                    <a:pt x="251" y="449"/>
                  </a:lnTo>
                  <a:lnTo>
                    <a:pt x="248" y="451"/>
                  </a:lnTo>
                  <a:lnTo>
                    <a:pt x="246" y="447"/>
                  </a:lnTo>
                  <a:lnTo>
                    <a:pt x="249" y="449"/>
                  </a:lnTo>
                  <a:lnTo>
                    <a:pt x="248" y="446"/>
                  </a:lnTo>
                  <a:lnTo>
                    <a:pt x="249" y="447"/>
                  </a:lnTo>
                  <a:lnTo>
                    <a:pt x="249" y="444"/>
                  </a:lnTo>
                  <a:lnTo>
                    <a:pt x="253" y="442"/>
                  </a:lnTo>
                  <a:lnTo>
                    <a:pt x="249" y="439"/>
                  </a:lnTo>
                  <a:lnTo>
                    <a:pt x="248" y="440"/>
                  </a:lnTo>
                  <a:lnTo>
                    <a:pt x="244" y="437"/>
                  </a:lnTo>
                  <a:lnTo>
                    <a:pt x="243" y="440"/>
                  </a:lnTo>
                  <a:lnTo>
                    <a:pt x="241" y="437"/>
                  </a:lnTo>
                  <a:lnTo>
                    <a:pt x="239" y="440"/>
                  </a:lnTo>
                  <a:lnTo>
                    <a:pt x="234" y="435"/>
                  </a:lnTo>
                  <a:lnTo>
                    <a:pt x="234" y="439"/>
                  </a:lnTo>
                  <a:lnTo>
                    <a:pt x="229" y="440"/>
                  </a:lnTo>
                  <a:lnTo>
                    <a:pt x="229" y="435"/>
                  </a:lnTo>
                  <a:lnTo>
                    <a:pt x="225" y="434"/>
                  </a:lnTo>
                  <a:lnTo>
                    <a:pt x="225" y="437"/>
                  </a:lnTo>
                  <a:lnTo>
                    <a:pt x="222" y="435"/>
                  </a:lnTo>
                  <a:lnTo>
                    <a:pt x="222" y="432"/>
                  </a:lnTo>
                  <a:lnTo>
                    <a:pt x="212" y="432"/>
                  </a:lnTo>
                  <a:lnTo>
                    <a:pt x="207" y="428"/>
                  </a:lnTo>
                  <a:lnTo>
                    <a:pt x="210" y="425"/>
                  </a:lnTo>
                  <a:lnTo>
                    <a:pt x="213" y="423"/>
                  </a:lnTo>
                  <a:lnTo>
                    <a:pt x="217" y="428"/>
                  </a:lnTo>
                  <a:lnTo>
                    <a:pt x="212" y="420"/>
                  </a:lnTo>
                  <a:lnTo>
                    <a:pt x="207" y="420"/>
                  </a:lnTo>
                  <a:lnTo>
                    <a:pt x="203" y="423"/>
                  </a:lnTo>
                  <a:lnTo>
                    <a:pt x="195" y="427"/>
                  </a:lnTo>
                  <a:lnTo>
                    <a:pt x="193" y="423"/>
                  </a:lnTo>
                  <a:lnTo>
                    <a:pt x="191" y="428"/>
                  </a:lnTo>
                  <a:lnTo>
                    <a:pt x="188" y="427"/>
                  </a:lnTo>
                  <a:lnTo>
                    <a:pt x="188" y="425"/>
                  </a:lnTo>
                  <a:lnTo>
                    <a:pt x="191" y="425"/>
                  </a:lnTo>
                  <a:lnTo>
                    <a:pt x="186" y="423"/>
                  </a:lnTo>
                  <a:lnTo>
                    <a:pt x="184" y="427"/>
                  </a:lnTo>
                  <a:lnTo>
                    <a:pt x="181" y="423"/>
                  </a:lnTo>
                  <a:lnTo>
                    <a:pt x="181" y="420"/>
                  </a:lnTo>
                  <a:lnTo>
                    <a:pt x="184" y="422"/>
                  </a:lnTo>
                  <a:lnTo>
                    <a:pt x="184" y="413"/>
                  </a:lnTo>
                  <a:lnTo>
                    <a:pt x="183" y="411"/>
                  </a:lnTo>
                  <a:lnTo>
                    <a:pt x="179" y="413"/>
                  </a:lnTo>
                  <a:lnTo>
                    <a:pt x="181" y="416"/>
                  </a:lnTo>
                  <a:lnTo>
                    <a:pt x="178" y="418"/>
                  </a:lnTo>
                  <a:lnTo>
                    <a:pt x="176" y="423"/>
                  </a:lnTo>
                  <a:lnTo>
                    <a:pt x="178" y="418"/>
                  </a:lnTo>
                  <a:lnTo>
                    <a:pt x="172" y="420"/>
                  </a:lnTo>
                  <a:lnTo>
                    <a:pt x="171" y="418"/>
                  </a:lnTo>
                  <a:lnTo>
                    <a:pt x="169" y="415"/>
                  </a:lnTo>
                  <a:lnTo>
                    <a:pt x="171" y="416"/>
                  </a:lnTo>
                  <a:lnTo>
                    <a:pt x="169" y="408"/>
                  </a:lnTo>
                  <a:lnTo>
                    <a:pt x="167" y="408"/>
                  </a:lnTo>
                  <a:lnTo>
                    <a:pt x="166" y="411"/>
                  </a:lnTo>
                  <a:lnTo>
                    <a:pt x="167" y="416"/>
                  </a:lnTo>
                  <a:lnTo>
                    <a:pt x="159" y="415"/>
                  </a:lnTo>
                  <a:lnTo>
                    <a:pt x="159" y="413"/>
                  </a:lnTo>
                  <a:lnTo>
                    <a:pt x="162" y="413"/>
                  </a:lnTo>
                  <a:lnTo>
                    <a:pt x="160" y="411"/>
                  </a:lnTo>
                  <a:lnTo>
                    <a:pt x="162" y="411"/>
                  </a:lnTo>
                  <a:lnTo>
                    <a:pt x="164" y="413"/>
                  </a:lnTo>
                  <a:lnTo>
                    <a:pt x="166" y="406"/>
                  </a:lnTo>
                  <a:lnTo>
                    <a:pt x="176" y="408"/>
                  </a:lnTo>
                  <a:lnTo>
                    <a:pt x="172" y="408"/>
                  </a:lnTo>
                  <a:lnTo>
                    <a:pt x="176" y="411"/>
                  </a:lnTo>
                  <a:lnTo>
                    <a:pt x="178" y="411"/>
                  </a:lnTo>
                  <a:lnTo>
                    <a:pt x="178" y="410"/>
                  </a:lnTo>
                  <a:lnTo>
                    <a:pt x="188" y="411"/>
                  </a:lnTo>
                  <a:lnTo>
                    <a:pt x="190" y="410"/>
                  </a:lnTo>
                  <a:lnTo>
                    <a:pt x="188" y="408"/>
                  </a:lnTo>
                  <a:lnTo>
                    <a:pt x="213" y="408"/>
                  </a:lnTo>
                  <a:lnTo>
                    <a:pt x="227" y="413"/>
                  </a:lnTo>
                  <a:lnTo>
                    <a:pt x="224" y="413"/>
                  </a:lnTo>
                  <a:lnTo>
                    <a:pt x="225" y="415"/>
                  </a:lnTo>
                  <a:lnTo>
                    <a:pt x="234" y="418"/>
                  </a:lnTo>
                  <a:lnTo>
                    <a:pt x="232" y="420"/>
                  </a:lnTo>
                  <a:lnTo>
                    <a:pt x="229" y="420"/>
                  </a:lnTo>
                  <a:lnTo>
                    <a:pt x="231" y="422"/>
                  </a:lnTo>
                  <a:lnTo>
                    <a:pt x="229" y="423"/>
                  </a:lnTo>
                  <a:lnTo>
                    <a:pt x="229" y="428"/>
                  </a:lnTo>
                  <a:lnTo>
                    <a:pt x="231" y="430"/>
                  </a:lnTo>
                  <a:lnTo>
                    <a:pt x="231" y="427"/>
                  </a:lnTo>
                  <a:lnTo>
                    <a:pt x="232" y="423"/>
                  </a:lnTo>
                  <a:lnTo>
                    <a:pt x="237" y="428"/>
                  </a:lnTo>
                  <a:lnTo>
                    <a:pt x="237" y="430"/>
                  </a:lnTo>
                  <a:lnTo>
                    <a:pt x="241" y="435"/>
                  </a:lnTo>
                  <a:lnTo>
                    <a:pt x="241" y="432"/>
                  </a:lnTo>
                  <a:lnTo>
                    <a:pt x="243" y="432"/>
                  </a:lnTo>
                  <a:lnTo>
                    <a:pt x="237" y="425"/>
                  </a:lnTo>
                  <a:lnTo>
                    <a:pt x="249" y="418"/>
                  </a:lnTo>
                  <a:lnTo>
                    <a:pt x="266" y="418"/>
                  </a:lnTo>
                  <a:lnTo>
                    <a:pt x="282" y="423"/>
                  </a:lnTo>
                  <a:lnTo>
                    <a:pt x="280" y="422"/>
                  </a:lnTo>
                  <a:lnTo>
                    <a:pt x="282" y="422"/>
                  </a:lnTo>
                  <a:lnTo>
                    <a:pt x="292" y="422"/>
                  </a:lnTo>
                  <a:lnTo>
                    <a:pt x="287" y="422"/>
                  </a:lnTo>
                  <a:lnTo>
                    <a:pt x="290" y="422"/>
                  </a:lnTo>
                  <a:lnTo>
                    <a:pt x="292" y="425"/>
                  </a:lnTo>
                  <a:lnTo>
                    <a:pt x="294" y="428"/>
                  </a:lnTo>
                  <a:lnTo>
                    <a:pt x="297" y="422"/>
                  </a:lnTo>
                  <a:lnTo>
                    <a:pt x="301" y="420"/>
                  </a:lnTo>
                  <a:lnTo>
                    <a:pt x="314" y="416"/>
                  </a:lnTo>
                  <a:lnTo>
                    <a:pt x="319" y="420"/>
                  </a:lnTo>
                  <a:lnTo>
                    <a:pt x="325" y="416"/>
                  </a:lnTo>
                  <a:lnTo>
                    <a:pt x="331" y="418"/>
                  </a:lnTo>
                  <a:lnTo>
                    <a:pt x="330" y="422"/>
                  </a:lnTo>
                  <a:lnTo>
                    <a:pt x="335" y="425"/>
                  </a:lnTo>
                  <a:lnTo>
                    <a:pt x="337" y="423"/>
                  </a:lnTo>
                  <a:lnTo>
                    <a:pt x="335" y="423"/>
                  </a:lnTo>
                  <a:lnTo>
                    <a:pt x="333" y="425"/>
                  </a:lnTo>
                  <a:lnTo>
                    <a:pt x="330" y="422"/>
                  </a:lnTo>
                  <a:lnTo>
                    <a:pt x="333" y="418"/>
                  </a:lnTo>
                  <a:lnTo>
                    <a:pt x="331" y="416"/>
                  </a:lnTo>
                  <a:lnTo>
                    <a:pt x="343" y="405"/>
                  </a:lnTo>
                  <a:lnTo>
                    <a:pt x="350" y="403"/>
                  </a:lnTo>
                  <a:lnTo>
                    <a:pt x="354" y="408"/>
                  </a:lnTo>
                  <a:lnTo>
                    <a:pt x="352" y="403"/>
                  </a:lnTo>
                  <a:lnTo>
                    <a:pt x="349" y="403"/>
                  </a:lnTo>
                  <a:lnTo>
                    <a:pt x="350" y="398"/>
                  </a:lnTo>
                  <a:lnTo>
                    <a:pt x="352" y="396"/>
                  </a:lnTo>
                  <a:lnTo>
                    <a:pt x="362" y="393"/>
                  </a:lnTo>
                  <a:lnTo>
                    <a:pt x="364" y="393"/>
                  </a:lnTo>
                  <a:lnTo>
                    <a:pt x="371" y="394"/>
                  </a:lnTo>
                  <a:lnTo>
                    <a:pt x="369" y="391"/>
                  </a:lnTo>
                  <a:lnTo>
                    <a:pt x="374" y="389"/>
                  </a:lnTo>
                  <a:lnTo>
                    <a:pt x="378" y="387"/>
                  </a:lnTo>
                  <a:lnTo>
                    <a:pt x="383" y="384"/>
                  </a:lnTo>
                  <a:lnTo>
                    <a:pt x="381" y="384"/>
                  </a:lnTo>
                  <a:lnTo>
                    <a:pt x="378" y="386"/>
                  </a:lnTo>
                  <a:lnTo>
                    <a:pt x="371" y="387"/>
                  </a:lnTo>
                  <a:lnTo>
                    <a:pt x="369" y="387"/>
                  </a:lnTo>
                  <a:lnTo>
                    <a:pt x="345" y="381"/>
                  </a:lnTo>
                  <a:lnTo>
                    <a:pt x="343" y="377"/>
                  </a:lnTo>
                  <a:lnTo>
                    <a:pt x="345" y="374"/>
                  </a:lnTo>
                  <a:lnTo>
                    <a:pt x="343" y="369"/>
                  </a:lnTo>
                  <a:lnTo>
                    <a:pt x="347" y="365"/>
                  </a:lnTo>
                  <a:lnTo>
                    <a:pt x="349" y="367"/>
                  </a:lnTo>
                  <a:lnTo>
                    <a:pt x="349" y="365"/>
                  </a:lnTo>
                  <a:lnTo>
                    <a:pt x="354" y="369"/>
                  </a:lnTo>
                  <a:lnTo>
                    <a:pt x="354" y="375"/>
                  </a:lnTo>
                  <a:lnTo>
                    <a:pt x="355" y="374"/>
                  </a:lnTo>
                  <a:lnTo>
                    <a:pt x="355" y="369"/>
                  </a:lnTo>
                  <a:lnTo>
                    <a:pt x="352" y="364"/>
                  </a:lnTo>
                  <a:lnTo>
                    <a:pt x="352" y="358"/>
                  </a:lnTo>
                  <a:lnTo>
                    <a:pt x="350" y="364"/>
                  </a:lnTo>
                  <a:lnTo>
                    <a:pt x="342" y="365"/>
                  </a:lnTo>
                  <a:lnTo>
                    <a:pt x="342" y="362"/>
                  </a:lnTo>
                  <a:lnTo>
                    <a:pt x="343" y="362"/>
                  </a:lnTo>
                  <a:lnTo>
                    <a:pt x="342" y="360"/>
                  </a:lnTo>
                  <a:lnTo>
                    <a:pt x="342" y="364"/>
                  </a:lnTo>
                  <a:lnTo>
                    <a:pt x="338" y="367"/>
                  </a:lnTo>
                  <a:lnTo>
                    <a:pt x="335" y="367"/>
                  </a:lnTo>
                  <a:lnTo>
                    <a:pt x="338" y="367"/>
                  </a:lnTo>
                  <a:lnTo>
                    <a:pt x="338" y="365"/>
                  </a:lnTo>
                  <a:lnTo>
                    <a:pt x="335" y="365"/>
                  </a:lnTo>
                  <a:lnTo>
                    <a:pt x="333" y="377"/>
                  </a:lnTo>
                  <a:lnTo>
                    <a:pt x="328" y="377"/>
                  </a:lnTo>
                  <a:lnTo>
                    <a:pt x="325" y="374"/>
                  </a:lnTo>
                  <a:lnTo>
                    <a:pt x="326" y="358"/>
                  </a:lnTo>
                  <a:lnTo>
                    <a:pt x="323" y="353"/>
                  </a:lnTo>
                  <a:lnTo>
                    <a:pt x="326" y="350"/>
                  </a:lnTo>
                  <a:lnTo>
                    <a:pt x="323" y="348"/>
                  </a:lnTo>
                  <a:lnTo>
                    <a:pt x="321" y="352"/>
                  </a:lnTo>
                  <a:lnTo>
                    <a:pt x="318" y="352"/>
                  </a:lnTo>
                  <a:lnTo>
                    <a:pt x="318" y="346"/>
                  </a:lnTo>
                  <a:lnTo>
                    <a:pt x="314" y="343"/>
                  </a:lnTo>
                  <a:lnTo>
                    <a:pt x="314" y="340"/>
                  </a:lnTo>
                  <a:lnTo>
                    <a:pt x="316" y="340"/>
                  </a:lnTo>
                  <a:lnTo>
                    <a:pt x="316" y="336"/>
                  </a:lnTo>
                  <a:lnTo>
                    <a:pt x="302" y="336"/>
                  </a:lnTo>
                  <a:lnTo>
                    <a:pt x="302" y="333"/>
                  </a:lnTo>
                  <a:lnTo>
                    <a:pt x="294" y="329"/>
                  </a:lnTo>
                  <a:lnTo>
                    <a:pt x="294" y="331"/>
                  </a:lnTo>
                  <a:lnTo>
                    <a:pt x="290" y="331"/>
                  </a:lnTo>
                  <a:close/>
                  <a:moveTo>
                    <a:pt x="147" y="121"/>
                  </a:moveTo>
                  <a:lnTo>
                    <a:pt x="143" y="114"/>
                  </a:lnTo>
                  <a:lnTo>
                    <a:pt x="140" y="102"/>
                  </a:lnTo>
                  <a:lnTo>
                    <a:pt x="142" y="102"/>
                  </a:lnTo>
                  <a:lnTo>
                    <a:pt x="145" y="102"/>
                  </a:lnTo>
                  <a:lnTo>
                    <a:pt x="143" y="107"/>
                  </a:lnTo>
                  <a:lnTo>
                    <a:pt x="149" y="116"/>
                  </a:lnTo>
                  <a:lnTo>
                    <a:pt x="149" y="121"/>
                  </a:lnTo>
                  <a:lnTo>
                    <a:pt x="147" y="121"/>
                  </a:lnTo>
                  <a:close/>
                  <a:moveTo>
                    <a:pt x="249" y="213"/>
                  </a:moveTo>
                  <a:lnTo>
                    <a:pt x="248" y="217"/>
                  </a:lnTo>
                  <a:lnTo>
                    <a:pt x="253" y="223"/>
                  </a:lnTo>
                  <a:lnTo>
                    <a:pt x="249" y="227"/>
                  </a:lnTo>
                  <a:lnTo>
                    <a:pt x="249" y="229"/>
                  </a:lnTo>
                  <a:lnTo>
                    <a:pt x="248" y="229"/>
                  </a:lnTo>
                  <a:lnTo>
                    <a:pt x="248" y="234"/>
                  </a:lnTo>
                  <a:lnTo>
                    <a:pt x="244" y="235"/>
                  </a:lnTo>
                  <a:lnTo>
                    <a:pt x="232" y="227"/>
                  </a:lnTo>
                  <a:lnTo>
                    <a:pt x="234" y="230"/>
                  </a:lnTo>
                  <a:lnTo>
                    <a:pt x="234" y="232"/>
                  </a:lnTo>
                  <a:lnTo>
                    <a:pt x="222" y="210"/>
                  </a:lnTo>
                  <a:lnTo>
                    <a:pt x="220" y="205"/>
                  </a:lnTo>
                  <a:lnTo>
                    <a:pt x="222" y="199"/>
                  </a:lnTo>
                  <a:lnTo>
                    <a:pt x="232" y="208"/>
                  </a:lnTo>
                  <a:lnTo>
                    <a:pt x="234" y="206"/>
                  </a:lnTo>
                  <a:lnTo>
                    <a:pt x="243" y="208"/>
                  </a:lnTo>
                  <a:lnTo>
                    <a:pt x="243" y="211"/>
                  </a:lnTo>
                  <a:lnTo>
                    <a:pt x="249" y="213"/>
                  </a:lnTo>
                  <a:close/>
                  <a:moveTo>
                    <a:pt x="138" y="408"/>
                  </a:moveTo>
                  <a:lnTo>
                    <a:pt x="130" y="410"/>
                  </a:lnTo>
                  <a:lnTo>
                    <a:pt x="123" y="406"/>
                  </a:lnTo>
                  <a:lnTo>
                    <a:pt x="119" y="401"/>
                  </a:lnTo>
                  <a:lnTo>
                    <a:pt x="123" y="396"/>
                  </a:lnTo>
                  <a:lnTo>
                    <a:pt x="130" y="398"/>
                  </a:lnTo>
                  <a:lnTo>
                    <a:pt x="140" y="394"/>
                  </a:lnTo>
                  <a:lnTo>
                    <a:pt x="143" y="399"/>
                  </a:lnTo>
                  <a:lnTo>
                    <a:pt x="147" y="398"/>
                  </a:lnTo>
                  <a:lnTo>
                    <a:pt x="157" y="401"/>
                  </a:lnTo>
                  <a:lnTo>
                    <a:pt x="160" y="405"/>
                  </a:lnTo>
                  <a:lnTo>
                    <a:pt x="157" y="416"/>
                  </a:lnTo>
                  <a:lnTo>
                    <a:pt x="160" y="420"/>
                  </a:lnTo>
                  <a:lnTo>
                    <a:pt x="160" y="423"/>
                  </a:lnTo>
                  <a:lnTo>
                    <a:pt x="157" y="416"/>
                  </a:lnTo>
                  <a:lnTo>
                    <a:pt x="152" y="418"/>
                  </a:lnTo>
                  <a:lnTo>
                    <a:pt x="149" y="416"/>
                  </a:lnTo>
                  <a:lnTo>
                    <a:pt x="138" y="408"/>
                  </a:lnTo>
                  <a:close/>
                  <a:moveTo>
                    <a:pt x="63" y="398"/>
                  </a:moveTo>
                  <a:lnTo>
                    <a:pt x="63" y="396"/>
                  </a:lnTo>
                  <a:lnTo>
                    <a:pt x="61" y="399"/>
                  </a:lnTo>
                  <a:lnTo>
                    <a:pt x="61" y="394"/>
                  </a:lnTo>
                  <a:lnTo>
                    <a:pt x="60" y="398"/>
                  </a:lnTo>
                  <a:lnTo>
                    <a:pt x="58" y="396"/>
                  </a:lnTo>
                  <a:lnTo>
                    <a:pt x="51" y="393"/>
                  </a:lnTo>
                  <a:lnTo>
                    <a:pt x="41" y="391"/>
                  </a:lnTo>
                  <a:lnTo>
                    <a:pt x="37" y="389"/>
                  </a:lnTo>
                  <a:lnTo>
                    <a:pt x="36" y="384"/>
                  </a:lnTo>
                  <a:lnTo>
                    <a:pt x="41" y="384"/>
                  </a:lnTo>
                  <a:lnTo>
                    <a:pt x="44" y="387"/>
                  </a:lnTo>
                  <a:lnTo>
                    <a:pt x="46" y="386"/>
                  </a:lnTo>
                  <a:lnTo>
                    <a:pt x="48" y="389"/>
                  </a:lnTo>
                  <a:lnTo>
                    <a:pt x="49" y="387"/>
                  </a:lnTo>
                  <a:lnTo>
                    <a:pt x="53" y="391"/>
                  </a:lnTo>
                  <a:lnTo>
                    <a:pt x="53" y="389"/>
                  </a:lnTo>
                  <a:lnTo>
                    <a:pt x="58" y="393"/>
                  </a:lnTo>
                  <a:lnTo>
                    <a:pt x="56" y="387"/>
                  </a:lnTo>
                  <a:lnTo>
                    <a:pt x="60" y="389"/>
                  </a:lnTo>
                  <a:lnTo>
                    <a:pt x="60" y="387"/>
                  </a:lnTo>
                  <a:lnTo>
                    <a:pt x="61" y="386"/>
                  </a:lnTo>
                  <a:lnTo>
                    <a:pt x="63" y="387"/>
                  </a:lnTo>
                  <a:lnTo>
                    <a:pt x="63" y="393"/>
                  </a:lnTo>
                  <a:lnTo>
                    <a:pt x="65" y="389"/>
                  </a:lnTo>
                  <a:lnTo>
                    <a:pt x="68" y="391"/>
                  </a:lnTo>
                  <a:lnTo>
                    <a:pt x="63" y="384"/>
                  </a:lnTo>
                  <a:lnTo>
                    <a:pt x="63" y="379"/>
                  </a:lnTo>
                  <a:lnTo>
                    <a:pt x="75" y="382"/>
                  </a:lnTo>
                  <a:lnTo>
                    <a:pt x="77" y="386"/>
                  </a:lnTo>
                  <a:lnTo>
                    <a:pt x="73" y="387"/>
                  </a:lnTo>
                  <a:lnTo>
                    <a:pt x="72" y="389"/>
                  </a:lnTo>
                  <a:lnTo>
                    <a:pt x="77" y="391"/>
                  </a:lnTo>
                  <a:lnTo>
                    <a:pt x="82" y="389"/>
                  </a:lnTo>
                  <a:lnTo>
                    <a:pt x="80" y="391"/>
                  </a:lnTo>
                  <a:lnTo>
                    <a:pt x="82" y="391"/>
                  </a:lnTo>
                  <a:lnTo>
                    <a:pt x="80" y="393"/>
                  </a:lnTo>
                  <a:lnTo>
                    <a:pt x="82" y="394"/>
                  </a:lnTo>
                  <a:lnTo>
                    <a:pt x="72" y="393"/>
                  </a:lnTo>
                  <a:lnTo>
                    <a:pt x="73" y="393"/>
                  </a:lnTo>
                  <a:lnTo>
                    <a:pt x="70" y="394"/>
                  </a:lnTo>
                  <a:lnTo>
                    <a:pt x="72" y="396"/>
                  </a:lnTo>
                  <a:lnTo>
                    <a:pt x="73" y="394"/>
                  </a:lnTo>
                  <a:lnTo>
                    <a:pt x="73" y="398"/>
                  </a:lnTo>
                  <a:lnTo>
                    <a:pt x="77" y="396"/>
                  </a:lnTo>
                  <a:lnTo>
                    <a:pt x="75" y="399"/>
                  </a:lnTo>
                  <a:lnTo>
                    <a:pt x="68" y="396"/>
                  </a:lnTo>
                  <a:lnTo>
                    <a:pt x="65" y="398"/>
                  </a:lnTo>
                  <a:lnTo>
                    <a:pt x="65" y="396"/>
                  </a:lnTo>
                  <a:lnTo>
                    <a:pt x="63" y="398"/>
                  </a:lnTo>
                  <a:close/>
                  <a:moveTo>
                    <a:pt x="77" y="399"/>
                  </a:moveTo>
                  <a:lnTo>
                    <a:pt x="77" y="396"/>
                  </a:lnTo>
                  <a:lnTo>
                    <a:pt x="82" y="398"/>
                  </a:lnTo>
                  <a:lnTo>
                    <a:pt x="77" y="399"/>
                  </a:lnTo>
                  <a:close/>
                  <a:moveTo>
                    <a:pt x="41" y="379"/>
                  </a:moveTo>
                  <a:lnTo>
                    <a:pt x="37" y="381"/>
                  </a:lnTo>
                  <a:lnTo>
                    <a:pt x="25" y="377"/>
                  </a:lnTo>
                  <a:lnTo>
                    <a:pt x="17" y="381"/>
                  </a:lnTo>
                  <a:lnTo>
                    <a:pt x="0" y="375"/>
                  </a:lnTo>
                  <a:lnTo>
                    <a:pt x="7" y="375"/>
                  </a:lnTo>
                  <a:lnTo>
                    <a:pt x="12" y="374"/>
                  </a:lnTo>
                  <a:lnTo>
                    <a:pt x="14" y="372"/>
                  </a:lnTo>
                  <a:lnTo>
                    <a:pt x="20" y="370"/>
                  </a:lnTo>
                  <a:lnTo>
                    <a:pt x="25" y="375"/>
                  </a:lnTo>
                  <a:lnTo>
                    <a:pt x="25" y="372"/>
                  </a:lnTo>
                  <a:lnTo>
                    <a:pt x="31" y="370"/>
                  </a:lnTo>
                  <a:lnTo>
                    <a:pt x="39" y="374"/>
                  </a:lnTo>
                  <a:lnTo>
                    <a:pt x="41" y="379"/>
                  </a:lnTo>
                  <a:close/>
                  <a:moveTo>
                    <a:pt x="246" y="61"/>
                  </a:moveTo>
                  <a:lnTo>
                    <a:pt x="237" y="58"/>
                  </a:lnTo>
                  <a:lnTo>
                    <a:pt x="234" y="52"/>
                  </a:lnTo>
                  <a:lnTo>
                    <a:pt x="236" y="47"/>
                  </a:lnTo>
                  <a:lnTo>
                    <a:pt x="241" y="46"/>
                  </a:lnTo>
                  <a:lnTo>
                    <a:pt x="244" y="42"/>
                  </a:lnTo>
                  <a:lnTo>
                    <a:pt x="246" y="42"/>
                  </a:lnTo>
                  <a:lnTo>
                    <a:pt x="244" y="46"/>
                  </a:lnTo>
                  <a:lnTo>
                    <a:pt x="246" y="51"/>
                  </a:lnTo>
                  <a:lnTo>
                    <a:pt x="244" y="49"/>
                  </a:lnTo>
                  <a:lnTo>
                    <a:pt x="243" y="49"/>
                  </a:lnTo>
                  <a:lnTo>
                    <a:pt x="243" y="51"/>
                  </a:lnTo>
                  <a:lnTo>
                    <a:pt x="246" y="52"/>
                  </a:lnTo>
                  <a:lnTo>
                    <a:pt x="251" y="59"/>
                  </a:lnTo>
                  <a:lnTo>
                    <a:pt x="258" y="61"/>
                  </a:lnTo>
                  <a:lnTo>
                    <a:pt x="263" y="66"/>
                  </a:lnTo>
                  <a:lnTo>
                    <a:pt x="265" y="71"/>
                  </a:lnTo>
                  <a:lnTo>
                    <a:pt x="263" y="73"/>
                  </a:lnTo>
                  <a:lnTo>
                    <a:pt x="261" y="75"/>
                  </a:lnTo>
                  <a:lnTo>
                    <a:pt x="272" y="92"/>
                  </a:lnTo>
                  <a:lnTo>
                    <a:pt x="278" y="100"/>
                  </a:lnTo>
                  <a:lnTo>
                    <a:pt x="273" y="100"/>
                  </a:lnTo>
                  <a:lnTo>
                    <a:pt x="266" y="93"/>
                  </a:lnTo>
                  <a:lnTo>
                    <a:pt x="254" y="93"/>
                  </a:lnTo>
                  <a:lnTo>
                    <a:pt x="258" y="87"/>
                  </a:lnTo>
                  <a:lnTo>
                    <a:pt x="254" y="85"/>
                  </a:lnTo>
                  <a:lnTo>
                    <a:pt x="254" y="76"/>
                  </a:lnTo>
                  <a:lnTo>
                    <a:pt x="249" y="63"/>
                  </a:lnTo>
                  <a:lnTo>
                    <a:pt x="246" y="61"/>
                  </a:lnTo>
                  <a:close/>
                  <a:moveTo>
                    <a:pt x="610" y="480"/>
                  </a:moveTo>
                  <a:lnTo>
                    <a:pt x="598" y="478"/>
                  </a:lnTo>
                  <a:lnTo>
                    <a:pt x="596" y="476"/>
                  </a:lnTo>
                  <a:lnTo>
                    <a:pt x="601" y="475"/>
                  </a:lnTo>
                  <a:lnTo>
                    <a:pt x="598" y="473"/>
                  </a:lnTo>
                  <a:lnTo>
                    <a:pt x="603" y="471"/>
                  </a:lnTo>
                  <a:lnTo>
                    <a:pt x="610" y="480"/>
                  </a:lnTo>
                  <a:close/>
                  <a:moveTo>
                    <a:pt x="591" y="473"/>
                  </a:moveTo>
                  <a:lnTo>
                    <a:pt x="583" y="475"/>
                  </a:lnTo>
                  <a:lnTo>
                    <a:pt x="579" y="476"/>
                  </a:lnTo>
                  <a:lnTo>
                    <a:pt x="578" y="478"/>
                  </a:lnTo>
                  <a:lnTo>
                    <a:pt x="574" y="476"/>
                  </a:lnTo>
                  <a:lnTo>
                    <a:pt x="574" y="480"/>
                  </a:lnTo>
                  <a:lnTo>
                    <a:pt x="564" y="476"/>
                  </a:lnTo>
                  <a:lnTo>
                    <a:pt x="569" y="476"/>
                  </a:lnTo>
                  <a:lnTo>
                    <a:pt x="569" y="475"/>
                  </a:lnTo>
                  <a:lnTo>
                    <a:pt x="572" y="475"/>
                  </a:lnTo>
                  <a:lnTo>
                    <a:pt x="572" y="473"/>
                  </a:lnTo>
                  <a:lnTo>
                    <a:pt x="586" y="471"/>
                  </a:lnTo>
                  <a:lnTo>
                    <a:pt x="588" y="468"/>
                  </a:lnTo>
                  <a:lnTo>
                    <a:pt x="591" y="469"/>
                  </a:lnTo>
                  <a:lnTo>
                    <a:pt x="588" y="471"/>
                  </a:lnTo>
                  <a:lnTo>
                    <a:pt x="591" y="473"/>
                  </a:lnTo>
                  <a:close/>
                  <a:moveTo>
                    <a:pt x="454" y="469"/>
                  </a:moveTo>
                  <a:lnTo>
                    <a:pt x="451" y="473"/>
                  </a:lnTo>
                  <a:lnTo>
                    <a:pt x="456" y="471"/>
                  </a:lnTo>
                  <a:lnTo>
                    <a:pt x="454" y="475"/>
                  </a:lnTo>
                  <a:lnTo>
                    <a:pt x="449" y="476"/>
                  </a:lnTo>
                  <a:lnTo>
                    <a:pt x="448" y="475"/>
                  </a:lnTo>
                  <a:lnTo>
                    <a:pt x="449" y="471"/>
                  </a:lnTo>
                  <a:lnTo>
                    <a:pt x="448" y="471"/>
                  </a:lnTo>
                  <a:lnTo>
                    <a:pt x="446" y="473"/>
                  </a:lnTo>
                  <a:lnTo>
                    <a:pt x="446" y="471"/>
                  </a:lnTo>
                  <a:lnTo>
                    <a:pt x="446" y="475"/>
                  </a:lnTo>
                  <a:lnTo>
                    <a:pt x="439" y="473"/>
                  </a:lnTo>
                  <a:lnTo>
                    <a:pt x="443" y="469"/>
                  </a:lnTo>
                  <a:lnTo>
                    <a:pt x="437" y="471"/>
                  </a:lnTo>
                  <a:lnTo>
                    <a:pt x="436" y="469"/>
                  </a:lnTo>
                  <a:lnTo>
                    <a:pt x="432" y="473"/>
                  </a:lnTo>
                  <a:lnTo>
                    <a:pt x="429" y="461"/>
                  </a:lnTo>
                  <a:lnTo>
                    <a:pt x="431" y="461"/>
                  </a:lnTo>
                  <a:lnTo>
                    <a:pt x="434" y="466"/>
                  </a:lnTo>
                  <a:lnTo>
                    <a:pt x="432" y="459"/>
                  </a:lnTo>
                  <a:lnTo>
                    <a:pt x="436" y="459"/>
                  </a:lnTo>
                  <a:lnTo>
                    <a:pt x="439" y="464"/>
                  </a:lnTo>
                  <a:lnTo>
                    <a:pt x="441" y="461"/>
                  </a:lnTo>
                  <a:lnTo>
                    <a:pt x="441" y="459"/>
                  </a:lnTo>
                  <a:lnTo>
                    <a:pt x="444" y="461"/>
                  </a:lnTo>
                  <a:lnTo>
                    <a:pt x="446" y="459"/>
                  </a:lnTo>
                  <a:lnTo>
                    <a:pt x="449" y="461"/>
                  </a:lnTo>
                  <a:lnTo>
                    <a:pt x="448" y="463"/>
                  </a:lnTo>
                  <a:lnTo>
                    <a:pt x="448" y="468"/>
                  </a:lnTo>
                  <a:lnTo>
                    <a:pt x="451" y="464"/>
                  </a:lnTo>
                  <a:lnTo>
                    <a:pt x="454" y="469"/>
                  </a:lnTo>
                  <a:close/>
                  <a:moveTo>
                    <a:pt x="808" y="707"/>
                  </a:moveTo>
                  <a:lnTo>
                    <a:pt x="805" y="702"/>
                  </a:lnTo>
                  <a:lnTo>
                    <a:pt x="805" y="707"/>
                  </a:lnTo>
                  <a:lnTo>
                    <a:pt x="796" y="710"/>
                  </a:lnTo>
                  <a:lnTo>
                    <a:pt x="789" y="710"/>
                  </a:lnTo>
                  <a:lnTo>
                    <a:pt x="793" y="705"/>
                  </a:lnTo>
                  <a:lnTo>
                    <a:pt x="793" y="704"/>
                  </a:lnTo>
                  <a:lnTo>
                    <a:pt x="795" y="704"/>
                  </a:lnTo>
                  <a:lnTo>
                    <a:pt x="795" y="702"/>
                  </a:lnTo>
                  <a:lnTo>
                    <a:pt x="798" y="702"/>
                  </a:lnTo>
                  <a:lnTo>
                    <a:pt x="796" y="698"/>
                  </a:lnTo>
                  <a:lnTo>
                    <a:pt x="801" y="702"/>
                  </a:lnTo>
                  <a:lnTo>
                    <a:pt x="803" y="700"/>
                  </a:lnTo>
                  <a:lnTo>
                    <a:pt x="800" y="698"/>
                  </a:lnTo>
                  <a:lnTo>
                    <a:pt x="798" y="695"/>
                  </a:lnTo>
                  <a:lnTo>
                    <a:pt x="803" y="695"/>
                  </a:lnTo>
                  <a:lnTo>
                    <a:pt x="798" y="693"/>
                  </a:lnTo>
                  <a:lnTo>
                    <a:pt x="798" y="690"/>
                  </a:lnTo>
                  <a:lnTo>
                    <a:pt x="801" y="673"/>
                  </a:lnTo>
                  <a:lnTo>
                    <a:pt x="805" y="669"/>
                  </a:lnTo>
                  <a:lnTo>
                    <a:pt x="803" y="671"/>
                  </a:lnTo>
                  <a:lnTo>
                    <a:pt x="801" y="666"/>
                  </a:lnTo>
                  <a:lnTo>
                    <a:pt x="803" y="664"/>
                  </a:lnTo>
                  <a:lnTo>
                    <a:pt x="801" y="663"/>
                  </a:lnTo>
                  <a:lnTo>
                    <a:pt x="803" y="659"/>
                  </a:lnTo>
                  <a:lnTo>
                    <a:pt x="805" y="663"/>
                  </a:lnTo>
                  <a:lnTo>
                    <a:pt x="805" y="669"/>
                  </a:lnTo>
                  <a:lnTo>
                    <a:pt x="817" y="675"/>
                  </a:lnTo>
                  <a:lnTo>
                    <a:pt x="815" y="678"/>
                  </a:lnTo>
                  <a:lnTo>
                    <a:pt x="817" y="690"/>
                  </a:lnTo>
                  <a:lnTo>
                    <a:pt x="815" y="695"/>
                  </a:lnTo>
                  <a:lnTo>
                    <a:pt x="817" y="698"/>
                  </a:lnTo>
                  <a:lnTo>
                    <a:pt x="813" y="693"/>
                  </a:lnTo>
                  <a:lnTo>
                    <a:pt x="813" y="678"/>
                  </a:lnTo>
                  <a:lnTo>
                    <a:pt x="815" y="681"/>
                  </a:lnTo>
                  <a:lnTo>
                    <a:pt x="813" y="676"/>
                  </a:lnTo>
                  <a:lnTo>
                    <a:pt x="813" y="678"/>
                  </a:lnTo>
                  <a:lnTo>
                    <a:pt x="812" y="678"/>
                  </a:lnTo>
                  <a:lnTo>
                    <a:pt x="813" y="681"/>
                  </a:lnTo>
                  <a:lnTo>
                    <a:pt x="812" y="680"/>
                  </a:lnTo>
                  <a:lnTo>
                    <a:pt x="810" y="685"/>
                  </a:lnTo>
                  <a:lnTo>
                    <a:pt x="812" y="692"/>
                  </a:lnTo>
                  <a:lnTo>
                    <a:pt x="812" y="693"/>
                  </a:lnTo>
                  <a:lnTo>
                    <a:pt x="813" y="695"/>
                  </a:lnTo>
                  <a:lnTo>
                    <a:pt x="813" y="702"/>
                  </a:lnTo>
                  <a:lnTo>
                    <a:pt x="808" y="698"/>
                  </a:lnTo>
                  <a:lnTo>
                    <a:pt x="810" y="700"/>
                  </a:lnTo>
                  <a:lnTo>
                    <a:pt x="808" y="700"/>
                  </a:lnTo>
                  <a:lnTo>
                    <a:pt x="810" y="702"/>
                  </a:lnTo>
                  <a:lnTo>
                    <a:pt x="812" y="704"/>
                  </a:lnTo>
                  <a:lnTo>
                    <a:pt x="812" y="705"/>
                  </a:lnTo>
                  <a:lnTo>
                    <a:pt x="808" y="707"/>
                  </a:lnTo>
                  <a:close/>
                  <a:moveTo>
                    <a:pt x="812" y="666"/>
                  </a:moveTo>
                  <a:lnTo>
                    <a:pt x="815" y="673"/>
                  </a:lnTo>
                  <a:lnTo>
                    <a:pt x="808" y="668"/>
                  </a:lnTo>
                  <a:lnTo>
                    <a:pt x="808" y="664"/>
                  </a:lnTo>
                  <a:lnTo>
                    <a:pt x="812" y="666"/>
                  </a:lnTo>
                  <a:close/>
                  <a:moveTo>
                    <a:pt x="777" y="664"/>
                  </a:moveTo>
                  <a:lnTo>
                    <a:pt x="786" y="676"/>
                  </a:lnTo>
                  <a:lnTo>
                    <a:pt x="786" y="678"/>
                  </a:lnTo>
                  <a:lnTo>
                    <a:pt x="784" y="680"/>
                  </a:lnTo>
                  <a:lnTo>
                    <a:pt x="795" y="681"/>
                  </a:lnTo>
                  <a:lnTo>
                    <a:pt x="793" y="692"/>
                  </a:lnTo>
                  <a:lnTo>
                    <a:pt x="788" y="692"/>
                  </a:lnTo>
                  <a:lnTo>
                    <a:pt x="776" y="673"/>
                  </a:lnTo>
                  <a:lnTo>
                    <a:pt x="776" y="678"/>
                  </a:lnTo>
                  <a:lnTo>
                    <a:pt x="774" y="678"/>
                  </a:lnTo>
                  <a:lnTo>
                    <a:pt x="777" y="681"/>
                  </a:lnTo>
                  <a:lnTo>
                    <a:pt x="776" y="681"/>
                  </a:lnTo>
                  <a:lnTo>
                    <a:pt x="777" y="683"/>
                  </a:lnTo>
                  <a:lnTo>
                    <a:pt x="776" y="686"/>
                  </a:lnTo>
                  <a:lnTo>
                    <a:pt x="772" y="688"/>
                  </a:lnTo>
                  <a:lnTo>
                    <a:pt x="769" y="686"/>
                  </a:lnTo>
                  <a:lnTo>
                    <a:pt x="767" y="680"/>
                  </a:lnTo>
                  <a:lnTo>
                    <a:pt x="771" y="685"/>
                  </a:lnTo>
                  <a:lnTo>
                    <a:pt x="767" y="676"/>
                  </a:lnTo>
                  <a:lnTo>
                    <a:pt x="771" y="676"/>
                  </a:lnTo>
                  <a:lnTo>
                    <a:pt x="767" y="675"/>
                  </a:lnTo>
                  <a:lnTo>
                    <a:pt x="769" y="673"/>
                  </a:lnTo>
                  <a:lnTo>
                    <a:pt x="767" y="668"/>
                  </a:lnTo>
                  <a:lnTo>
                    <a:pt x="764" y="666"/>
                  </a:lnTo>
                  <a:lnTo>
                    <a:pt x="764" y="664"/>
                  </a:lnTo>
                  <a:lnTo>
                    <a:pt x="767" y="661"/>
                  </a:lnTo>
                  <a:lnTo>
                    <a:pt x="772" y="668"/>
                  </a:lnTo>
                  <a:lnTo>
                    <a:pt x="767" y="656"/>
                  </a:lnTo>
                  <a:lnTo>
                    <a:pt x="771" y="657"/>
                  </a:lnTo>
                  <a:lnTo>
                    <a:pt x="771" y="652"/>
                  </a:lnTo>
                  <a:lnTo>
                    <a:pt x="772" y="652"/>
                  </a:lnTo>
                  <a:lnTo>
                    <a:pt x="772" y="659"/>
                  </a:lnTo>
                  <a:lnTo>
                    <a:pt x="774" y="661"/>
                  </a:lnTo>
                  <a:lnTo>
                    <a:pt x="774" y="656"/>
                  </a:lnTo>
                  <a:lnTo>
                    <a:pt x="776" y="654"/>
                  </a:lnTo>
                  <a:lnTo>
                    <a:pt x="777" y="657"/>
                  </a:lnTo>
                  <a:lnTo>
                    <a:pt x="784" y="656"/>
                  </a:lnTo>
                  <a:lnTo>
                    <a:pt x="788" y="663"/>
                  </a:lnTo>
                  <a:lnTo>
                    <a:pt x="784" y="666"/>
                  </a:lnTo>
                  <a:lnTo>
                    <a:pt x="781" y="664"/>
                  </a:lnTo>
                  <a:lnTo>
                    <a:pt x="783" y="666"/>
                  </a:lnTo>
                  <a:lnTo>
                    <a:pt x="779" y="666"/>
                  </a:lnTo>
                  <a:lnTo>
                    <a:pt x="783" y="668"/>
                  </a:lnTo>
                  <a:lnTo>
                    <a:pt x="789" y="664"/>
                  </a:lnTo>
                  <a:lnTo>
                    <a:pt x="798" y="671"/>
                  </a:lnTo>
                  <a:lnTo>
                    <a:pt x="798" y="676"/>
                  </a:lnTo>
                  <a:lnTo>
                    <a:pt x="795" y="676"/>
                  </a:lnTo>
                  <a:lnTo>
                    <a:pt x="796" y="680"/>
                  </a:lnTo>
                  <a:lnTo>
                    <a:pt x="791" y="673"/>
                  </a:lnTo>
                  <a:lnTo>
                    <a:pt x="795" y="680"/>
                  </a:lnTo>
                  <a:lnTo>
                    <a:pt x="793" y="680"/>
                  </a:lnTo>
                  <a:lnTo>
                    <a:pt x="788" y="678"/>
                  </a:lnTo>
                  <a:lnTo>
                    <a:pt x="777" y="664"/>
                  </a:lnTo>
                  <a:close/>
                  <a:moveTo>
                    <a:pt x="403" y="490"/>
                  </a:moveTo>
                  <a:lnTo>
                    <a:pt x="401" y="492"/>
                  </a:lnTo>
                  <a:lnTo>
                    <a:pt x="401" y="488"/>
                  </a:lnTo>
                  <a:lnTo>
                    <a:pt x="400" y="492"/>
                  </a:lnTo>
                  <a:lnTo>
                    <a:pt x="395" y="488"/>
                  </a:lnTo>
                  <a:lnTo>
                    <a:pt x="396" y="492"/>
                  </a:lnTo>
                  <a:lnTo>
                    <a:pt x="395" y="492"/>
                  </a:lnTo>
                  <a:lnTo>
                    <a:pt x="396" y="493"/>
                  </a:lnTo>
                  <a:lnTo>
                    <a:pt x="395" y="495"/>
                  </a:lnTo>
                  <a:lnTo>
                    <a:pt x="393" y="492"/>
                  </a:lnTo>
                  <a:lnTo>
                    <a:pt x="390" y="493"/>
                  </a:lnTo>
                  <a:lnTo>
                    <a:pt x="391" y="495"/>
                  </a:lnTo>
                  <a:lnTo>
                    <a:pt x="383" y="495"/>
                  </a:lnTo>
                  <a:lnTo>
                    <a:pt x="379" y="493"/>
                  </a:lnTo>
                  <a:lnTo>
                    <a:pt x="393" y="490"/>
                  </a:lnTo>
                  <a:lnTo>
                    <a:pt x="390" y="488"/>
                  </a:lnTo>
                  <a:lnTo>
                    <a:pt x="396" y="487"/>
                  </a:lnTo>
                  <a:lnTo>
                    <a:pt x="395" y="485"/>
                  </a:lnTo>
                  <a:lnTo>
                    <a:pt x="386" y="487"/>
                  </a:lnTo>
                  <a:lnTo>
                    <a:pt x="388" y="485"/>
                  </a:lnTo>
                  <a:lnTo>
                    <a:pt x="391" y="485"/>
                  </a:lnTo>
                  <a:lnTo>
                    <a:pt x="383" y="476"/>
                  </a:lnTo>
                  <a:lnTo>
                    <a:pt x="381" y="478"/>
                  </a:lnTo>
                  <a:lnTo>
                    <a:pt x="381" y="480"/>
                  </a:lnTo>
                  <a:lnTo>
                    <a:pt x="386" y="480"/>
                  </a:lnTo>
                  <a:lnTo>
                    <a:pt x="390" y="481"/>
                  </a:lnTo>
                  <a:lnTo>
                    <a:pt x="384" y="487"/>
                  </a:lnTo>
                  <a:lnTo>
                    <a:pt x="381" y="487"/>
                  </a:lnTo>
                  <a:lnTo>
                    <a:pt x="379" y="488"/>
                  </a:lnTo>
                  <a:lnTo>
                    <a:pt x="381" y="488"/>
                  </a:lnTo>
                  <a:lnTo>
                    <a:pt x="379" y="488"/>
                  </a:lnTo>
                  <a:lnTo>
                    <a:pt x="381" y="485"/>
                  </a:lnTo>
                  <a:lnTo>
                    <a:pt x="378" y="480"/>
                  </a:lnTo>
                  <a:lnTo>
                    <a:pt x="381" y="475"/>
                  </a:lnTo>
                  <a:lnTo>
                    <a:pt x="383" y="471"/>
                  </a:lnTo>
                  <a:lnTo>
                    <a:pt x="379" y="468"/>
                  </a:lnTo>
                  <a:lnTo>
                    <a:pt x="381" y="468"/>
                  </a:lnTo>
                  <a:lnTo>
                    <a:pt x="379" y="466"/>
                  </a:lnTo>
                  <a:lnTo>
                    <a:pt x="383" y="468"/>
                  </a:lnTo>
                  <a:lnTo>
                    <a:pt x="383" y="464"/>
                  </a:lnTo>
                  <a:lnTo>
                    <a:pt x="390" y="463"/>
                  </a:lnTo>
                  <a:lnTo>
                    <a:pt x="390" y="464"/>
                  </a:lnTo>
                  <a:lnTo>
                    <a:pt x="391" y="463"/>
                  </a:lnTo>
                  <a:lnTo>
                    <a:pt x="393" y="464"/>
                  </a:lnTo>
                  <a:lnTo>
                    <a:pt x="393" y="463"/>
                  </a:lnTo>
                  <a:lnTo>
                    <a:pt x="396" y="463"/>
                  </a:lnTo>
                  <a:lnTo>
                    <a:pt x="398" y="464"/>
                  </a:lnTo>
                  <a:lnTo>
                    <a:pt x="401" y="468"/>
                  </a:lnTo>
                  <a:lnTo>
                    <a:pt x="401" y="469"/>
                  </a:lnTo>
                  <a:lnTo>
                    <a:pt x="398" y="469"/>
                  </a:lnTo>
                  <a:lnTo>
                    <a:pt x="401" y="471"/>
                  </a:lnTo>
                  <a:lnTo>
                    <a:pt x="400" y="476"/>
                  </a:lnTo>
                  <a:lnTo>
                    <a:pt x="401" y="483"/>
                  </a:lnTo>
                  <a:lnTo>
                    <a:pt x="401" y="478"/>
                  </a:lnTo>
                  <a:lnTo>
                    <a:pt x="403" y="471"/>
                  </a:lnTo>
                  <a:lnTo>
                    <a:pt x="407" y="475"/>
                  </a:lnTo>
                  <a:lnTo>
                    <a:pt x="405" y="469"/>
                  </a:lnTo>
                  <a:lnTo>
                    <a:pt x="410" y="475"/>
                  </a:lnTo>
                  <a:lnTo>
                    <a:pt x="405" y="466"/>
                  </a:lnTo>
                  <a:lnTo>
                    <a:pt x="407" y="463"/>
                  </a:lnTo>
                  <a:lnTo>
                    <a:pt x="415" y="464"/>
                  </a:lnTo>
                  <a:lnTo>
                    <a:pt x="412" y="475"/>
                  </a:lnTo>
                  <a:lnTo>
                    <a:pt x="413" y="471"/>
                  </a:lnTo>
                  <a:lnTo>
                    <a:pt x="415" y="473"/>
                  </a:lnTo>
                  <a:lnTo>
                    <a:pt x="415" y="469"/>
                  </a:lnTo>
                  <a:lnTo>
                    <a:pt x="417" y="475"/>
                  </a:lnTo>
                  <a:lnTo>
                    <a:pt x="417" y="468"/>
                  </a:lnTo>
                  <a:lnTo>
                    <a:pt x="420" y="473"/>
                  </a:lnTo>
                  <a:lnTo>
                    <a:pt x="419" y="476"/>
                  </a:lnTo>
                  <a:lnTo>
                    <a:pt x="422" y="469"/>
                  </a:lnTo>
                  <a:lnTo>
                    <a:pt x="425" y="475"/>
                  </a:lnTo>
                  <a:lnTo>
                    <a:pt x="424" y="466"/>
                  </a:lnTo>
                  <a:lnTo>
                    <a:pt x="431" y="475"/>
                  </a:lnTo>
                  <a:lnTo>
                    <a:pt x="427" y="476"/>
                  </a:lnTo>
                  <a:lnTo>
                    <a:pt x="425" y="480"/>
                  </a:lnTo>
                  <a:lnTo>
                    <a:pt x="429" y="476"/>
                  </a:lnTo>
                  <a:lnTo>
                    <a:pt x="434" y="480"/>
                  </a:lnTo>
                  <a:lnTo>
                    <a:pt x="436" y="476"/>
                  </a:lnTo>
                  <a:lnTo>
                    <a:pt x="437" y="485"/>
                  </a:lnTo>
                  <a:lnTo>
                    <a:pt x="432" y="485"/>
                  </a:lnTo>
                  <a:lnTo>
                    <a:pt x="434" y="485"/>
                  </a:lnTo>
                  <a:lnTo>
                    <a:pt x="432" y="487"/>
                  </a:lnTo>
                  <a:lnTo>
                    <a:pt x="434" y="487"/>
                  </a:lnTo>
                  <a:lnTo>
                    <a:pt x="432" y="490"/>
                  </a:lnTo>
                  <a:lnTo>
                    <a:pt x="437" y="493"/>
                  </a:lnTo>
                  <a:lnTo>
                    <a:pt x="429" y="497"/>
                  </a:lnTo>
                  <a:lnTo>
                    <a:pt x="420" y="485"/>
                  </a:lnTo>
                  <a:lnTo>
                    <a:pt x="420" y="487"/>
                  </a:lnTo>
                  <a:lnTo>
                    <a:pt x="417" y="487"/>
                  </a:lnTo>
                  <a:lnTo>
                    <a:pt x="422" y="488"/>
                  </a:lnTo>
                  <a:lnTo>
                    <a:pt x="424" y="493"/>
                  </a:lnTo>
                  <a:lnTo>
                    <a:pt x="422" y="495"/>
                  </a:lnTo>
                  <a:lnTo>
                    <a:pt x="417" y="495"/>
                  </a:lnTo>
                  <a:lnTo>
                    <a:pt x="417" y="492"/>
                  </a:lnTo>
                  <a:lnTo>
                    <a:pt x="412" y="488"/>
                  </a:lnTo>
                  <a:lnTo>
                    <a:pt x="410" y="488"/>
                  </a:lnTo>
                  <a:lnTo>
                    <a:pt x="413" y="493"/>
                  </a:lnTo>
                  <a:lnTo>
                    <a:pt x="405" y="488"/>
                  </a:lnTo>
                  <a:lnTo>
                    <a:pt x="403" y="490"/>
                  </a:lnTo>
                  <a:close/>
                  <a:moveTo>
                    <a:pt x="776" y="739"/>
                  </a:moveTo>
                  <a:lnTo>
                    <a:pt x="772" y="724"/>
                  </a:lnTo>
                  <a:lnTo>
                    <a:pt x="779" y="719"/>
                  </a:lnTo>
                  <a:lnTo>
                    <a:pt x="776" y="721"/>
                  </a:lnTo>
                  <a:lnTo>
                    <a:pt x="779" y="717"/>
                  </a:lnTo>
                  <a:lnTo>
                    <a:pt x="777" y="717"/>
                  </a:lnTo>
                  <a:lnTo>
                    <a:pt x="772" y="721"/>
                  </a:lnTo>
                  <a:lnTo>
                    <a:pt x="774" y="717"/>
                  </a:lnTo>
                  <a:lnTo>
                    <a:pt x="777" y="716"/>
                  </a:lnTo>
                  <a:lnTo>
                    <a:pt x="772" y="717"/>
                  </a:lnTo>
                  <a:lnTo>
                    <a:pt x="776" y="712"/>
                  </a:lnTo>
                  <a:lnTo>
                    <a:pt x="772" y="712"/>
                  </a:lnTo>
                  <a:lnTo>
                    <a:pt x="771" y="709"/>
                  </a:lnTo>
                  <a:lnTo>
                    <a:pt x="774" y="709"/>
                  </a:lnTo>
                  <a:lnTo>
                    <a:pt x="774" y="705"/>
                  </a:lnTo>
                  <a:lnTo>
                    <a:pt x="779" y="705"/>
                  </a:lnTo>
                  <a:lnTo>
                    <a:pt x="774" y="700"/>
                  </a:lnTo>
                  <a:lnTo>
                    <a:pt x="776" y="698"/>
                  </a:lnTo>
                  <a:lnTo>
                    <a:pt x="777" y="698"/>
                  </a:lnTo>
                  <a:lnTo>
                    <a:pt x="774" y="698"/>
                  </a:lnTo>
                  <a:lnTo>
                    <a:pt x="777" y="695"/>
                  </a:lnTo>
                  <a:lnTo>
                    <a:pt x="774" y="693"/>
                  </a:lnTo>
                  <a:lnTo>
                    <a:pt x="772" y="688"/>
                  </a:lnTo>
                  <a:lnTo>
                    <a:pt x="776" y="690"/>
                  </a:lnTo>
                  <a:lnTo>
                    <a:pt x="774" y="688"/>
                  </a:lnTo>
                  <a:lnTo>
                    <a:pt x="777" y="686"/>
                  </a:lnTo>
                  <a:lnTo>
                    <a:pt x="777" y="685"/>
                  </a:lnTo>
                  <a:lnTo>
                    <a:pt x="783" y="686"/>
                  </a:lnTo>
                  <a:lnTo>
                    <a:pt x="779" y="688"/>
                  </a:lnTo>
                  <a:lnTo>
                    <a:pt x="784" y="688"/>
                  </a:lnTo>
                  <a:lnTo>
                    <a:pt x="784" y="690"/>
                  </a:lnTo>
                  <a:lnTo>
                    <a:pt x="788" y="693"/>
                  </a:lnTo>
                  <a:lnTo>
                    <a:pt x="788" y="697"/>
                  </a:lnTo>
                  <a:lnTo>
                    <a:pt x="786" y="695"/>
                  </a:lnTo>
                  <a:lnTo>
                    <a:pt x="788" y="697"/>
                  </a:lnTo>
                  <a:lnTo>
                    <a:pt x="786" y="697"/>
                  </a:lnTo>
                  <a:lnTo>
                    <a:pt x="789" y="700"/>
                  </a:lnTo>
                  <a:lnTo>
                    <a:pt x="786" y="721"/>
                  </a:lnTo>
                  <a:lnTo>
                    <a:pt x="776" y="739"/>
                  </a:lnTo>
                  <a:close/>
                  <a:moveTo>
                    <a:pt x="771" y="690"/>
                  </a:moveTo>
                  <a:lnTo>
                    <a:pt x="772" y="693"/>
                  </a:lnTo>
                  <a:lnTo>
                    <a:pt x="771" y="693"/>
                  </a:lnTo>
                  <a:lnTo>
                    <a:pt x="772" y="697"/>
                  </a:lnTo>
                  <a:lnTo>
                    <a:pt x="767" y="702"/>
                  </a:lnTo>
                  <a:lnTo>
                    <a:pt x="764" y="700"/>
                  </a:lnTo>
                  <a:lnTo>
                    <a:pt x="766" y="697"/>
                  </a:lnTo>
                  <a:lnTo>
                    <a:pt x="769" y="695"/>
                  </a:lnTo>
                  <a:lnTo>
                    <a:pt x="766" y="693"/>
                  </a:lnTo>
                  <a:lnTo>
                    <a:pt x="767" y="688"/>
                  </a:lnTo>
                  <a:lnTo>
                    <a:pt x="771" y="690"/>
                  </a:lnTo>
                  <a:close/>
                  <a:moveTo>
                    <a:pt x="824" y="726"/>
                  </a:moveTo>
                  <a:lnTo>
                    <a:pt x="825" y="731"/>
                  </a:lnTo>
                  <a:lnTo>
                    <a:pt x="822" y="733"/>
                  </a:lnTo>
                  <a:lnTo>
                    <a:pt x="822" y="739"/>
                  </a:lnTo>
                  <a:lnTo>
                    <a:pt x="819" y="739"/>
                  </a:lnTo>
                  <a:lnTo>
                    <a:pt x="815" y="728"/>
                  </a:lnTo>
                  <a:lnTo>
                    <a:pt x="815" y="733"/>
                  </a:lnTo>
                  <a:lnTo>
                    <a:pt x="817" y="734"/>
                  </a:lnTo>
                  <a:lnTo>
                    <a:pt x="815" y="736"/>
                  </a:lnTo>
                  <a:lnTo>
                    <a:pt x="817" y="738"/>
                  </a:lnTo>
                  <a:lnTo>
                    <a:pt x="815" y="738"/>
                  </a:lnTo>
                  <a:lnTo>
                    <a:pt x="817" y="741"/>
                  </a:lnTo>
                  <a:lnTo>
                    <a:pt x="813" y="743"/>
                  </a:lnTo>
                  <a:lnTo>
                    <a:pt x="808" y="739"/>
                  </a:lnTo>
                  <a:lnTo>
                    <a:pt x="808" y="741"/>
                  </a:lnTo>
                  <a:lnTo>
                    <a:pt x="805" y="741"/>
                  </a:lnTo>
                  <a:lnTo>
                    <a:pt x="803" y="739"/>
                  </a:lnTo>
                  <a:lnTo>
                    <a:pt x="805" y="734"/>
                  </a:lnTo>
                  <a:lnTo>
                    <a:pt x="803" y="734"/>
                  </a:lnTo>
                  <a:lnTo>
                    <a:pt x="805" y="734"/>
                  </a:lnTo>
                  <a:lnTo>
                    <a:pt x="805" y="731"/>
                  </a:lnTo>
                  <a:lnTo>
                    <a:pt x="808" y="724"/>
                  </a:lnTo>
                  <a:lnTo>
                    <a:pt x="805" y="726"/>
                  </a:lnTo>
                  <a:lnTo>
                    <a:pt x="805" y="721"/>
                  </a:lnTo>
                  <a:lnTo>
                    <a:pt x="808" y="722"/>
                  </a:lnTo>
                  <a:lnTo>
                    <a:pt x="803" y="716"/>
                  </a:lnTo>
                  <a:lnTo>
                    <a:pt x="807" y="716"/>
                  </a:lnTo>
                  <a:lnTo>
                    <a:pt x="819" y="722"/>
                  </a:lnTo>
                  <a:lnTo>
                    <a:pt x="819" y="726"/>
                  </a:lnTo>
                  <a:lnTo>
                    <a:pt x="819" y="722"/>
                  </a:lnTo>
                  <a:lnTo>
                    <a:pt x="824" y="726"/>
                  </a:lnTo>
                  <a:close/>
                  <a:moveTo>
                    <a:pt x="791" y="750"/>
                  </a:moveTo>
                  <a:lnTo>
                    <a:pt x="789" y="748"/>
                  </a:lnTo>
                  <a:lnTo>
                    <a:pt x="791" y="739"/>
                  </a:lnTo>
                  <a:lnTo>
                    <a:pt x="789" y="745"/>
                  </a:lnTo>
                  <a:lnTo>
                    <a:pt x="788" y="745"/>
                  </a:lnTo>
                  <a:lnTo>
                    <a:pt x="788" y="746"/>
                  </a:lnTo>
                  <a:lnTo>
                    <a:pt x="786" y="751"/>
                  </a:lnTo>
                  <a:lnTo>
                    <a:pt x="784" y="748"/>
                  </a:lnTo>
                  <a:lnTo>
                    <a:pt x="786" y="745"/>
                  </a:lnTo>
                  <a:lnTo>
                    <a:pt x="786" y="739"/>
                  </a:lnTo>
                  <a:lnTo>
                    <a:pt x="789" y="739"/>
                  </a:lnTo>
                  <a:lnTo>
                    <a:pt x="786" y="739"/>
                  </a:lnTo>
                  <a:lnTo>
                    <a:pt x="788" y="736"/>
                  </a:lnTo>
                  <a:lnTo>
                    <a:pt x="791" y="734"/>
                  </a:lnTo>
                  <a:lnTo>
                    <a:pt x="791" y="738"/>
                  </a:lnTo>
                  <a:lnTo>
                    <a:pt x="793" y="736"/>
                  </a:lnTo>
                  <a:lnTo>
                    <a:pt x="793" y="738"/>
                  </a:lnTo>
                  <a:lnTo>
                    <a:pt x="795" y="734"/>
                  </a:lnTo>
                  <a:lnTo>
                    <a:pt x="795" y="731"/>
                  </a:lnTo>
                  <a:lnTo>
                    <a:pt x="793" y="733"/>
                  </a:lnTo>
                  <a:lnTo>
                    <a:pt x="789" y="729"/>
                  </a:lnTo>
                  <a:lnTo>
                    <a:pt x="796" y="728"/>
                  </a:lnTo>
                  <a:lnTo>
                    <a:pt x="791" y="728"/>
                  </a:lnTo>
                  <a:lnTo>
                    <a:pt x="795" y="726"/>
                  </a:lnTo>
                  <a:lnTo>
                    <a:pt x="791" y="726"/>
                  </a:lnTo>
                  <a:lnTo>
                    <a:pt x="791" y="722"/>
                  </a:lnTo>
                  <a:lnTo>
                    <a:pt x="793" y="717"/>
                  </a:lnTo>
                  <a:lnTo>
                    <a:pt x="795" y="721"/>
                  </a:lnTo>
                  <a:lnTo>
                    <a:pt x="795" y="717"/>
                  </a:lnTo>
                  <a:lnTo>
                    <a:pt x="798" y="721"/>
                  </a:lnTo>
                  <a:lnTo>
                    <a:pt x="796" y="716"/>
                  </a:lnTo>
                  <a:lnTo>
                    <a:pt x="801" y="721"/>
                  </a:lnTo>
                  <a:lnTo>
                    <a:pt x="801" y="724"/>
                  </a:lnTo>
                  <a:lnTo>
                    <a:pt x="801" y="728"/>
                  </a:lnTo>
                  <a:lnTo>
                    <a:pt x="798" y="729"/>
                  </a:lnTo>
                  <a:lnTo>
                    <a:pt x="801" y="728"/>
                  </a:lnTo>
                  <a:lnTo>
                    <a:pt x="803" y="724"/>
                  </a:lnTo>
                  <a:lnTo>
                    <a:pt x="807" y="728"/>
                  </a:lnTo>
                  <a:lnTo>
                    <a:pt x="803" y="729"/>
                  </a:lnTo>
                  <a:lnTo>
                    <a:pt x="805" y="733"/>
                  </a:lnTo>
                  <a:lnTo>
                    <a:pt x="803" y="734"/>
                  </a:lnTo>
                  <a:lnTo>
                    <a:pt x="800" y="731"/>
                  </a:lnTo>
                  <a:lnTo>
                    <a:pt x="800" y="733"/>
                  </a:lnTo>
                  <a:lnTo>
                    <a:pt x="798" y="734"/>
                  </a:lnTo>
                  <a:lnTo>
                    <a:pt x="798" y="738"/>
                  </a:lnTo>
                  <a:lnTo>
                    <a:pt x="796" y="738"/>
                  </a:lnTo>
                  <a:lnTo>
                    <a:pt x="796" y="743"/>
                  </a:lnTo>
                  <a:lnTo>
                    <a:pt x="795" y="739"/>
                  </a:lnTo>
                  <a:lnTo>
                    <a:pt x="793" y="743"/>
                  </a:lnTo>
                  <a:lnTo>
                    <a:pt x="795" y="745"/>
                  </a:lnTo>
                  <a:lnTo>
                    <a:pt x="793" y="745"/>
                  </a:lnTo>
                  <a:lnTo>
                    <a:pt x="791" y="750"/>
                  </a:lnTo>
                  <a:close/>
                  <a:moveTo>
                    <a:pt x="827" y="734"/>
                  </a:moveTo>
                  <a:lnTo>
                    <a:pt x="829" y="745"/>
                  </a:lnTo>
                  <a:lnTo>
                    <a:pt x="824" y="743"/>
                  </a:lnTo>
                  <a:lnTo>
                    <a:pt x="824" y="746"/>
                  </a:lnTo>
                  <a:lnTo>
                    <a:pt x="820" y="743"/>
                  </a:lnTo>
                  <a:lnTo>
                    <a:pt x="820" y="741"/>
                  </a:lnTo>
                  <a:lnTo>
                    <a:pt x="822" y="739"/>
                  </a:lnTo>
                  <a:lnTo>
                    <a:pt x="824" y="733"/>
                  </a:lnTo>
                  <a:lnTo>
                    <a:pt x="827" y="734"/>
                  </a:lnTo>
                  <a:close/>
                  <a:moveTo>
                    <a:pt x="832" y="750"/>
                  </a:moveTo>
                  <a:lnTo>
                    <a:pt x="834" y="757"/>
                  </a:lnTo>
                  <a:lnTo>
                    <a:pt x="837" y="758"/>
                  </a:lnTo>
                  <a:lnTo>
                    <a:pt x="837" y="763"/>
                  </a:lnTo>
                  <a:lnTo>
                    <a:pt x="834" y="765"/>
                  </a:lnTo>
                  <a:lnTo>
                    <a:pt x="829" y="758"/>
                  </a:lnTo>
                  <a:lnTo>
                    <a:pt x="829" y="757"/>
                  </a:lnTo>
                  <a:lnTo>
                    <a:pt x="832" y="750"/>
                  </a:lnTo>
                  <a:close/>
                  <a:moveTo>
                    <a:pt x="824" y="748"/>
                  </a:moveTo>
                  <a:lnTo>
                    <a:pt x="825" y="750"/>
                  </a:lnTo>
                  <a:lnTo>
                    <a:pt x="822" y="755"/>
                  </a:lnTo>
                  <a:lnTo>
                    <a:pt x="817" y="755"/>
                  </a:lnTo>
                  <a:lnTo>
                    <a:pt x="815" y="748"/>
                  </a:lnTo>
                  <a:lnTo>
                    <a:pt x="819" y="746"/>
                  </a:lnTo>
                  <a:lnTo>
                    <a:pt x="824" y="748"/>
                  </a:lnTo>
                  <a:close/>
                  <a:moveTo>
                    <a:pt x="815" y="784"/>
                  </a:moveTo>
                  <a:lnTo>
                    <a:pt x="819" y="787"/>
                  </a:lnTo>
                  <a:lnTo>
                    <a:pt x="813" y="787"/>
                  </a:lnTo>
                  <a:lnTo>
                    <a:pt x="819" y="789"/>
                  </a:lnTo>
                  <a:lnTo>
                    <a:pt x="820" y="791"/>
                  </a:lnTo>
                  <a:lnTo>
                    <a:pt x="820" y="796"/>
                  </a:lnTo>
                  <a:lnTo>
                    <a:pt x="817" y="794"/>
                  </a:lnTo>
                  <a:lnTo>
                    <a:pt x="817" y="798"/>
                  </a:lnTo>
                  <a:lnTo>
                    <a:pt x="820" y="798"/>
                  </a:lnTo>
                  <a:lnTo>
                    <a:pt x="822" y="796"/>
                  </a:lnTo>
                  <a:lnTo>
                    <a:pt x="822" y="798"/>
                  </a:lnTo>
                  <a:lnTo>
                    <a:pt x="820" y="803"/>
                  </a:lnTo>
                  <a:lnTo>
                    <a:pt x="819" y="801"/>
                  </a:lnTo>
                  <a:lnTo>
                    <a:pt x="819" y="804"/>
                  </a:lnTo>
                  <a:lnTo>
                    <a:pt x="813" y="804"/>
                  </a:lnTo>
                  <a:lnTo>
                    <a:pt x="820" y="804"/>
                  </a:lnTo>
                  <a:lnTo>
                    <a:pt x="819" y="806"/>
                  </a:lnTo>
                  <a:lnTo>
                    <a:pt x="819" y="810"/>
                  </a:lnTo>
                  <a:lnTo>
                    <a:pt x="817" y="810"/>
                  </a:lnTo>
                  <a:lnTo>
                    <a:pt x="817" y="815"/>
                  </a:lnTo>
                  <a:lnTo>
                    <a:pt x="815" y="813"/>
                  </a:lnTo>
                  <a:lnTo>
                    <a:pt x="815" y="816"/>
                  </a:lnTo>
                  <a:lnTo>
                    <a:pt x="808" y="813"/>
                  </a:lnTo>
                  <a:lnTo>
                    <a:pt x="812" y="811"/>
                  </a:lnTo>
                  <a:lnTo>
                    <a:pt x="808" y="810"/>
                  </a:lnTo>
                  <a:lnTo>
                    <a:pt x="810" y="810"/>
                  </a:lnTo>
                  <a:lnTo>
                    <a:pt x="808" y="804"/>
                  </a:lnTo>
                  <a:lnTo>
                    <a:pt x="810" y="801"/>
                  </a:lnTo>
                  <a:lnTo>
                    <a:pt x="807" y="804"/>
                  </a:lnTo>
                  <a:lnTo>
                    <a:pt x="808" y="803"/>
                  </a:lnTo>
                  <a:lnTo>
                    <a:pt x="807" y="803"/>
                  </a:lnTo>
                  <a:lnTo>
                    <a:pt x="805" y="801"/>
                  </a:lnTo>
                  <a:lnTo>
                    <a:pt x="807" y="801"/>
                  </a:lnTo>
                  <a:lnTo>
                    <a:pt x="807" y="799"/>
                  </a:lnTo>
                  <a:lnTo>
                    <a:pt x="808" y="799"/>
                  </a:lnTo>
                  <a:lnTo>
                    <a:pt x="808" y="796"/>
                  </a:lnTo>
                  <a:lnTo>
                    <a:pt x="807" y="798"/>
                  </a:lnTo>
                  <a:lnTo>
                    <a:pt x="808" y="794"/>
                  </a:lnTo>
                  <a:lnTo>
                    <a:pt x="808" y="791"/>
                  </a:lnTo>
                  <a:lnTo>
                    <a:pt x="807" y="794"/>
                  </a:lnTo>
                  <a:lnTo>
                    <a:pt x="805" y="794"/>
                  </a:lnTo>
                  <a:lnTo>
                    <a:pt x="803" y="792"/>
                  </a:lnTo>
                  <a:lnTo>
                    <a:pt x="805" y="789"/>
                  </a:lnTo>
                  <a:lnTo>
                    <a:pt x="800" y="789"/>
                  </a:lnTo>
                  <a:lnTo>
                    <a:pt x="803" y="787"/>
                  </a:lnTo>
                  <a:lnTo>
                    <a:pt x="795" y="784"/>
                  </a:lnTo>
                  <a:lnTo>
                    <a:pt x="795" y="782"/>
                  </a:lnTo>
                  <a:lnTo>
                    <a:pt x="798" y="780"/>
                  </a:lnTo>
                  <a:lnTo>
                    <a:pt x="805" y="786"/>
                  </a:lnTo>
                  <a:lnTo>
                    <a:pt x="801" y="784"/>
                  </a:lnTo>
                  <a:lnTo>
                    <a:pt x="801" y="780"/>
                  </a:lnTo>
                  <a:lnTo>
                    <a:pt x="803" y="780"/>
                  </a:lnTo>
                  <a:lnTo>
                    <a:pt x="800" y="779"/>
                  </a:lnTo>
                  <a:lnTo>
                    <a:pt x="803" y="775"/>
                  </a:lnTo>
                  <a:lnTo>
                    <a:pt x="807" y="775"/>
                  </a:lnTo>
                  <a:lnTo>
                    <a:pt x="798" y="774"/>
                  </a:lnTo>
                  <a:lnTo>
                    <a:pt x="796" y="772"/>
                  </a:lnTo>
                  <a:lnTo>
                    <a:pt x="798" y="767"/>
                  </a:lnTo>
                  <a:lnTo>
                    <a:pt x="801" y="769"/>
                  </a:lnTo>
                  <a:lnTo>
                    <a:pt x="807" y="763"/>
                  </a:lnTo>
                  <a:lnTo>
                    <a:pt x="803" y="762"/>
                  </a:lnTo>
                  <a:lnTo>
                    <a:pt x="807" y="753"/>
                  </a:lnTo>
                  <a:lnTo>
                    <a:pt x="800" y="748"/>
                  </a:lnTo>
                  <a:lnTo>
                    <a:pt x="801" y="745"/>
                  </a:lnTo>
                  <a:lnTo>
                    <a:pt x="803" y="745"/>
                  </a:lnTo>
                  <a:lnTo>
                    <a:pt x="801" y="743"/>
                  </a:lnTo>
                  <a:lnTo>
                    <a:pt x="808" y="746"/>
                  </a:lnTo>
                  <a:lnTo>
                    <a:pt x="808" y="748"/>
                  </a:lnTo>
                  <a:lnTo>
                    <a:pt x="812" y="748"/>
                  </a:lnTo>
                  <a:lnTo>
                    <a:pt x="813" y="751"/>
                  </a:lnTo>
                  <a:lnTo>
                    <a:pt x="813" y="755"/>
                  </a:lnTo>
                  <a:lnTo>
                    <a:pt x="810" y="755"/>
                  </a:lnTo>
                  <a:lnTo>
                    <a:pt x="810" y="758"/>
                  </a:lnTo>
                  <a:lnTo>
                    <a:pt x="817" y="763"/>
                  </a:lnTo>
                  <a:lnTo>
                    <a:pt x="819" y="772"/>
                  </a:lnTo>
                  <a:lnTo>
                    <a:pt x="819" y="779"/>
                  </a:lnTo>
                  <a:lnTo>
                    <a:pt x="820" y="779"/>
                  </a:lnTo>
                  <a:lnTo>
                    <a:pt x="820" y="784"/>
                  </a:lnTo>
                  <a:lnTo>
                    <a:pt x="822" y="787"/>
                  </a:lnTo>
                  <a:lnTo>
                    <a:pt x="822" y="789"/>
                  </a:lnTo>
                  <a:lnTo>
                    <a:pt x="815" y="779"/>
                  </a:lnTo>
                  <a:lnTo>
                    <a:pt x="813" y="780"/>
                  </a:lnTo>
                  <a:lnTo>
                    <a:pt x="815" y="782"/>
                  </a:lnTo>
                  <a:lnTo>
                    <a:pt x="810" y="784"/>
                  </a:lnTo>
                  <a:lnTo>
                    <a:pt x="815" y="784"/>
                  </a:lnTo>
                  <a:close/>
                  <a:moveTo>
                    <a:pt x="829" y="755"/>
                  </a:moveTo>
                  <a:lnTo>
                    <a:pt x="827" y="758"/>
                  </a:lnTo>
                  <a:lnTo>
                    <a:pt x="825" y="758"/>
                  </a:lnTo>
                  <a:lnTo>
                    <a:pt x="829" y="760"/>
                  </a:lnTo>
                  <a:lnTo>
                    <a:pt x="832" y="765"/>
                  </a:lnTo>
                  <a:lnTo>
                    <a:pt x="830" y="765"/>
                  </a:lnTo>
                  <a:lnTo>
                    <a:pt x="829" y="772"/>
                  </a:lnTo>
                  <a:lnTo>
                    <a:pt x="829" y="770"/>
                  </a:lnTo>
                  <a:lnTo>
                    <a:pt x="824" y="770"/>
                  </a:lnTo>
                  <a:lnTo>
                    <a:pt x="824" y="769"/>
                  </a:lnTo>
                  <a:lnTo>
                    <a:pt x="825" y="765"/>
                  </a:lnTo>
                  <a:lnTo>
                    <a:pt x="820" y="763"/>
                  </a:lnTo>
                  <a:lnTo>
                    <a:pt x="819" y="760"/>
                  </a:lnTo>
                  <a:lnTo>
                    <a:pt x="820" y="757"/>
                  </a:lnTo>
                  <a:lnTo>
                    <a:pt x="824" y="757"/>
                  </a:lnTo>
                  <a:lnTo>
                    <a:pt x="827" y="753"/>
                  </a:lnTo>
                  <a:lnTo>
                    <a:pt x="829" y="755"/>
                  </a:lnTo>
                  <a:close/>
                  <a:moveTo>
                    <a:pt x="807" y="753"/>
                  </a:moveTo>
                  <a:lnTo>
                    <a:pt x="803" y="758"/>
                  </a:lnTo>
                  <a:lnTo>
                    <a:pt x="800" y="757"/>
                  </a:lnTo>
                  <a:lnTo>
                    <a:pt x="796" y="758"/>
                  </a:lnTo>
                  <a:lnTo>
                    <a:pt x="791" y="757"/>
                  </a:lnTo>
                  <a:lnTo>
                    <a:pt x="796" y="753"/>
                  </a:lnTo>
                  <a:lnTo>
                    <a:pt x="801" y="753"/>
                  </a:lnTo>
                  <a:lnTo>
                    <a:pt x="798" y="751"/>
                  </a:lnTo>
                  <a:lnTo>
                    <a:pt x="807" y="753"/>
                  </a:lnTo>
                  <a:close/>
                  <a:moveTo>
                    <a:pt x="832" y="798"/>
                  </a:moveTo>
                  <a:lnTo>
                    <a:pt x="829" y="791"/>
                  </a:lnTo>
                  <a:lnTo>
                    <a:pt x="834" y="789"/>
                  </a:lnTo>
                  <a:lnTo>
                    <a:pt x="836" y="787"/>
                  </a:lnTo>
                  <a:lnTo>
                    <a:pt x="834" y="786"/>
                  </a:lnTo>
                  <a:lnTo>
                    <a:pt x="836" y="784"/>
                  </a:lnTo>
                  <a:lnTo>
                    <a:pt x="841" y="784"/>
                  </a:lnTo>
                  <a:lnTo>
                    <a:pt x="836" y="782"/>
                  </a:lnTo>
                  <a:lnTo>
                    <a:pt x="842" y="782"/>
                  </a:lnTo>
                  <a:lnTo>
                    <a:pt x="837" y="779"/>
                  </a:lnTo>
                  <a:lnTo>
                    <a:pt x="844" y="780"/>
                  </a:lnTo>
                  <a:lnTo>
                    <a:pt x="841" y="777"/>
                  </a:lnTo>
                  <a:lnTo>
                    <a:pt x="849" y="779"/>
                  </a:lnTo>
                  <a:lnTo>
                    <a:pt x="853" y="792"/>
                  </a:lnTo>
                  <a:lnTo>
                    <a:pt x="848" y="801"/>
                  </a:lnTo>
                  <a:lnTo>
                    <a:pt x="848" y="799"/>
                  </a:lnTo>
                  <a:lnTo>
                    <a:pt x="844" y="804"/>
                  </a:lnTo>
                  <a:lnTo>
                    <a:pt x="841" y="806"/>
                  </a:lnTo>
                  <a:lnTo>
                    <a:pt x="837" y="804"/>
                  </a:lnTo>
                  <a:lnTo>
                    <a:pt x="841" y="803"/>
                  </a:lnTo>
                  <a:lnTo>
                    <a:pt x="842" y="798"/>
                  </a:lnTo>
                  <a:lnTo>
                    <a:pt x="839" y="803"/>
                  </a:lnTo>
                  <a:lnTo>
                    <a:pt x="836" y="801"/>
                  </a:lnTo>
                  <a:lnTo>
                    <a:pt x="842" y="796"/>
                  </a:lnTo>
                  <a:lnTo>
                    <a:pt x="842" y="789"/>
                  </a:lnTo>
                  <a:lnTo>
                    <a:pt x="841" y="798"/>
                  </a:lnTo>
                  <a:lnTo>
                    <a:pt x="836" y="799"/>
                  </a:lnTo>
                  <a:lnTo>
                    <a:pt x="839" y="792"/>
                  </a:lnTo>
                  <a:lnTo>
                    <a:pt x="837" y="792"/>
                  </a:lnTo>
                  <a:lnTo>
                    <a:pt x="836" y="798"/>
                  </a:lnTo>
                  <a:lnTo>
                    <a:pt x="834" y="799"/>
                  </a:lnTo>
                  <a:lnTo>
                    <a:pt x="832" y="798"/>
                  </a:lnTo>
                  <a:close/>
                  <a:moveTo>
                    <a:pt x="829" y="792"/>
                  </a:moveTo>
                  <a:lnTo>
                    <a:pt x="832" y="799"/>
                  </a:lnTo>
                  <a:lnTo>
                    <a:pt x="827" y="799"/>
                  </a:lnTo>
                  <a:lnTo>
                    <a:pt x="827" y="803"/>
                  </a:lnTo>
                  <a:lnTo>
                    <a:pt x="825" y="799"/>
                  </a:lnTo>
                  <a:lnTo>
                    <a:pt x="827" y="794"/>
                  </a:lnTo>
                  <a:lnTo>
                    <a:pt x="829" y="792"/>
                  </a:lnTo>
                  <a:close/>
                  <a:moveTo>
                    <a:pt x="834" y="803"/>
                  </a:moveTo>
                  <a:lnTo>
                    <a:pt x="836" y="804"/>
                  </a:lnTo>
                  <a:lnTo>
                    <a:pt x="834" y="810"/>
                  </a:lnTo>
                  <a:lnTo>
                    <a:pt x="830" y="811"/>
                  </a:lnTo>
                  <a:lnTo>
                    <a:pt x="830" y="806"/>
                  </a:lnTo>
                  <a:lnTo>
                    <a:pt x="830" y="810"/>
                  </a:lnTo>
                  <a:lnTo>
                    <a:pt x="829" y="810"/>
                  </a:lnTo>
                  <a:lnTo>
                    <a:pt x="830" y="806"/>
                  </a:lnTo>
                  <a:lnTo>
                    <a:pt x="832" y="806"/>
                  </a:lnTo>
                  <a:lnTo>
                    <a:pt x="832" y="801"/>
                  </a:lnTo>
                  <a:lnTo>
                    <a:pt x="834" y="803"/>
                  </a:lnTo>
                  <a:close/>
                  <a:moveTo>
                    <a:pt x="798" y="787"/>
                  </a:moveTo>
                  <a:lnTo>
                    <a:pt x="798" y="794"/>
                  </a:lnTo>
                  <a:lnTo>
                    <a:pt x="796" y="792"/>
                  </a:lnTo>
                  <a:lnTo>
                    <a:pt x="800" y="806"/>
                  </a:lnTo>
                  <a:lnTo>
                    <a:pt x="800" y="808"/>
                  </a:lnTo>
                  <a:lnTo>
                    <a:pt x="798" y="808"/>
                  </a:lnTo>
                  <a:lnTo>
                    <a:pt x="798" y="811"/>
                  </a:lnTo>
                  <a:lnTo>
                    <a:pt x="795" y="810"/>
                  </a:lnTo>
                  <a:lnTo>
                    <a:pt x="795" y="804"/>
                  </a:lnTo>
                  <a:lnTo>
                    <a:pt x="796" y="803"/>
                  </a:lnTo>
                  <a:lnTo>
                    <a:pt x="791" y="798"/>
                  </a:lnTo>
                  <a:lnTo>
                    <a:pt x="793" y="791"/>
                  </a:lnTo>
                  <a:lnTo>
                    <a:pt x="795" y="792"/>
                  </a:lnTo>
                  <a:lnTo>
                    <a:pt x="793" y="789"/>
                  </a:lnTo>
                  <a:lnTo>
                    <a:pt x="798" y="787"/>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57" name="Freeform 184"/>
            <p:cNvSpPr>
              <a:spLocks noEditPoints="1"/>
            </p:cNvSpPr>
            <p:nvPr/>
          </p:nvSpPr>
          <p:spPr bwMode="gray">
            <a:xfrm>
              <a:off x="1374041" y="4715875"/>
              <a:ext cx="423499" cy="853439"/>
            </a:xfrm>
            <a:custGeom>
              <a:avLst/>
              <a:gdLst/>
              <a:ahLst/>
              <a:cxnLst>
                <a:cxn ang="0">
                  <a:pos x="46" y="4"/>
                </a:cxn>
                <a:cxn ang="0">
                  <a:pos x="37" y="18"/>
                </a:cxn>
                <a:cxn ang="0">
                  <a:pos x="15" y="24"/>
                </a:cxn>
                <a:cxn ang="0">
                  <a:pos x="5" y="6"/>
                </a:cxn>
                <a:cxn ang="0">
                  <a:pos x="44" y="0"/>
                </a:cxn>
                <a:cxn ang="0">
                  <a:pos x="124" y="190"/>
                </a:cxn>
                <a:cxn ang="0">
                  <a:pos x="111" y="183"/>
                </a:cxn>
                <a:cxn ang="0">
                  <a:pos x="104" y="170"/>
                </a:cxn>
                <a:cxn ang="0">
                  <a:pos x="92" y="154"/>
                </a:cxn>
                <a:cxn ang="0">
                  <a:pos x="94" y="130"/>
                </a:cxn>
                <a:cxn ang="0">
                  <a:pos x="107" y="135"/>
                </a:cxn>
                <a:cxn ang="0">
                  <a:pos x="126" y="134"/>
                </a:cxn>
                <a:cxn ang="0">
                  <a:pos x="124" y="159"/>
                </a:cxn>
                <a:cxn ang="0">
                  <a:pos x="129" y="170"/>
                </a:cxn>
                <a:cxn ang="0">
                  <a:pos x="126" y="188"/>
                </a:cxn>
                <a:cxn ang="0">
                  <a:pos x="188" y="267"/>
                </a:cxn>
                <a:cxn ang="0">
                  <a:pos x="165" y="243"/>
                </a:cxn>
                <a:cxn ang="0">
                  <a:pos x="147" y="226"/>
                </a:cxn>
                <a:cxn ang="0">
                  <a:pos x="160" y="223"/>
                </a:cxn>
                <a:cxn ang="0">
                  <a:pos x="176" y="241"/>
                </a:cxn>
                <a:cxn ang="0">
                  <a:pos x="181" y="241"/>
                </a:cxn>
                <a:cxn ang="0">
                  <a:pos x="182" y="248"/>
                </a:cxn>
                <a:cxn ang="0">
                  <a:pos x="198" y="264"/>
                </a:cxn>
                <a:cxn ang="0">
                  <a:pos x="167" y="269"/>
                </a:cxn>
                <a:cxn ang="0">
                  <a:pos x="167" y="288"/>
                </a:cxn>
                <a:cxn ang="0">
                  <a:pos x="150" y="282"/>
                </a:cxn>
                <a:cxn ang="0">
                  <a:pos x="155" y="272"/>
                </a:cxn>
                <a:cxn ang="0">
                  <a:pos x="157" y="260"/>
                </a:cxn>
                <a:cxn ang="0">
                  <a:pos x="200" y="339"/>
                </a:cxn>
                <a:cxn ang="0">
                  <a:pos x="188" y="325"/>
                </a:cxn>
                <a:cxn ang="0">
                  <a:pos x="194" y="308"/>
                </a:cxn>
                <a:cxn ang="0">
                  <a:pos x="182" y="298"/>
                </a:cxn>
                <a:cxn ang="0">
                  <a:pos x="194" y="277"/>
                </a:cxn>
                <a:cxn ang="0">
                  <a:pos x="203" y="289"/>
                </a:cxn>
                <a:cxn ang="0">
                  <a:pos x="215" y="303"/>
                </a:cxn>
                <a:cxn ang="0">
                  <a:pos x="235" y="337"/>
                </a:cxn>
                <a:cxn ang="0">
                  <a:pos x="223" y="347"/>
                </a:cxn>
                <a:cxn ang="0">
                  <a:pos x="210" y="341"/>
                </a:cxn>
                <a:cxn ang="0">
                  <a:pos x="143" y="508"/>
                </a:cxn>
                <a:cxn ang="0">
                  <a:pos x="140" y="489"/>
                </a:cxn>
                <a:cxn ang="0">
                  <a:pos x="159" y="455"/>
                </a:cxn>
                <a:cxn ang="0">
                  <a:pos x="169" y="424"/>
                </a:cxn>
                <a:cxn ang="0">
                  <a:pos x="193" y="421"/>
                </a:cxn>
                <a:cxn ang="0">
                  <a:pos x="205" y="412"/>
                </a:cxn>
                <a:cxn ang="0">
                  <a:pos x="217" y="394"/>
                </a:cxn>
                <a:cxn ang="0">
                  <a:pos x="234" y="424"/>
                </a:cxn>
                <a:cxn ang="0">
                  <a:pos x="258" y="476"/>
                </a:cxn>
                <a:cxn ang="0">
                  <a:pos x="259" y="494"/>
                </a:cxn>
                <a:cxn ang="0">
                  <a:pos x="263" y="523"/>
                </a:cxn>
                <a:cxn ang="0">
                  <a:pos x="244" y="527"/>
                </a:cxn>
                <a:cxn ang="0">
                  <a:pos x="215" y="525"/>
                </a:cxn>
                <a:cxn ang="0">
                  <a:pos x="172" y="515"/>
                </a:cxn>
                <a:cxn ang="0">
                  <a:pos x="148" y="522"/>
                </a:cxn>
              </a:cxnLst>
              <a:rect l="0" t="0" r="r" b="b"/>
              <a:pathLst>
                <a:path w="263" h="530">
                  <a:moveTo>
                    <a:pt x="44" y="0"/>
                  </a:moveTo>
                  <a:lnTo>
                    <a:pt x="46" y="4"/>
                  </a:lnTo>
                  <a:lnTo>
                    <a:pt x="44" y="12"/>
                  </a:lnTo>
                  <a:lnTo>
                    <a:pt x="37" y="18"/>
                  </a:lnTo>
                  <a:lnTo>
                    <a:pt x="30" y="24"/>
                  </a:lnTo>
                  <a:lnTo>
                    <a:pt x="15" y="24"/>
                  </a:lnTo>
                  <a:lnTo>
                    <a:pt x="5" y="14"/>
                  </a:lnTo>
                  <a:lnTo>
                    <a:pt x="5" y="6"/>
                  </a:lnTo>
                  <a:lnTo>
                    <a:pt x="0" y="0"/>
                  </a:lnTo>
                  <a:lnTo>
                    <a:pt x="44" y="0"/>
                  </a:lnTo>
                  <a:close/>
                  <a:moveTo>
                    <a:pt x="126" y="188"/>
                  </a:moveTo>
                  <a:lnTo>
                    <a:pt x="124" y="190"/>
                  </a:lnTo>
                  <a:lnTo>
                    <a:pt x="121" y="187"/>
                  </a:lnTo>
                  <a:lnTo>
                    <a:pt x="111" y="183"/>
                  </a:lnTo>
                  <a:lnTo>
                    <a:pt x="109" y="171"/>
                  </a:lnTo>
                  <a:lnTo>
                    <a:pt x="104" y="170"/>
                  </a:lnTo>
                  <a:lnTo>
                    <a:pt x="90" y="161"/>
                  </a:lnTo>
                  <a:lnTo>
                    <a:pt x="92" y="154"/>
                  </a:lnTo>
                  <a:lnTo>
                    <a:pt x="90" y="137"/>
                  </a:lnTo>
                  <a:lnTo>
                    <a:pt x="94" y="130"/>
                  </a:lnTo>
                  <a:lnTo>
                    <a:pt x="95" y="125"/>
                  </a:lnTo>
                  <a:lnTo>
                    <a:pt x="107" y="135"/>
                  </a:lnTo>
                  <a:lnTo>
                    <a:pt x="119" y="132"/>
                  </a:lnTo>
                  <a:lnTo>
                    <a:pt x="126" y="134"/>
                  </a:lnTo>
                  <a:lnTo>
                    <a:pt x="128" y="144"/>
                  </a:lnTo>
                  <a:lnTo>
                    <a:pt x="124" y="159"/>
                  </a:lnTo>
                  <a:lnTo>
                    <a:pt x="123" y="168"/>
                  </a:lnTo>
                  <a:lnTo>
                    <a:pt x="129" y="170"/>
                  </a:lnTo>
                  <a:lnTo>
                    <a:pt x="128" y="178"/>
                  </a:lnTo>
                  <a:lnTo>
                    <a:pt x="126" y="188"/>
                  </a:lnTo>
                  <a:close/>
                  <a:moveTo>
                    <a:pt x="198" y="264"/>
                  </a:moveTo>
                  <a:lnTo>
                    <a:pt x="188" y="267"/>
                  </a:lnTo>
                  <a:lnTo>
                    <a:pt x="177" y="260"/>
                  </a:lnTo>
                  <a:lnTo>
                    <a:pt x="165" y="243"/>
                  </a:lnTo>
                  <a:lnTo>
                    <a:pt x="145" y="231"/>
                  </a:lnTo>
                  <a:lnTo>
                    <a:pt x="147" y="226"/>
                  </a:lnTo>
                  <a:lnTo>
                    <a:pt x="153" y="228"/>
                  </a:lnTo>
                  <a:lnTo>
                    <a:pt x="160" y="223"/>
                  </a:lnTo>
                  <a:lnTo>
                    <a:pt x="162" y="229"/>
                  </a:lnTo>
                  <a:lnTo>
                    <a:pt x="176" y="241"/>
                  </a:lnTo>
                  <a:lnTo>
                    <a:pt x="177" y="241"/>
                  </a:lnTo>
                  <a:lnTo>
                    <a:pt x="181" y="241"/>
                  </a:lnTo>
                  <a:lnTo>
                    <a:pt x="181" y="247"/>
                  </a:lnTo>
                  <a:lnTo>
                    <a:pt x="182" y="248"/>
                  </a:lnTo>
                  <a:lnTo>
                    <a:pt x="182" y="250"/>
                  </a:lnTo>
                  <a:lnTo>
                    <a:pt x="198" y="264"/>
                  </a:lnTo>
                  <a:close/>
                  <a:moveTo>
                    <a:pt x="157" y="260"/>
                  </a:moveTo>
                  <a:lnTo>
                    <a:pt x="167" y="269"/>
                  </a:lnTo>
                  <a:lnTo>
                    <a:pt x="170" y="284"/>
                  </a:lnTo>
                  <a:lnTo>
                    <a:pt x="167" y="288"/>
                  </a:lnTo>
                  <a:lnTo>
                    <a:pt x="157" y="288"/>
                  </a:lnTo>
                  <a:lnTo>
                    <a:pt x="150" y="282"/>
                  </a:lnTo>
                  <a:lnTo>
                    <a:pt x="152" y="276"/>
                  </a:lnTo>
                  <a:lnTo>
                    <a:pt x="155" y="272"/>
                  </a:lnTo>
                  <a:lnTo>
                    <a:pt x="152" y="264"/>
                  </a:lnTo>
                  <a:lnTo>
                    <a:pt x="157" y="260"/>
                  </a:lnTo>
                  <a:close/>
                  <a:moveTo>
                    <a:pt x="210" y="341"/>
                  </a:moveTo>
                  <a:lnTo>
                    <a:pt x="200" y="339"/>
                  </a:lnTo>
                  <a:lnTo>
                    <a:pt x="188" y="334"/>
                  </a:lnTo>
                  <a:lnTo>
                    <a:pt x="188" y="325"/>
                  </a:lnTo>
                  <a:lnTo>
                    <a:pt x="193" y="315"/>
                  </a:lnTo>
                  <a:lnTo>
                    <a:pt x="194" y="308"/>
                  </a:lnTo>
                  <a:lnTo>
                    <a:pt x="191" y="306"/>
                  </a:lnTo>
                  <a:lnTo>
                    <a:pt x="182" y="298"/>
                  </a:lnTo>
                  <a:lnTo>
                    <a:pt x="184" y="284"/>
                  </a:lnTo>
                  <a:lnTo>
                    <a:pt x="194" y="277"/>
                  </a:lnTo>
                  <a:lnTo>
                    <a:pt x="201" y="279"/>
                  </a:lnTo>
                  <a:lnTo>
                    <a:pt x="203" y="289"/>
                  </a:lnTo>
                  <a:lnTo>
                    <a:pt x="203" y="300"/>
                  </a:lnTo>
                  <a:lnTo>
                    <a:pt x="215" y="303"/>
                  </a:lnTo>
                  <a:lnTo>
                    <a:pt x="223" y="310"/>
                  </a:lnTo>
                  <a:lnTo>
                    <a:pt x="235" y="337"/>
                  </a:lnTo>
                  <a:lnTo>
                    <a:pt x="235" y="342"/>
                  </a:lnTo>
                  <a:lnTo>
                    <a:pt x="223" y="347"/>
                  </a:lnTo>
                  <a:lnTo>
                    <a:pt x="215" y="346"/>
                  </a:lnTo>
                  <a:lnTo>
                    <a:pt x="210" y="341"/>
                  </a:lnTo>
                  <a:close/>
                  <a:moveTo>
                    <a:pt x="148" y="522"/>
                  </a:moveTo>
                  <a:lnTo>
                    <a:pt x="143" y="508"/>
                  </a:lnTo>
                  <a:lnTo>
                    <a:pt x="136" y="503"/>
                  </a:lnTo>
                  <a:lnTo>
                    <a:pt x="140" y="489"/>
                  </a:lnTo>
                  <a:lnTo>
                    <a:pt x="157" y="470"/>
                  </a:lnTo>
                  <a:lnTo>
                    <a:pt x="159" y="455"/>
                  </a:lnTo>
                  <a:lnTo>
                    <a:pt x="165" y="441"/>
                  </a:lnTo>
                  <a:lnTo>
                    <a:pt x="169" y="424"/>
                  </a:lnTo>
                  <a:lnTo>
                    <a:pt x="177" y="424"/>
                  </a:lnTo>
                  <a:lnTo>
                    <a:pt x="193" y="421"/>
                  </a:lnTo>
                  <a:lnTo>
                    <a:pt x="201" y="417"/>
                  </a:lnTo>
                  <a:lnTo>
                    <a:pt x="205" y="412"/>
                  </a:lnTo>
                  <a:lnTo>
                    <a:pt x="206" y="399"/>
                  </a:lnTo>
                  <a:lnTo>
                    <a:pt x="217" y="394"/>
                  </a:lnTo>
                  <a:lnTo>
                    <a:pt x="222" y="406"/>
                  </a:lnTo>
                  <a:lnTo>
                    <a:pt x="234" y="424"/>
                  </a:lnTo>
                  <a:lnTo>
                    <a:pt x="256" y="458"/>
                  </a:lnTo>
                  <a:lnTo>
                    <a:pt x="258" y="476"/>
                  </a:lnTo>
                  <a:lnTo>
                    <a:pt x="251" y="491"/>
                  </a:lnTo>
                  <a:lnTo>
                    <a:pt x="259" y="494"/>
                  </a:lnTo>
                  <a:lnTo>
                    <a:pt x="254" y="503"/>
                  </a:lnTo>
                  <a:lnTo>
                    <a:pt x="263" y="523"/>
                  </a:lnTo>
                  <a:lnTo>
                    <a:pt x="256" y="530"/>
                  </a:lnTo>
                  <a:lnTo>
                    <a:pt x="244" y="527"/>
                  </a:lnTo>
                  <a:lnTo>
                    <a:pt x="230" y="529"/>
                  </a:lnTo>
                  <a:lnTo>
                    <a:pt x="215" y="525"/>
                  </a:lnTo>
                  <a:lnTo>
                    <a:pt x="200" y="518"/>
                  </a:lnTo>
                  <a:lnTo>
                    <a:pt x="172" y="515"/>
                  </a:lnTo>
                  <a:lnTo>
                    <a:pt x="167" y="520"/>
                  </a:lnTo>
                  <a:lnTo>
                    <a:pt x="148" y="52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gr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1455" y="3454700"/>
            <a:ext cx="2359532" cy="1022043"/>
          </a:xfrm>
          <a:prstGeom prst="rect">
            <a:avLst/>
          </a:prstGeom>
        </p:spPr>
      </p:pic>
      <p:grpSp>
        <p:nvGrpSpPr>
          <p:cNvPr id="134" name="Group 133">
            <a:extLst>
              <a:ext uri="{FF2B5EF4-FFF2-40B4-BE49-F238E27FC236}">
                <a16:creationId xmlns:a16="http://schemas.microsoft.com/office/drawing/2014/main" id="{6105002C-56FB-4F96-978D-43CA4AB9F2A6}"/>
              </a:ext>
            </a:extLst>
          </p:cNvPr>
          <p:cNvGrpSpPr/>
          <p:nvPr/>
        </p:nvGrpSpPr>
        <p:grpSpPr>
          <a:xfrm>
            <a:off x="4724401" y="2176418"/>
            <a:ext cx="5486323" cy="744136"/>
            <a:chOff x="3200400" y="2176418"/>
            <a:chExt cx="5486323" cy="744136"/>
          </a:xfrm>
        </p:grpSpPr>
        <p:sp>
          <p:nvSpPr>
            <p:cNvPr id="141" name="Rectangle 140"/>
            <p:cNvSpPr/>
            <p:nvPr/>
          </p:nvSpPr>
          <p:spPr>
            <a:xfrm>
              <a:off x="4193632" y="2179154"/>
              <a:ext cx="4493091" cy="738664"/>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defRPr/>
              </a:pPr>
              <a:r>
                <a:rPr lang="en-US" b="1" kern="0" dirty="0">
                  <a:solidFill>
                    <a:srgbClr val="373737"/>
                  </a:solidFill>
                  <a:latin typeface="Calibri"/>
                </a:rPr>
                <a:t>Mission Oriented</a:t>
              </a:r>
            </a:p>
            <a:p>
              <a:pPr>
                <a:defRPr/>
              </a:pPr>
              <a:r>
                <a:rPr lang="en-US" sz="1200" kern="0" dirty="0">
                  <a:solidFill>
                    <a:srgbClr val="373737"/>
                  </a:solidFill>
                  <a:latin typeface="Calibri"/>
                </a:rPr>
                <a:t>VALERI supports the VA's mission to ensure veteran borrowers receive every opportunity to retain their home or avoid foreclosure</a:t>
              </a:r>
              <a:endParaRPr lang="en-US" sz="1200" kern="0" dirty="0">
                <a:solidFill>
                  <a:srgbClr val="003F72"/>
                </a:solidFill>
                <a:latin typeface="Calibri"/>
              </a:endParaRPr>
            </a:p>
          </p:txBody>
        </p:sp>
        <p:grpSp>
          <p:nvGrpSpPr>
            <p:cNvPr id="142" name="Group 141"/>
            <p:cNvGrpSpPr/>
            <p:nvPr/>
          </p:nvGrpSpPr>
          <p:grpSpPr>
            <a:xfrm>
              <a:off x="3200400" y="2176418"/>
              <a:ext cx="745843" cy="744136"/>
              <a:chOff x="795804" y="1831634"/>
              <a:chExt cx="1303020" cy="1303020"/>
            </a:xfrm>
          </p:grpSpPr>
          <p:sp>
            <p:nvSpPr>
              <p:cNvPr id="143" name="Oval 142"/>
              <p:cNvSpPr/>
              <p:nvPr/>
            </p:nvSpPr>
            <p:spPr bwMode="gray">
              <a:xfrm>
                <a:off x="795804" y="1831634"/>
                <a:ext cx="1303020" cy="1303020"/>
              </a:xfrm>
              <a:prstGeom prst="ellipse">
                <a:avLst/>
              </a:prstGeom>
              <a:solidFill>
                <a:srgbClr val="772432"/>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44" name="Freeform 143"/>
              <p:cNvSpPr/>
              <p:nvPr/>
            </p:nvSpPr>
            <p:spPr bwMode="gray">
              <a:xfrm>
                <a:off x="1103005" y="2147864"/>
                <a:ext cx="688618" cy="670560"/>
              </a:xfrm>
              <a:custGeom>
                <a:avLst/>
                <a:gdLst>
                  <a:gd name="connsiteX0" fmla="*/ 422561 w 845122"/>
                  <a:gd name="connsiteY0" fmla="*/ 365760 h 822960"/>
                  <a:gd name="connsiteX1" fmla="*/ 468281 w 845122"/>
                  <a:gd name="connsiteY1" fmla="*/ 411480 h 822960"/>
                  <a:gd name="connsiteX2" fmla="*/ 422561 w 845122"/>
                  <a:gd name="connsiteY2" fmla="*/ 457200 h 822960"/>
                  <a:gd name="connsiteX3" fmla="*/ 376841 w 845122"/>
                  <a:gd name="connsiteY3" fmla="*/ 411480 h 822960"/>
                  <a:gd name="connsiteX4" fmla="*/ 422561 w 845122"/>
                  <a:gd name="connsiteY4" fmla="*/ 365760 h 822960"/>
                  <a:gd name="connsiteX5" fmla="*/ 422561 w 845122"/>
                  <a:gd name="connsiteY5" fmla="*/ 274320 h 822960"/>
                  <a:gd name="connsiteX6" fmla="*/ 285401 w 845122"/>
                  <a:gd name="connsiteY6" fmla="*/ 411480 h 822960"/>
                  <a:gd name="connsiteX7" fmla="*/ 422561 w 845122"/>
                  <a:gd name="connsiteY7" fmla="*/ 548640 h 822960"/>
                  <a:gd name="connsiteX8" fmla="*/ 559721 w 845122"/>
                  <a:gd name="connsiteY8" fmla="*/ 411480 h 822960"/>
                  <a:gd name="connsiteX9" fmla="*/ 422561 w 845122"/>
                  <a:gd name="connsiteY9" fmla="*/ 274320 h 822960"/>
                  <a:gd name="connsiteX10" fmla="*/ 422561 w 845122"/>
                  <a:gd name="connsiteY10" fmla="*/ 182880 h 822960"/>
                  <a:gd name="connsiteX11" fmla="*/ 651161 w 845122"/>
                  <a:gd name="connsiteY11" fmla="*/ 411480 h 822960"/>
                  <a:gd name="connsiteX12" fmla="*/ 422561 w 845122"/>
                  <a:gd name="connsiteY12" fmla="*/ 640080 h 822960"/>
                  <a:gd name="connsiteX13" fmla="*/ 193961 w 845122"/>
                  <a:gd name="connsiteY13" fmla="*/ 411480 h 822960"/>
                  <a:gd name="connsiteX14" fmla="*/ 422561 w 845122"/>
                  <a:gd name="connsiteY14" fmla="*/ 182880 h 822960"/>
                  <a:gd name="connsiteX15" fmla="*/ 422560 w 845122"/>
                  <a:gd name="connsiteY15" fmla="*/ 91440 h 822960"/>
                  <a:gd name="connsiteX16" fmla="*/ 102520 w 845122"/>
                  <a:gd name="connsiteY16" fmla="*/ 411480 h 822960"/>
                  <a:gd name="connsiteX17" fmla="*/ 422560 w 845122"/>
                  <a:gd name="connsiteY17" fmla="*/ 731520 h 822960"/>
                  <a:gd name="connsiteX18" fmla="*/ 742600 w 845122"/>
                  <a:gd name="connsiteY18" fmla="*/ 411480 h 822960"/>
                  <a:gd name="connsiteX19" fmla="*/ 422560 w 845122"/>
                  <a:gd name="connsiteY19" fmla="*/ 91440 h 822960"/>
                  <a:gd name="connsiteX20" fmla="*/ 422561 w 845122"/>
                  <a:gd name="connsiteY20" fmla="*/ 0 h 822960"/>
                  <a:gd name="connsiteX21" fmla="*/ 845122 w 845122"/>
                  <a:gd name="connsiteY21" fmla="*/ 411480 h 822960"/>
                  <a:gd name="connsiteX22" fmla="*/ 422561 w 845122"/>
                  <a:gd name="connsiteY22" fmla="*/ 822960 h 822960"/>
                  <a:gd name="connsiteX23" fmla="*/ 0 w 845122"/>
                  <a:gd name="connsiteY23" fmla="*/ 411480 h 822960"/>
                  <a:gd name="connsiteX24" fmla="*/ 422561 w 845122"/>
                  <a:gd name="connsiteY24" fmla="*/ 0 h 8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45122" h="822960">
                    <a:moveTo>
                      <a:pt x="422561" y="365760"/>
                    </a:moveTo>
                    <a:cubicBezTo>
                      <a:pt x="447811" y="365760"/>
                      <a:pt x="468281" y="386230"/>
                      <a:pt x="468281" y="411480"/>
                    </a:cubicBezTo>
                    <a:cubicBezTo>
                      <a:pt x="468281" y="436730"/>
                      <a:pt x="447811" y="457200"/>
                      <a:pt x="422561" y="457200"/>
                    </a:cubicBezTo>
                    <a:cubicBezTo>
                      <a:pt x="397311" y="457200"/>
                      <a:pt x="376841" y="436730"/>
                      <a:pt x="376841" y="411480"/>
                    </a:cubicBezTo>
                    <a:cubicBezTo>
                      <a:pt x="376841" y="386230"/>
                      <a:pt x="397311" y="365760"/>
                      <a:pt x="422561" y="365760"/>
                    </a:cubicBezTo>
                    <a:close/>
                    <a:moveTo>
                      <a:pt x="422561" y="274320"/>
                    </a:moveTo>
                    <a:cubicBezTo>
                      <a:pt x="346810" y="274320"/>
                      <a:pt x="285401" y="335729"/>
                      <a:pt x="285401" y="411480"/>
                    </a:cubicBezTo>
                    <a:cubicBezTo>
                      <a:pt x="285401" y="487231"/>
                      <a:pt x="346810" y="548640"/>
                      <a:pt x="422561" y="548640"/>
                    </a:cubicBezTo>
                    <a:cubicBezTo>
                      <a:pt x="498312" y="548640"/>
                      <a:pt x="559721" y="487231"/>
                      <a:pt x="559721" y="411480"/>
                    </a:cubicBezTo>
                    <a:cubicBezTo>
                      <a:pt x="559721" y="335729"/>
                      <a:pt x="498312" y="274320"/>
                      <a:pt x="422561" y="274320"/>
                    </a:cubicBezTo>
                    <a:close/>
                    <a:moveTo>
                      <a:pt x="422561" y="182880"/>
                    </a:moveTo>
                    <a:cubicBezTo>
                      <a:pt x="548813" y="182880"/>
                      <a:pt x="651161" y="285228"/>
                      <a:pt x="651161" y="411480"/>
                    </a:cubicBezTo>
                    <a:cubicBezTo>
                      <a:pt x="651161" y="537732"/>
                      <a:pt x="548813" y="640080"/>
                      <a:pt x="422561" y="640080"/>
                    </a:cubicBezTo>
                    <a:cubicBezTo>
                      <a:pt x="296309" y="640080"/>
                      <a:pt x="193961" y="537732"/>
                      <a:pt x="193961" y="411480"/>
                    </a:cubicBezTo>
                    <a:cubicBezTo>
                      <a:pt x="193961" y="285228"/>
                      <a:pt x="296309" y="182880"/>
                      <a:pt x="422561" y="182880"/>
                    </a:cubicBezTo>
                    <a:close/>
                    <a:moveTo>
                      <a:pt x="422560" y="91440"/>
                    </a:moveTo>
                    <a:cubicBezTo>
                      <a:pt x="245807" y="91440"/>
                      <a:pt x="102520" y="234727"/>
                      <a:pt x="102520" y="411480"/>
                    </a:cubicBezTo>
                    <a:cubicBezTo>
                      <a:pt x="102520" y="588233"/>
                      <a:pt x="245807" y="731520"/>
                      <a:pt x="422560" y="731520"/>
                    </a:cubicBezTo>
                    <a:cubicBezTo>
                      <a:pt x="599313" y="731520"/>
                      <a:pt x="742600" y="588233"/>
                      <a:pt x="742600" y="411480"/>
                    </a:cubicBezTo>
                    <a:cubicBezTo>
                      <a:pt x="742600" y="234727"/>
                      <a:pt x="599313" y="91440"/>
                      <a:pt x="422560" y="91440"/>
                    </a:cubicBezTo>
                    <a:close/>
                    <a:moveTo>
                      <a:pt x="422561" y="0"/>
                    </a:moveTo>
                    <a:cubicBezTo>
                      <a:pt x="655935" y="0"/>
                      <a:pt x="845122" y="184226"/>
                      <a:pt x="845122" y="411480"/>
                    </a:cubicBezTo>
                    <a:cubicBezTo>
                      <a:pt x="845122" y="638734"/>
                      <a:pt x="655935" y="822960"/>
                      <a:pt x="422561" y="822960"/>
                    </a:cubicBezTo>
                    <a:cubicBezTo>
                      <a:pt x="189187" y="822960"/>
                      <a:pt x="0" y="638734"/>
                      <a:pt x="0" y="411480"/>
                    </a:cubicBezTo>
                    <a:cubicBezTo>
                      <a:pt x="0" y="184226"/>
                      <a:pt x="189187" y="0"/>
                      <a:pt x="422561" y="0"/>
                    </a:cubicBezTo>
                    <a:close/>
                  </a:path>
                </a:pathLst>
              </a:cu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45" name="Freeform 144"/>
              <p:cNvSpPr/>
              <p:nvPr/>
            </p:nvSpPr>
            <p:spPr bwMode="gray">
              <a:xfrm rot="15300000">
                <a:off x="1615359" y="2111740"/>
                <a:ext cx="217904" cy="590180"/>
              </a:xfrm>
              <a:custGeom>
                <a:avLst/>
                <a:gdLst>
                  <a:gd name="connsiteX0" fmla="*/ 182252 w 217904"/>
                  <a:gd name="connsiteY0" fmla="*/ 590180 h 590180"/>
                  <a:gd name="connsiteX1" fmla="*/ 108952 w 217904"/>
                  <a:gd name="connsiteY1" fmla="*/ 540635 h 590180"/>
                  <a:gd name="connsiteX2" fmla="*/ 35652 w 217904"/>
                  <a:gd name="connsiteY2" fmla="*/ 590180 h 590180"/>
                  <a:gd name="connsiteX3" fmla="*/ 35652 w 217904"/>
                  <a:gd name="connsiteY3" fmla="*/ 445371 h 590180"/>
                  <a:gd name="connsiteX4" fmla="*/ 84432 w 217904"/>
                  <a:gd name="connsiteY4" fmla="*/ 412399 h 590180"/>
                  <a:gd name="connsiteX5" fmla="*/ 84432 w 217904"/>
                  <a:gd name="connsiteY5" fmla="*/ 80682 h 590180"/>
                  <a:gd name="connsiteX6" fmla="*/ 38656 w 217904"/>
                  <a:gd name="connsiteY6" fmla="*/ 126458 h 590180"/>
                  <a:gd name="connsiteX7" fmla="*/ 8964 w 217904"/>
                  <a:gd name="connsiteY7" fmla="*/ 126457 h 590180"/>
                  <a:gd name="connsiteX8" fmla="*/ 6150 w 217904"/>
                  <a:gd name="connsiteY8" fmla="*/ 123643 h 590180"/>
                  <a:gd name="connsiteX9" fmla="*/ 6149 w 217904"/>
                  <a:gd name="connsiteY9" fmla="*/ 93951 h 590180"/>
                  <a:gd name="connsiteX10" fmla="*/ 93950 w 217904"/>
                  <a:gd name="connsiteY10" fmla="*/ 6150 h 590180"/>
                  <a:gd name="connsiteX11" fmla="*/ 108797 w 217904"/>
                  <a:gd name="connsiteY11" fmla="*/ 0 h 590180"/>
                  <a:gd name="connsiteX12" fmla="*/ 108952 w 217904"/>
                  <a:gd name="connsiteY12" fmla="*/ 65 h 590180"/>
                  <a:gd name="connsiteX13" fmla="*/ 109107 w 217904"/>
                  <a:gd name="connsiteY13" fmla="*/ 0 h 590180"/>
                  <a:gd name="connsiteX14" fmla="*/ 123954 w 217904"/>
                  <a:gd name="connsiteY14" fmla="*/ 6150 h 590180"/>
                  <a:gd name="connsiteX15" fmla="*/ 211754 w 217904"/>
                  <a:gd name="connsiteY15" fmla="*/ 93950 h 590180"/>
                  <a:gd name="connsiteX16" fmla="*/ 211754 w 217904"/>
                  <a:gd name="connsiteY16" fmla="*/ 123643 h 590180"/>
                  <a:gd name="connsiteX17" fmla="*/ 208940 w 217904"/>
                  <a:gd name="connsiteY17" fmla="*/ 126457 h 590180"/>
                  <a:gd name="connsiteX18" fmla="*/ 179248 w 217904"/>
                  <a:gd name="connsiteY18" fmla="*/ 126457 h 590180"/>
                  <a:gd name="connsiteX19" fmla="*/ 133472 w 217904"/>
                  <a:gd name="connsiteY19" fmla="*/ 80681 h 590180"/>
                  <a:gd name="connsiteX20" fmla="*/ 133472 w 217904"/>
                  <a:gd name="connsiteY20" fmla="*/ 412399 h 590180"/>
                  <a:gd name="connsiteX21" fmla="*/ 182252 w 217904"/>
                  <a:gd name="connsiteY21" fmla="*/ 445371 h 59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7904" h="590180">
                    <a:moveTo>
                      <a:pt x="182252" y="590180"/>
                    </a:moveTo>
                    <a:lnTo>
                      <a:pt x="108952" y="540635"/>
                    </a:lnTo>
                    <a:lnTo>
                      <a:pt x="35652" y="590180"/>
                    </a:lnTo>
                    <a:lnTo>
                      <a:pt x="35652" y="445371"/>
                    </a:lnTo>
                    <a:lnTo>
                      <a:pt x="84432" y="412399"/>
                    </a:lnTo>
                    <a:lnTo>
                      <a:pt x="84432" y="80682"/>
                    </a:lnTo>
                    <a:lnTo>
                      <a:pt x="38656" y="126458"/>
                    </a:lnTo>
                    <a:cubicBezTo>
                      <a:pt x="30456" y="134657"/>
                      <a:pt x="17164" y="134657"/>
                      <a:pt x="8964" y="126457"/>
                    </a:cubicBezTo>
                    <a:lnTo>
                      <a:pt x="6150" y="123643"/>
                    </a:lnTo>
                    <a:cubicBezTo>
                      <a:pt x="-2050" y="115443"/>
                      <a:pt x="-2050" y="102150"/>
                      <a:pt x="6149" y="93951"/>
                    </a:cubicBezTo>
                    <a:lnTo>
                      <a:pt x="93950" y="6150"/>
                    </a:lnTo>
                    <a:cubicBezTo>
                      <a:pt x="98051" y="2050"/>
                      <a:pt x="103424" y="0"/>
                      <a:pt x="108797" y="0"/>
                    </a:cubicBezTo>
                    <a:lnTo>
                      <a:pt x="108952" y="65"/>
                    </a:lnTo>
                    <a:lnTo>
                      <a:pt x="109107" y="0"/>
                    </a:lnTo>
                    <a:cubicBezTo>
                      <a:pt x="114481" y="0"/>
                      <a:pt x="119854" y="2050"/>
                      <a:pt x="123954" y="6150"/>
                    </a:cubicBezTo>
                    <a:lnTo>
                      <a:pt x="211754" y="93950"/>
                    </a:lnTo>
                    <a:cubicBezTo>
                      <a:pt x="219954" y="102150"/>
                      <a:pt x="219954" y="115443"/>
                      <a:pt x="211754" y="123643"/>
                    </a:cubicBezTo>
                    <a:lnTo>
                      <a:pt x="208940" y="126457"/>
                    </a:lnTo>
                    <a:cubicBezTo>
                      <a:pt x="200741" y="134656"/>
                      <a:pt x="187448" y="134656"/>
                      <a:pt x="179248" y="126457"/>
                    </a:cubicBezTo>
                    <a:lnTo>
                      <a:pt x="133472" y="80681"/>
                    </a:lnTo>
                    <a:lnTo>
                      <a:pt x="133472" y="412399"/>
                    </a:lnTo>
                    <a:lnTo>
                      <a:pt x="182252" y="445371"/>
                    </a:lnTo>
                    <a:close/>
                  </a:path>
                </a:pathLst>
              </a:custGeom>
              <a:solidFill>
                <a:srgbClr val="FFFFFF"/>
              </a:solidFill>
              <a:ln w="12700" algn="ctr">
                <a:solidFill>
                  <a:srgbClr val="772432"/>
                </a:solid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grpSp>
        <p:nvGrpSpPr>
          <p:cNvPr id="60" name="Group 59">
            <a:extLst>
              <a:ext uri="{FF2B5EF4-FFF2-40B4-BE49-F238E27FC236}">
                <a16:creationId xmlns:a16="http://schemas.microsoft.com/office/drawing/2014/main" id="{DCA4B8B2-D3EA-4991-A3A9-399A0A9E4B7B}"/>
              </a:ext>
            </a:extLst>
          </p:cNvPr>
          <p:cNvGrpSpPr/>
          <p:nvPr/>
        </p:nvGrpSpPr>
        <p:grpSpPr>
          <a:xfrm>
            <a:off x="4724401" y="3158700"/>
            <a:ext cx="5486323" cy="744136"/>
            <a:chOff x="3200400" y="2938166"/>
            <a:chExt cx="5486323" cy="744136"/>
          </a:xfrm>
        </p:grpSpPr>
        <p:sp>
          <p:nvSpPr>
            <p:cNvPr id="147" name="Rectangle 146"/>
            <p:cNvSpPr/>
            <p:nvPr/>
          </p:nvSpPr>
          <p:spPr>
            <a:xfrm>
              <a:off x="4193632" y="2940902"/>
              <a:ext cx="4493091" cy="738664"/>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defRPr/>
              </a:pPr>
              <a:r>
                <a:rPr lang="en-US" b="1" kern="0" dirty="0">
                  <a:solidFill>
                    <a:srgbClr val="373737"/>
                  </a:solidFill>
                  <a:latin typeface="Calibri"/>
                </a:rPr>
                <a:t>Veteran Focused</a:t>
              </a:r>
            </a:p>
            <a:p>
              <a:pPr>
                <a:defRPr/>
              </a:pPr>
              <a:r>
                <a:rPr lang="en-US" sz="1200" kern="0" dirty="0">
                  <a:solidFill>
                    <a:srgbClr val="373737"/>
                  </a:solidFill>
                  <a:latin typeface="Calibri"/>
                </a:rPr>
                <a:t>VA has helped over 530,000 veterans, active-duty service members and their families with a VA-guaranteed home loan avoid foreclosure</a:t>
              </a:r>
            </a:p>
          </p:txBody>
        </p:sp>
        <p:grpSp>
          <p:nvGrpSpPr>
            <p:cNvPr id="148" name="Group 147"/>
            <p:cNvGrpSpPr/>
            <p:nvPr/>
          </p:nvGrpSpPr>
          <p:grpSpPr>
            <a:xfrm>
              <a:off x="3200400" y="2938166"/>
              <a:ext cx="745843" cy="744136"/>
              <a:chOff x="3604627" y="2998608"/>
              <a:chExt cx="745843" cy="745843"/>
            </a:xfrm>
          </p:grpSpPr>
          <p:sp>
            <p:nvSpPr>
              <p:cNvPr id="149" name="Oval 148"/>
              <p:cNvSpPr/>
              <p:nvPr/>
            </p:nvSpPr>
            <p:spPr bwMode="gray">
              <a:xfrm>
                <a:off x="3604627" y="2998608"/>
                <a:ext cx="745843" cy="745843"/>
              </a:xfrm>
              <a:prstGeom prst="ellipse">
                <a:avLst/>
              </a:prstGeom>
              <a:solidFill>
                <a:srgbClr val="0083B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150" name="Group 149"/>
              <p:cNvGrpSpPr/>
              <p:nvPr/>
            </p:nvGrpSpPr>
            <p:grpSpPr>
              <a:xfrm>
                <a:off x="3705130" y="3103278"/>
                <a:ext cx="497209" cy="536503"/>
                <a:chOff x="3705130" y="3103278"/>
                <a:chExt cx="497209" cy="536503"/>
              </a:xfrm>
            </p:grpSpPr>
            <p:sp>
              <p:nvSpPr>
                <p:cNvPr id="151" name="Rounded Rectangle 150"/>
                <p:cNvSpPr/>
                <p:nvPr/>
              </p:nvSpPr>
              <p:spPr bwMode="gray">
                <a:xfrm rot="19507311">
                  <a:off x="3950200" y="3280172"/>
                  <a:ext cx="252139" cy="359609"/>
                </a:xfrm>
                <a:prstGeom prst="roundRect">
                  <a:avLst>
                    <a:gd name="adj" fmla="val 24011"/>
                  </a:avLst>
                </a:prstGeom>
                <a:solidFill>
                  <a:srgbClr val="FFFFFF"/>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52" name="Rounded Rectangle 151"/>
                <p:cNvSpPr/>
                <p:nvPr/>
              </p:nvSpPr>
              <p:spPr bwMode="gray">
                <a:xfrm rot="19507311">
                  <a:off x="3961736" y="3291708"/>
                  <a:ext cx="229066" cy="336537"/>
                </a:xfrm>
                <a:prstGeom prst="roundRect">
                  <a:avLst>
                    <a:gd name="adj" fmla="val 23545"/>
                  </a:avLst>
                </a:prstGeom>
                <a:solidFill>
                  <a:srgbClr val="0083BE"/>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153" name="Group 152"/>
                <p:cNvGrpSpPr/>
                <p:nvPr/>
              </p:nvGrpSpPr>
              <p:grpSpPr>
                <a:xfrm rot="19507311">
                  <a:off x="4039066" y="3424200"/>
                  <a:ext cx="137633" cy="152870"/>
                  <a:chOff x="4439761" y="3337448"/>
                  <a:chExt cx="835163" cy="927623"/>
                </a:xfrm>
                <a:solidFill>
                  <a:srgbClr val="FFFFFF"/>
                </a:solidFill>
              </p:grpSpPr>
              <p:sp>
                <p:nvSpPr>
                  <p:cNvPr id="204" name="Rounded Rectangle 203"/>
                  <p:cNvSpPr/>
                  <p:nvPr/>
                </p:nvSpPr>
                <p:spPr bwMode="gray">
                  <a:xfrm rot="16200000">
                    <a:off x="4043337" y="3733873"/>
                    <a:ext cx="927622" cy="134774"/>
                  </a:xfrm>
                  <a:prstGeom prst="roundRect">
                    <a:avLst>
                      <a:gd name="adj" fmla="val 29777"/>
                    </a:avLst>
                  </a:prstGeom>
                  <a:grp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5" name="Rounded Rectangle 204"/>
                  <p:cNvSpPr/>
                  <p:nvPr/>
                </p:nvSpPr>
                <p:spPr bwMode="gray">
                  <a:xfrm rot="16200000">
                    <a:off x="4495046" y="3832951"/>
                    <a:ext cx="724590" cy="139648"/>
                  </a:xfrm>
                  <a:prstGeom prst="roundRect">
                    <a:avLst>
                      <a:gd name="adj" fmla="val 29777"/>
                    </a:avLst>
                  </a:prstGeom>
                  <a:grp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6" name="Rounded Rectangle 205"/>
                  <p:cNvSpPr/>
                  <p:nvPr/>
                </p:nvSpPr>
                <p:spPr bwMode="gray">
                  <a:xfrm rot="16200000">
                    <a:off x="4743726" y="3733872"/>
                    <a:ext cx="927622" cy="134774"/>
                  </a:xfrm>
                  <a:prstGeom prst="roundRect">
                    <a:avLst>
                      <a:gd name="adj" fmla="val 29777"/>
                    </a:avLst>
                  </a:prstGeom>
                  <a:grp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sp>
              <p:nvSpPr>
                <p:cNvPr id="154" name="Rounded Rectangle 153"/>
                <p:cNvSpPr/>
                <p:nvPr/>
              </p:nvSpPr>
              <p:spPr bwMode="gray">
                <a:xfrm rot="2700000">
                  <a:off x="3758865" y="3245704"/>
                  <a:ext cx="252139" cy="359609"/>
                </a:xfrm>
                <a:prstGeom prst="roundRect">
                  <a:avLst>
                    <a:gd name="adj" fmla="val 24011"/>
                  </a:avLst>
                </a:prstGeom>
                <a:solidFill>
                  <a:srgbClr val="FFFFFF"/>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55" name="Rounded Rectangle 154"/>
                <p:cNvSpPr/>
                <p:nvPr/>
              </p:nvSpPr>
              <p:spPr bwMode="gray">
                <a:xfrm rot="2700000">
                  <a:off x="3770401" y="3257240"/>
                  <a:ext cx="229066" cy="336537"/>
                </a:xfrm>
                <a:prstGeom prst="roundRect">
                  <a:avLst>
                    <a:gd name="adj" fmla="val 23545"/>
                  </a:avLst>
                </a:prstGeom>
                <a:solidFill>
                  <a:srgbClr val="0083BE"/>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56" name="Rounded Rectangle 155"/>
                <p:cNvSpPr/>
                <p:nvPr/>
              </p:nvSpPr>
              <p:spPr bwMode="gray">
                <a:xfrm rot="18900000">
                  <a:off x="3733222" y="3411861"/>
                  <a:ext cx="152870" cy="22211"/>
                </a:xfrm>
                <a:prstGeom prst="roundRect">
                  <a:avLst>
                    <a:gd name="adj" fmla="val 29777"/>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57" name="Rounded Rectangle 156"/>
                <p:cNvSpPr/>
                <p:nvPr/>
              </p:nvSpPr>
              <p:spPr bwMode="gray">
                <a:xfrm rot="18900000">
                  <a:off x="3778930" y="3464096"/>
                  <a:ext cx="119410" cy="23014"/>
                </a:xfrm>
                <a:prstGeom prst="roundRect">
                  <a:avLst>
                    <a:gd name="adj" fmla="val 29777"/>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58" name="Rounded Rectangle 157"/>
                <p:cNvSpPr/>
                <p:nvPr/>
              </p:nvSpPr>
              <p:spPr bwMode="gray">
                <a:xfrm rot="18900000">
                  <a:off x="3814839" y="3493477"/>
                  <a:ext cx="152870" cy="22211"/>
                </a:xfrm>
                <a:prstGeom prst="roundRect">
                  <a:avLst>
                    <a:gd name="adj" fmla="val 29777"/>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159" name="Group 158"/>
                <p:cNvGrpSpPr/>
                <p:nvPr/>
              </p:nvGrpSpPr>
              <p:grpSpPr>
                <a:xfrm>
                  <a:off x="3736029" y="3103278"/>
                  <a:ext cx="462032" cy="281663"/>
                  <a:chOff x="3736029" y="3103278"/>
                  <a:chExt cx="462032" cy="281663"/>
                </a:xfrm>
              </p:grpSpPr>
              <p:sp>
                <p:nvSpPr>
                  <p:cNvPr id="160" name="Oval 159"/>
                  <p:cNvSpPr/>
                  <p:nvPr/>
                </p:nvSpPr>
                <p:spPr bwMode="gray">
                  <a:xfrm>
                    <a:off x="3736675" y="3239536"/>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1" name="Oval 160"/>
                  <p:cNvSpPr/>
                  <p:nvPr/>
                </p:nvSpPr>
                <p:spPr bwMode="gray">
                  <a:xfrm>
                    <a:off x="3736029" y="3202854"/>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2" name="Oval 161"/>
                  <p:cNvSpPr/>
                  <p:nvPr/>
                </p:nvSpPr>
                <p:spPr bwMode="gray">
                  <a:xfrm>
                    <a:off x="3745308" y="3166661"/>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3" name="Oval 162"/>
                  <p:cNvSpPr/>
                  <p:nvPr/>
                </p:nvSpPr>
                <p:spPr bwMode="gray">
                  <a:xfrm>
                    <a:off x="3762037" y="3141817"/>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4" name="Oval 163"/>
                  <p:cNvSpPr/>
                  <p:nvPr/>
                </p:nvSpPr>
                <p:spPr bwMode="gray">
                  <a:xfrm>
                    <a:off x="3789395" y="3121662"/>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5" name="Oval 164"/>
                  <p:cNvSpPr/>
                  <p:nvPr/>
                </p:nvSpPr>
                <p:spPr bwMode="gray">
                  <a:xfrm>
                    <a:off x="3820463" y="3106989"/>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6" name="Oval 165"/>
                  <p:cNvSpPr/>
                  <p:nvPr/>
                </p:nvSpPr>
                <p:spPr bwMode="gray">
                  <a:xfrm>
                    <a:off x="3850082" y="3103278"/>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7" name="Oval 166"/>
                  <p:cNvSpPr/>
                  <p:nvPr/>
                </p:nvSpPr>
                <p:spPr bwMode="gray">
                  <a:xfrm>
                    <a:off x="3882334" y="3104247"/>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8" name="Oval 167"/>
                  <p:cNvSpPr/>
                  <p:nvPr/>
                </p:nvSpPr>
                <p:spPr bwMode="gray">
                  <a:xfrm>
                    <a:off x="3916108" y="3111879"/>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69" name="Oval 168"/>
                  <p:cNvSpPr/>
                  <p:nvPr/>
                </p:nvSpPr>
                <p:spPr bwMode="gray">
                  <a:xfrm>
                    <a:off x="3945831" y="3122011"/>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0" name="Oval 169"/>
                  <p:cNvSpPr/>
                  <p:nvPr/>
                </p:nvSpPr>
                <p:spPr bwMode="gray">
                  <a:xfrm>
                    <a:off x="3975655" y="3136721"/>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1" name="Oval 170"/>
                  <p:cNvSpPr/>
                  <p:nvPr/>
                </p:nvSpPr>
                <p:spPr bwMode="gray">
                  <a:xfrm>
                    <a:off x="4001664" y="3155614"/>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2" name="Oval 171"/>
                  <p:cNvSpPr/>
                  <p:nvPr/>
                </p:nvSpPr>
                <p:spPr bwMode="gray">
                  <a:xfrm>
                    <a:off x="4026265" y="3173092"/>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3" name="Oval 172"/>
                  <p:cNvSpPr/>
                  <p:nvPr/>
                </p:nvSpPr>
                <p:spPr bwMode="gray">
                  <a:xfrm>
                    <a:off x="4052274" y="3197128"/>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4" name="Oval 173"/>
                  <p:cNvSpPr/>
                  <p:nvPr/>
                </p:nvSpPr>
                <p:spPr bwMode="gray">
                  <a:xfrm>
                    <a:off x="4080284" y="3211573"/>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5" name="Oval 174"/>
                  <p:cNvSpPr/>
                  <p:nvPr/>
                </p:nvSpPr>
                <p:spPr bwMode="gray">
                  <a:xfrm>
                    <a:off x="4110686" y="3222582"/>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6" name="Oval 175"/>
                  <p:cNvSpPr/>
                  <p:nvPr/>
                </p:nvSpPr>
                <p:spPr bwMode="gray">
                  <a:xfrm>
                    <a:off x="4140102" y="3235302"/>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7" name="Oval 176"/>
                  <p:cNvSpPr/>
                  <p:nvPr/>
                </p:nvSpPr>
                <p:spPr bwMode="gray">
                  <a:xfrm>
                    <a:off x="4162973" y="3255977"/>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78" name="Oval 177"/>
                  <p:cNvSpPr/>
                  <p:nvPr/>
                </p:nvSpPr>
                <p:spPr bwMode="gray">
                  <a:xfrm>
                    <a:off x="4172052" y="3289229"/>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179" name="Group 178"/>
                  <p:cNvGrpSpPr/>
                  <p:nvPr/>
                </p:nvGrpSpPr>
                <p:grpSpPr>
                  <a:xfrm>
                    <a:off x="3744810" y="3262660"/>
                    <a:ext cx="34430" cy="34077"/>
                    <a:chOff x="1935858" y="2762880"/>
                    <a:chExt cx="187215" cy="185298"/>
                  </a:xfrm>
                </p:grpSpPr>
                <p:sp>
                  <p:nvSpPr>
                    <p:cNvPr id="202" name="Oval 201"/>
                    <p:cNvSpPr/>
                    <p:nvPr/>
                  </p:nvSpPr>
                  <p:spPr bwMode="gray">
                    <a:xfrm>
                      <a:off x="1935858" y="2762880"/>
                      <a:ext cx="187215" cy="185298"/>
                    </a:xfrm>
                    <a:prstGeom prst="ellipse">
                      <a:avLst/>
                    </a:prstGeom>
                    <a:solidFill>
                      <a:srgbClr val="0083B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3" name="Oval 202"/>
                    <p:cNvSpPr/>
                    <p:nvPr/>
                  </p:nvSpPr>
                  <p:spPr bwMode="gray">
                    <a:xfrm>
                      <a:off x="1958753" y="2785541"/>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180" name="Group 179"/>
                  <p:cNvGrpSpPr/>
                  <p:nvPr/>
                </p:nvGrpSpPr>
                <p:grpSpPr>
                  <a:xfrm rot="2700000">
                    <a:off x="3927989" y="3330930"/>
                    <a:ext cx="54288" cy="53733"/>
                    <a:chOff x="5375476" y="2848037"/>
                    <a:chExt cx="295200" cy="292178"/>
                  </a:xfrm>
                </p:grpSpPr>
                <p:sp>
                  <p:nvSpPr>
                    <p:cNvPr id="200" name="Oval 199"/>
                    <p:cNvSpPr/>
                    <p:nvPr/>
                  </p:nvSpPr>
                  <p:spPr bwMode="gray">
                    <a:xfrm rot="18900000">
                      <a:off x="5375476" y="2848037"/>
                      <a:ext cx="295200" cy="292178"/>
                    </a:xfrm>
                    <a:prstGeom prst="ellipse">
                      <a:avLst/>
                    </a:prstGeom>
                    <a:solidFill>
                      <a:srgbClr val="0083B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1" name="Oval 200"/>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181" name="Group 180"/>
                  <p:cNvGrpSpPr/>
                  <p:nvPr/>
                </p:nvGrpSpPr>
                <p:grpSpPr>
                  <a:xfrm rot="2700000">
                    <a:off x="3899993" y="3334971"/>
                    <a:ext cx="40514" cy="40099"/>
                    <a:chOff x="5375476" y="2848037"/>
                    <a:chExt cx="295200" cy="292178"/>
                  </a:xfrm>
                </p:grpSpPr>
                <p:sp>
                  <p:nvSpPr>
                    <p:cNvPr id="198" name="Oval 197"/>
                    <p:cNvSpPr/>
                    <p:nvPr/>
                  </p:nvSpPr>
                  <p:spPr bwMode="gray">
                    <a:xfrm rot="18900000">
                      <a:off x="5375476" y="2848037"/>
                      <a:ext cx="295200" cy="292178"/>
                    </a:xfrm>
                    <a:prstGeom prst="ellipse">
                      <a:avLst/>
                    </a:prstGeom>
                    <a:solidFill>
                      <a:srgbClr val="0083B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9" name="Oval 198"/>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182" name="Group 181"/>
                  <p:cNvGrpSpPr/>
                  <p:nvPr/>
                </p:nvGrpSpPr>
                <p:grpSpPr>
                  <a:xfrm rot="2700000">
                    <a:off x="3871492" y="3328613"/>
                    <a:ext cx="40514" cy="40099"/>
                    <a:chOff x="5375476" y="2848037"/>
                    <a:chExt cx="295200" cy="292178"/>
                  </a:xfrm>
                </p:grpSpPr>
                <p:sp>
                  <p:nvSpPr>
                    <p:cNvPr id="196" name="Oval 195"/>
                    <p:cNvSpPr/>
                    <p:nvPr/>
                  </p:nvSpPr>
                  <p:spPr bwMode="gray">
                    <a:xfrm rot="18900000">
                      <a:off x="5375476" y="2848037"/>
                      <a:ext cx="295200" cy="292178"/>
                    </a:xfrm>
                    <a:prstGeom prst="ellipse">
                      <a:avLst/>
                    </a:prstGeom>
                    <a:solidFill>
                      <a:srgbClr val="0083B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7" name="Oval 196"/>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183" name="Group 182"/>
                  <p:cNvGrpSpPr/>
                  <p:nvPr/>
                </p:nvGrpSpPr>
                <p:grpSpPr>
                  <a:xfrm rot="2700000">
                    <a:off x="3844285" y="3319056"/>
                    <a:ext cx="40514" cy="40099"/>
                    <a:chOff x="5375476" y="2848037"/>
                    <a:chExt cx="295200" cy="292178"/>
                  </a:xfrm>
                </p:grpSpPr>
                <p:sp>
                  <p:nvSpPr>
                    <p:cNvPr id="194" name="Oval 193"/>
                    <p:cNvSpPr/>
                    <p:nvPr/>
                  </p:nvSpPr>
                  <p:spPr bwMode="gray">
                    <a:xfrm rot="18900000">
                      <a:off x="5375476" y="2848037"/>
                      <a:ext cx="295200" cy="292178"/>
                    </a:xfrm>
                    <a:prstGeom prst="ellipse">
                      <a:avLst/>
                    </a:prstGeom>
                    <a:solidFill>
                      <a:srgbClr val="0083B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5" name="Oval 194"/>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184" name="Group 183"/>
                  <p:cNvGrpSpPr/>
                  <p:nvPr/>
                </p:nvGrpSpPr>
                <p:grpSpPr>
                  <a:xfrm rot="2700000">
                    <a:off x="3816689" y="3311743"/>
                    <a:ext cx="40514" cy="40099"/>
                    <a:chOff x="5375476" y="2848037"/>
                    <a:chExt cx="295200" cy="292178"/>
                  </a:xfrm>
                </p:grpSpPr>
                <p:sp>
                  <p:nvSpPr>
                    <p:cNvPr id="192" name="Oval 191"/>
                    <p:cNvSpPr/>
                    <p:nvPr/>
                  </p:nvSpPr>
                  <p:spPr bwMode="gray">
                    <a:xfrm rot="18900000">
                      <a:off x="5375476" y="2848037"/>
                      <a:ext cx="295200" cy="292178"/>
                    </a:xfrm>
                    <a:prstGeom prst="ellipse">
                      <a:avLst/>
                    </a:prstGeom>
                    <a:solidFill>
                      <a:srgbClr val="0083B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3" name="Oval 192"/>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185" name="Group 184"/>
                  <p:cNvGrpSpPr/>
                  <p:nvPr/>
                </p:nvGrpSpPr>
                <p:grpSpPr>
                  <a:xfrm rot="2700000">
                    <a:off x="3789388" y="3299512"/>
                    <a:ext cx="40514" cy="40099"/>
                    <a:chOff x="5375476" y="2848037"/>
                    <a:chExt cx="295200" cy="292178"/>
                  </a:xfrm>
                </p:grpSpPr>
                <p:sp>
                  <p:nvSpPr>
                    <p:cNvPr id="190" name="Oval 189"/>
                    <p:cNvSpPr/>
                    <p:nvPr/>
                  </p:nvSpPr>
                  <p:spPr bwMode="gray">
                    <a:xfrm rot="18900000">
                      <a:off x="5375476" y="2848037"/>
                      <a:ext cx="295200" cy="292178"/>
                    </a:xfrm>
                    <a:prstGeom prst="ellipse">
                      <a:avLst/>
                    </a:prstGeom>
                    <a:solidFill>
                      <a:srgbClr val="0083B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1" name="Oval 190"/>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186" name="Group 185"/>
                  <p:cNvGrpSpPr/>
                  <p:nvPr/>
                </p:nvGrpSpPr>
                <p:grpSpPr>
                  <a:xfrm rot="2700000">
                    <a:off x="3763698" y="3284217"/>
                    <a:ext cx="40514" cy="40099"/>
                    <a:chOff x="5375476" y="2848037"/>
                    <a:chExt cx="295200" cy="292178"/>
                  </a:xfrm>
                </p:grpSpPr>
                <p:sp>
                  <p:nvSpPr>
                    <p:cNvPr id="188" name="Oval 187"/>
                    <p:cNvSpPr/>
                    <p:nvPr/>
                  </p:nvSpPr>
                  <p:spPr bwMode="gray">
                    <a:xfrm rot="18900000">
                      <a:off x="5375476" y="2848037"/>
                      <a:ext cx="295200" cy="292178"/>
                    </a:xfrm>
                    <a:prstGeom prst="ellipse">
                      <a:avLst/>
                    </a:prstGeom>
                    <a:solidFill>
                      <a:srgbClr val="0083B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89" name="Oval 188"/>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sp>
                <p:nvSpPr>
                  <p:cNvPr id="187" name="Oval 186"/>
                  <p:cNvSpPr/>
                  <p:nvPr/>
                </p:nvSpPr>
                <p:spPr bwMode="gray">
                  <a:xfrm>
                    <a:off x="4164905" y="3324941"/>
                    <a:ext cx="26009" cy="25742"/>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grpSp>
      </p:grpSp>
      <p:grpSp>
        <p:nvGrpSpPr>
          <p:cNvPr id="131" name="Group 130">
            <a:extLst>
              <a:ext uri="{FF2B5EF4-FFF2-40B4-BE49-F238E27FC236}">
                <a16:creationId xmlns:a16="http://schemas.microsoft.com/office/drawing/2014/main" id="{C84A8B9B-6629-4D15-9262-9D2D60630424}"/>
              </a:ext>
            </a:extLst>
          </p:cNvPr>
          <p:cNvGrpSpPr/>
          <p:nvPr/>
        </p:nvGrpSpPr>
        <p:grpSpPr>
          <a:xfrm>
            <a:off x="4724401" y="4140982"/>
            <a:ext cx="5486323" cy="744136"/>
            <a:chOff x="3200400" y="4004966"/>
            <a:chExt cx="5486323" cy="744136"/>
          </a:xfrm>
        </p:grpSpPr>
        <p:sp>
          <p:nvSpPr>
            <p:cNvPr id="208" name="Rectangle 207"/>
            <p:cNvSpPr/>
            <p:nvPr/>
          </p:nvSpPr>
          <p:spPr>
            <a:xfrm>
              <a:off x="4193632" y="4007702"/>
              <a:ext cx="4493091" cy="738664"/>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defRPr/>
              </a:pPr>
              <a:r>
                <a:rPr lang="en-US" b="1" kern="0" dirty="0">
                  <a:solidFill>
                    <a:srgbClr val="373737"/>
                  </a:solidFill>
                  <a:latin typeface="Calibri"/>
                </a:rPr>
                <a:t>Oversight Enabled</a:t>
              </a:r>
            </a:p>
            <a:p>
              <a:pPr>
                <a:defRPr/>
              </a:pPr>
              <a:r>
                <a:rPr lang="en-US" sz="1200" kern="0" dirty="0">
                  <a:solidFill>
                    <a:srgbClr val="373737"/>
                  </a:solidFill>
                  <a:latin typeface="Calibri"/>
                </a:rPr>
                <a:t>VALERI monitors current information on 2.5+ million VA-guaranteed loans, enabling servicers and VA to work together to assist borrowers</a:t>
              </a:r>
            </a:p>
          </p:txBody>
        </p:sp>
        <p:grpSp>
          <p:nvGrpSpPr>
            <p:cNvPr id="209" name="Group 208"/>
            <p:cNvGrpSpPr/>
            <p:nvPr/>
          </p:nvGrpSpPr>
          <p:grpSpPr>
            <a:xfrm>
              <a:off x="3200400" y="4004966"/>
              <a:ext cx="745843" cy="744136"/>
              <a:chOff x="3604627" y="4270122"/>
              <a:chExt cx="745843" cy="745843"/>
            </a:xfrm>
          </p:grpSpPr>
          <p:sp>
            <p:nvSpPr>
              <p:cNvPr id="210" name="Oval 209"/>
              <p:cNvSpPr/>
              <p:nvPr/>
            </p:nvSpPr>
            <p:spPr bwMode="gray">
              <a:xfrm>
                <a:off x="3604627" y="4270122"/>
                <a:ext cx="745843" cy="745843"/>
              </a:xfrm>
              <a:prstGeom prst="ellipse">
                <a:avLst/>
              </a:prstGeom>
              <a:solidFill>
                <a:srgbClr val="C6262E"/>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11" name="Freeform 210"/>
              <p:cNvSpPr>
                <a:spLocks noEditPoints="1"/>
              </p:cNvSpPr>
              <p:nvPr/>
            </p:nvSpPr>
            <p:spPr bwMode="auto">
              <a:xfrm>
                <a:off x="3712629" y="4466431"/>
                <a:ext cx="529838" cy="353224"/>
              </a:xfrm>
              <a:custGeom>
                <a:avLst/>
                <a:gdLst>
                  <a:gd name="T0" fmla="*/ 174 w 181"/>
                  <a:gd name="T1" fmla="*/ 69 h 126"/>
                  <a:gd name="T2" fmla="*/ 136 w 181"/>
                  <a:gd name="T3" fmla="*/ 21 h 126"/>
                  <a:gd name="T4" fmla="*/ 136 w 181"/>
                  <a:gd name="T5" fmla="*/ 18 h 126"/>
                  <a:gd name="T6" fmla="*/ 115 w 181"/>
                  <a:gd name="T7" fmla="*/ 0 h 126"/>
                  <a:gd name="T8" fmla="*/ 94 w 181"/>
                  <a:gd name="T9" fmla="*/ 18 h 126"/>
                  <a:gd name="T10" fmla="*/ 88 w 181"/>
                  <a:gd name="T11" fmla="*/ 18 h 126"/>
                  <a:gd name="T12" fmla="*/ 67 w 181"/>
                  <a:gd name="T13" fmla="*/ 0 h 126"/>
                  <a:gd name="T14" fmla="*/ 47 w 181"/>
                  <a:gd name="T15" fmla="*/ 18 h 126"/>
                  <a:gd name="T16" fmla="*/ 47 w 181"/>
                  <a:gd name="T17" fmla="*/ 21 h 126"/>
                  <a:gd name="T18" fmla="*/ 6 w 181"/>
                  <a:gd name="T19" fmla="*/ 71 h 126"/>
                  <a:gd name="T20" fmla="*/ 0 w 181"/>
                  <a:gd name="T21" fmla="*/ 90 h 126"/>
                  <a:gd name="T22" fmla="*/ 36 w 181"/>
                  <a:gd name="T23" fmla="*/ 126 h 126"/>
                  <a:gd name="T24" fmla="*/ 73 w 181"/>
                  <a:gd name="T25" fmla="*/ 90 h 126"/>
                  <a:gd name="T26" fmla="*/ 72 w 181"/>
                  <a:gd name="T27" fmla="*/ 83 h 126"/>
                  <a:gd name="T28" fmla="*/ 91 w 181"/>
                  <a:gd name="T29" fmla="*/ 94 h 126"/>
                  <a:gd name="T30" fmla="*/ 109 w 181"/>
                  <a:gd name="T31" fmla="*/ 85 h 126"/>
                  <a:gd name="T32" fmla="*/ 108 w 181"/>
                  <a:gd name="T33" fmla="*/ 90 h 126"/>
                  <a:gd name="T34" fmla="*/ 144 w 181"/>
                  <a:gd name="T35" fmla="*/ 126 h 126"/>
                  <a:gd name="T36" fmla="*/ 181 w 181"/>
                  <a:gd name="T37" fmla="*/ 90 h 126"/>
                  <a:gd name="T38" fmla="*/ 174 w 181"/>
                  <a:gd name="T39" fmla="*/ 69 h 126"/>
                  <a:gd name="T40" fmla="*/ 144 w 181"/>
                  <a:gd name="T41" fmla="*/ 123 h 126"/>
                  <a:gd name="T42" fmla="*/ 112 w 181"/>
                  <a:gd name="T43" fmla="*/ 90 h 126"/>
                  <a:gd name="T44" fmla="*/ 115 w 181"/>
                  <a:gd name="T45" fmla="*/ 76 h 126"/>
                  <a:gd name="T46" fmla="*/ 144 w 181"/>
                  <a:gd name="T47" fmla="*/ 57 h 126"/>
                  <a:gd name="T48" fmla="*/ 173 w 181"/>
                  <a:gd name="T49" fmla="*/ 74 h 126"/>
                  <a:gd name="T50" fmla="*/ 177 w 181"/>
                  <a:gd name="T51" fmla="*/ 90 h 126"/>
                  <a:gd name="T52" fmla="*/ 144 w 181"/>
                  <a:gd name="T53" fmla="*/ 123 h 126"/>
                  <a:gd name="T54" fmla="*/ 103 w 181"/>
                  <a:gd name="T55" fmla="*/ 77 h 126"/>
                  <a:gd name="T56" fmla="*/ 91 w 181"/>
                  <a:gd name="T57" fmla="*/ 86 h 126"/>
                  <a:gd name="T58" fmla="*/ 79 w 181"/>
                  <a:gd name="T59" fmla="*/ 78 h 126"/>
                  <a:gd name="T60" fmla="*/ 78 w 181"/>
                  <a:gd name="T61" fmla="*/ 72 h 126"/>
                  <a:gd name="T62" fmla="*/ 91 w 181"/>
                  <a:gd name="T63" fmla="*/ 59 h 126"/>
                  <a:gd name="T64" fmla="*/ 104 w 181"/>
                  <a:gd name="T65" fmla="*/ 72 h 126"/>
                  <a:gd name="T66" fmla="*/ 103 w 181"/>
                  <a:gd name="T67" fmla="*/ 77 h 126"/>
                  <a:gd name="T68" fmla="*/ 36 w 181"/>
                  <a:gd name="T69" fmla="*/ 123 h 126"/>
                  <a:gd name="T70" fmla="*/ 4 w 181"/>
                  <a:gd name="T71" fmla="*/ 90 h 126"/>
                  <a:gd name="T72" fmla="*/ 5 w 181"/>
                  <a:gd name="T73" fmla="*/ 81 h 126"/>
                  <a:gd name="T74" fmla="*/ 36 w 181"/>
                  <a:gd name="T75" fmla="*/ 57 h 126"/>
                  <a:gd name="T76" fmla="*/ 67 w 181"/>
                  <a:gd name="T77" fmla="*/ 78 h 126"/>
                  <a:gd name="T78" fmla="*/ 69 w 181"/>
                  <a:gd name="T79" fmla="*/ 90 h 126"/>
                  <a:gd name="T80" fmla="*/ 36 w 181"/>
                  <a:gd name="T81" fmla="*/ 1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74" y="69"/>
                    </a:moveTo>
                    <a:cubicBezTo>
                      <a:pt x="163" y="48"/>
                      <a:pt x="144" y="29"/>
                      <a:pt x="136" y="21"/>
                    </a:cubicBezTo>
                    <a:cubicBezTo>
                      <a:pt x="136" y="20"/>
                      <a:pt x="136" y="19"/>
                      <a:pt x="136" y="18"/>
                    </a:cubicBezTo>
                    <a:cubicBezTo>
                      <a:pt x="136" y="8"/>
                      <a:pt x="127" y="0"/>
                      <a:pt x="115" y="0"/>
                    </a:cubicBezTo>
                    <a:cubicBezTo>
                      <a:pt x="104" y="0"/>
                      <a:pt x="94" y="8"/>
                      <a:pt x="94" y="18"/>
                    </a:cubicBezTo>
                    <a:cubicBezTo>
                      <a:pt x="88" y="18"/>
                      <a:pt x="88" y="18"/>
                      <a:pt x="88" y="18"/>
                    </a:cubicBezTo>
                    <a:cubicBezTo>
                      <a:pt x="88" y="8"/>
                      <a:pt x="79" y="0"/>
                      <a:pt x="67" y="0"/>
                    </a:cubicBezTo>
                    <a:cubicBezTo>
                      <a:pt x="56" y="0"/>
                      <a:pt x="47" y="8"/>
                      <a:pt x="47" y="18"/>
                    </a:cubicBezTo>
                    <a:cubicBezTo>
                      <a:pt x="47" y="19"/>
                      <a:pt x="47" y="20"/>
                      <a:pt x="47" y="21"/>
                    </a:cubicBezTo>
                    <a:cubicBezTo>
                      <a:pt x="21" y="44"/>
                      <a:pt x="10" y="61"/>
                      <a:pt x="6" y="71"/>
                    </a:cubicBezTo>
                    <a:cubicBezTo>
                      <a:pt x="2" y="77"/>
                      <a:pt x="0" y="83"/>
                      <a:pt x="0" y="90"/>
                    </a:cubicBezTo>
                    <a:cubicBezTo>
                      <a:pt x="0" y="110"/>
                      <a:pt x="17" y="126"/>
                      <a:pt x="36" y="126"/>
                    </a:cubicBezTo>
                    <a:cubicBezTo>
                      <a:pt x="56" y="126"/>
                      <a:pt x="73" y="110"/>
                      <a:pt x="73" y="90"/>
                    </a:cubicBezTo>
                    <a:cubicBezTo>
                      <a:pt x="73" y="87"/>
                      <a:pt x="72" y="85"/>
                      <a:pt x="72" y="83"/>
                    </a:cubicBezTo>
                    <a:cubicBezTo>
                      <a:pt x="76" y="89"/>
                      <a:pt x="83" y="94"/>
                      <a:pt x="91" y="94"/>
                    </a:cubicBezTo>
                    <a:cubicBezTo>
                      <a:pt x="98" y="94"/>
                      <a:pt x="105" y="90"/>
                      <a:pt x="109" y="85"/>
                    </a:cubicBezTo>
                    <a:cubicBezTo>
                      <a:pt x="108" y="86"/>
                      <a:pt x="108" y="88"/>
                      <a:pt x="108" y="90"/>
                    </a:cubicBezTo>
                    <a:cubicBezTo>
                      <a:pt x="108" y="110"/>
                      <a:pt x="125" y="126"/>
                      <a:pt x="144" y="126"/>
                    </a:cubicBezTo>
                    <a:cubicBezTo>
                      <a:pt x="164" y="126"/>
                      <a:pt x="181" y="110"/>
                      <a:pt x="181" y="90"/>
                    </a:cubicBezTo>
                    <a:cubicBezTo>
                      <a:pt x="181" y="82"/>
                      <a:pt x="178" y="75"/>
                      <a:pt x="174" y="69"/>
                    </a:cubicBezTo>
                    <a:close/>
                    <a:moveTo>
                      <a:pt x="144" y="123"/>
                    </a:moveTo>
                    <a:cubicBezTo>
                      <a:pt x="126" y="123"/>
                      <a:pt x="112" y="108"/>
                      <a:pt x="112" y="90"/>
                    </a:cubicBezTo>
                    <a:cubicBezTo>
                      <a:pt x="112" y="85"/>
                      <a:pt x="113" y="80"/>
                      <a:pt x="115" y="76"/>
                    </a:cubicBezTo>
                    <a:cubicBezTo>
                      <a:pt x="120" y="65"/>
                      <a:pt x="131" y="57"/>
                      <a:pt x="144" y="57"/>
                    </a:cubicBezTo>
                    <a:cubicBezTo>
                      <a:pt x="157" y="57"/>
                      <a:pt x="167" y="64"/>
                      <a:pt x="173" y="74"/>
                    </a:cubicBezTo>
                    <a:cubicBezTo>
                      <a:pt x="176" y="79"/>
                      <a:pt x="177" y="84"/>
                      <a:pt x="177" y="90"/>
                    </a:cubicBezTo>
                    <a:cubicBezTo>
                      <a:pt x="177" y="108"/>
                      <a:pt x="163" y="123"/>
                      <a:pt x="144" y="123"/>
                    </a:cubicBezTo>
                    <a:close/>
                    <a:moveTo>
                      <a:pt x="103" y="77"/>
                    </a:moveTo>
                    <a:cubicBezTo>
                      <a:pt x="102" y="82"/>
                      <a:pt x="97" y="86"/>
                      <a:pt x="91" y="86"/>
                    </a:cubicBezTo>
                    <a:cubicBezTo>
                      <a:pt x="86" y="86"/>
                      <a:pt x="81" y="82"/>
                      <a:pt x="79" y="78"/>
                    </a:cubicBezTo>
                    <a:cubicBezTo>
                      <a:pt x="78" y="76"/>
                      <a:pt x="78" y="74"/>
                      <a:pt x="78" y="72"/>
                    </a:cubicBezTo>
                    <a:cubicBezTo>
                      <a:pt x="78" y="65"/>
                      <a:pt x="84" y="59"/>
                      <a:pt x="91" y="59"/>
                    </a:cubicBezTo>
                    <a:cubicBezTo>
                      <a:pt x="98" y="59"/>
                      <a:pt x="104" y="65"/>
                      <a:pt x="104" y="72"/>
                    </a:cubicBezTo>
                    <a:cubicBezTo>
                      <a:pt x="104" y="74"/>
                      <a:pt x="104" y="75"/>
                      <a:pt x="103" y="77"/>
                    </a:cubicBezTo>
                    <a:close/>
                    <a:moveTo>
                      <a:pt x="36" y="123"/>
                    </a:moveTo>
                    <a:cubicBezTo>
                      <a:pt x="18" y="123"/>
                      <a:pt x="4" y="108"/>
                      <a:pt x="4" y="90"/>
                    </a:cubicBezTo>
                    <a:cubicBezTo>
                      <a:pt x="4" y="87"/>
                      <a:pt x="4" y="84"/>
                      <a:pt x="5" y="81"/>
                    </a:cubicBezTo>
                    <a:cubicBezTo>
                      <a:pt x="9" y="67"/>
                      <a:pt x="22" y="57"/>
                      <a:pt x="36" y="57"/>
                    </a:cubicBezTo>
                    <a:cubicBezTo>
                      <a:pt x="50" y="57"/>
                      <a:pt x="62" y="66"/>
                      <a:pt x="67" y="78"/>
                    </a:cubicBezTo>
                    <a:cubicBezTo>
                      <a:pt x="69" y="82"/>
                      <a:pt x="69" y="86"/>
                      <a:pt x="69" y="90"/>
                    </a:cubicBezTo>
                    <a:cubicBezTo>
                      <a:pt x="69" y="108"/>
                      <a:pt x="55" y="123"/>
                      <a:pt x="36" y="123"/>
                    </a:cubicBezTo>
                    <a:close/>
                  </a:path>
                </a:pathLst>
              </a:custGeom>
              <a:solidFill>
                <a:srgbClr val="FFFFFF"/>
              </a:solidFill>
              <a:ln w="38100">
                <a:noFill/>
              </a:ln>
              <a:extLst/>
            </p:spPr>
            <p:txBody>
              <a:bodyPr vert="horz" wrap="square" lIns="85725" tIns="42863" rIns="85725" bIns="42863" numCol="1" anchor="t" anchorCtr="0" compatLnSpc="1">
                <a:prstTxWarp prst="textNoShape">
                  <a:avLst/>
                </a:prstTxWarp>
              </a:bodyPr>
              <a:lstStyle/>
              <a:p>
                <a:pPr>
                  <a:defRPr/>
                </a:pPr>
                <a:endParaRPr lang="en-US" sz="2025" kern="0" dirty="0">
                  <a:solidFill>
                    <a:srgbClr val="003F72"/>
                  </a:solidFill>
                  <a:latin typeface="Calibri"/>
                </a:endParaRPr>
              </a:p>
            </p:txBody>
          </p:sp>
        </p:grpSp>
      </p:grpSp>
      <p:grpSp>
        <p:nvGrpSpPr>
          <p:cNvPr id="130" name="Group 129">
            <a:extLst>
              <a:ext uri="{FF2B5EF4-FFF2-40B4-BE49-F238E27FC236}">
                <a16:creationId xmlns:a16="http://schemas.microsoft.com/office/drawing/2014/main" id="{BF868197-7143-443B-B350-95C2E320054F}"/>
              </a:ext>
            </a:extLst>
          </p:cNvPr>
          <p:cNvGrpSpPr/>
          <p:nvPr/>
        </p:nvGrpSpPr>
        <p:grpSpPr>
          <a:xfrm>
            <a:off x="4724401" y="5123264"/>
            <a:ext cx="5486323" cy="744136"/>
            <a:chOff x="3200400" y="5114332"/>
            <a:chExt cx="5486323" cy="744136"/>
          </a:xfrm>
        </p:grpSpPr>
        <p:sp>
          <p:nvSpPr>
            <p:cNvPr id="219" name="Rectangle 218"/>
            <p:cNvSpPr/>
            <p:nvPr/>
          </p:nvSpPr>
          <p:spPr>
            <a:xfrm>
              <a:off x="4193632" y="5117068"/>
              <a:ext cx="4493091" cy="738664"/>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nchor="ctr">
              <a:spAutoFit/>
            </a:bodyPr>
            <a:lstStyle/>
            <a:p>
              <a:pPr>
                <a:defRPr/>
              </a:pPr>
              <a:r>
                <a:rPr lang="en-US" b="1" kern="0" dirty="0">
                  <a:solidFill>
                    <a:srgbClr val="373737"/>
                  </a:solidFill>
                  <a:latin typeface="Calibri"/>
                </a:rPr>
                <a:t>Communication Centered </a:t>
              </a:r>
            </a:p>
            <a:p>
              <a:pPr>
                <a:defRPr/>
              </a:pPr>
              <a:r>
                <a:rPr lang="en-US" sz="1200" kern="0" dirty="0">
                  <a:solidFill>
                    <a:srgbClr val="373737"/>
                  </a:solidFill>
                  <a:latin typeface="Calibri"/>
                </a:rPr>
                <a:t>VALERI helps the VA communicate with servicers of VA-guaranteed loans on a daily basis</a:t>
              </a:r>
            </a:p>
          </p:txBody>
        </p:sp>
        <p:grpSp>
          <p:nvGrpSpPr>
            <p:cNvPr id="2" name="Group 1"/>
            <p:cNvGrpSpPr/>
            <p:nvPr/>
          </p:nvGrpSpPr>
          <p:grpSpPr>
            <a:xfrm>
              <a:off x="3200400" y="5114332"/>
              <a:ext cx="745843" cy="744136"/>
              <a:chOff x="3604627" y="5274568"/>
              <a:chExt cx="745843" cy="744136"/>
            </a:xfrm>
          </p:grpSpPr>
          <p:sp>
            <p:nvSpPr>
              <p:cNvPr id="220" name="Oval 219"/>
              <p:cNvSpPr/>
              <p:nvPr/>
            </p:nvSpPr>
            <p:spPr bwMode="gray">
              <a:xfrm>
                <a:off x="3604627" y="5274568"/>
                <a:ext cx="745843" cy="744136"/>
              </a:xfrm>
              <a:prstGeom prst="ellipse">
                <a:avLst/>
              </a:prstGeom>
              <a:solidFill>
                <a:srgbClr val="003F72"/>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14" name="Oval Callout 213"/>
              <p:cNvSpPr/>
              <p:nvPr/>
            </p:nvSpPr>
            <p:spPr bwMode="gray">
              <a:xfrm>
                <a:off x="3735660" y="5463545"/>
                <a:ext cx="516093" cy="344991"/>
              </a:xfrm>
              <a:prstGeom prst="wedgeEllipseCallout">
                <a:avLst>
                  <a:gd name="adj1" fmla="val -31168"/>
                  <a:gd name="adj2" fmla="val 81232"/>
                </a:avLst>
              </a:prstGeom>
              <a:solidFill>
                <a:srgbClr val="FFFFFF"/>
              </a:solidFill>
              <a:ln w="19050" algn="ctr">
                <a:solidFill>
                  <a:srgbClr val="003F72"/>
                </a:solid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15" name="Group 214"/>
              <p:cNvGrpSpPr/>
              <p:nvPr/>
            </p:nvGrpSpPr>
            <p:grpSpPr>
              <a:xfrm>
                <a:off x="3858387" y="5571812"/>
                <a:ext cx="270639" cy="112478"/>
                <a:chOff x="3856936" y="5839561"/>
                <a:chExt cx="270639" cy="112736"/>
              </a:xfrm>
            </p:grpSpPr>
            <p:cxnSp>
              <p:nvCxnSpPr>
                <p:cNvPr id="216" name="Straight Connector 215"/>
                <p:cNvCxnSpPr/>
                <p:nvPr/>
              </p:nvCxnSpPr>
              <p:spPr>
                <a:xfrm>
                  <a:off x="3856936" y="5839561"/>
                  <a:ext cx="270639" cy="0"/>
                </a:xfrm>
                <a:prstGeom prst="line">
                  <a:avLst/>
                </a:prstGeom>
                <a:noFill/>
                <a:ln w="19050" cap="flat" cmpd="sng" algn="ctr">
                  <a:solidFill>
                    <a:srgbClr val="003F72"/>
                  </a:solidFill>
                  <a:prstDash val="solid"/>
                </a:ln>
                <a:effectLst/>
              </p:spPr>
            </p:cxnSp>
            <p:cxnSp>
              <p:nvCxnSpPr>
                <p:cNvPr id="217" name="Straight Connector 216"/>
                <p:cNvCxnSpPr/>
                <p:nvPr/>
              </p:nvCxnSpPr>
              <p:spPr>
                <a:xfrm>
                  <a:off x="3856936" y="5895929"/>
                  <a:ext cx="270639" cy="0"/>
                </a:xfrm>
                <a:prstGeom prst="line">
                  <a:avLst/>
                </a:prstGeom>
                <a:noFill/>
                <a:ln w="19050" cap="flat" cmpd="sng" algn="ctr">
                  <a:solidFill>
                    <a:srgbClr val="003F72"/>
                  </a:solidFill>
                  <a:prstDash val="solid"/>
                </a:ln>
                <a:effectLst/>
              </p:spPr>
            </p:cxnSp>
            <p:cxnSp>
              <p:nvCxnSpPr>
                <p:cNvPr id="218" name="Straight Connector 217"/>
                <p:cNvCxnSpPr/>
                <p:nvPr/>
              </p:nvCxnSpPr>
              <p:spPr>
                <a:xfrm>
                  <a:off x="3856936" y="5952297"/>
                  <a:ext cx="270639" cy="0"/>
                </a:xfrm>
                <a:prstGeom prst="line">
                  <a:avLst/>
                </a:prstGeom>
                <a:noFill/>
                <a:ln w="19050" cap="flat" cmpd="sng" algn="ctr">
                  <a:solidFill>
                    <a:srgbClr val="003F72"/>
                  </a:solidFill>
                  <a:prstDash val="solid"/>
                </a:ln>
                <a:effectLst/>
              </p:spPr>
            </p:cxnSp>
          </p:grpSp>
        </p:grpSp>
      </p:grpSp>
      <p:sp>
        <p:nvSpPr>
          <p:cNvPr id="5" name="Text Placeholder 4"/>
          <p:cNvSpPr txBox="1">
            <a:spLocks/>
          </p:cNvSpPr>
          <p:nvPr/>
        </p:nvSpPr>
        <p:spPr>
          <a:xfrm>
            <a:off x="1752600" y="842945"/>
            <a:ext cx="8686800" cy="1223916"/>
          </a:xfrm>
          <a:prstGeom prst="rect">
            <a:avLst/>
          </a:prstGeom>
          <a:solidFill>
            <a:schemeClr val="bg1">
              <a:alpha val="78000"/>
            </a:schemeClr>
          </a:solidFill>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600"/>
              </a:spcBef>
              <a:buNone/>
            </a:pPr>
            <a:r>
              <a:rPr lang="en-US" sz="1800" dirty="0">
                <a:solidFill>
                  <a:srgbClr val="000000"/>
                </a:solidFill>
                <a:latin typeface="Calibri"/>
              </a:rPr>
              <a:t>The VA Loan Electronic Reporting Interface (VALERI) underwent a modernization effort and redesigned in 2019. The new Salesforce based application allows for monitoring of VA-guaranteed loan information, enabling servicers and VA to work together to assist borrowers across the US.</a:t>
            </a:r>
          </a:p>
        </p:txBody>
      </p:sp>
      <p:pic>
        <p:nvPicPr>
          <p:cNvPr id="139" name="Picture 2" descr="C:\Users\vacoGrovem\AppData\Local\Microsoft\Windows\Temporary Internet Files\Content.Outlook\83QVOJUE\CHOOSE-VA-rev.png">
            <a:extLst>
              <a:ext uri="{FF2B5EF4-FFF2-40B4-BE49-F238E27FC236}">
                <a16:creationId xmlns:a16="http://schemas.microsoft.com/office/drawing/2014/main" id="{1022BB43-5F43-4A77-AF14-17170D68212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02491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States"/>
          <p:cNvGrpSpPr/>
          <p:nvPr/>
        </p:nvGrpSpPr>
        <p:grpSpPr>
          <a:xfrm>
            <a:off x="1981276" y="842946"/>
            <a:ext cx="8229448" cy="5021401"/>
            <a:chOff x="1374041" y="1588926"/>
            <a:chExt cx="7393291" cy="4526265"/>
          </a:xfrm>
          <a:solidFill>
            <a:schemeClr val="accent5">
              <a:alpha val="30000"/>
            </a:schemeClr>
          </a:solidFill>
        </p:grpSpPr>
        <p:sp>
          <p:nvSpPr>
            <p:cNvPr id="128" name="Freeform 127"/>
            <p:cNvSpPr>
              <a:spLocks noEditPoints="1"/>
            </p:cNvSpPr>
            <p:nvPr/>
          </p:nvSpPr>
          <p:spPr bwMode="gray">
            <a:xfrm>
              <a:off x="1944654" y="1588926"/>
              <a:ext cx="919460" cy="668259"/>
            </a:xfrm>
            <a:custGeom>
              <a:avLst/>
              <a:gdLst/>
              <a:ahLst/>
              <a:cxnLst>
                <a:cxn ang="0">
                  <a:pos x="166" y="92"/>
                </a:cxn>
                <a:cxn ang="0">
                  <a:pos x="171" y="63"/>
                </a:cxn>
                <a:cxn ang="0">
                  <a:pos x="180" y="60"/>
                </a:cxn>
                <a:cxn ang="0">
                  <a:pos x="185" y="29"/>
                </a:cxn>
                <a:cxn ang="0">
                  <a:pos x="175" y="0"/>
                </a:cxn>
                <a:cxn ang="0">
                  <a:pos x="571" y="101"/>
                </a:cxn>
                <a:cxn ang="0">
                  <a:pos x="530" y="282"/>
                </a:cxn>
                <a:cxn ang="0">
                  <a:pos x="508" y="376"/>
                </a:cxn>
                <a:cxn ang="0">
                  <a:pos x="513" y="398"/>
                </a:cxn>
                <a:cxn ang="0">
                  <a:pos x="469" y="405"/>
                </a:cxn>
                <a:cxn ang="0">
                  <a:pos x="354" y="383"/>
                </a:cxn>
                <a:cxn ang="0">
                  <a:pos x="324" y="380"/>
                </a:cxn>
                <a:cxn ang="0">
                  <a:pos x="293" y="381"/>
                </a:cxn>
                <a:cxn ang="0">
                  <a:pos x="264" y="386"/>
                </a:cxn>
                <a:cxn ang="0">
                  <a:pos x="233" y="376"/>
                </a:cxn>
                <a:cxn ang="0">
                  <a:pos x="207" y="380"/>
                </a:cxn>
                <a:cxn ang="0">
                  <a:pos x="190" y="380"/>
                </a:cxn>
                <a:cxn ang="0">
                  <a:pos x="182" y="368"/>
                </a:cxn>
                <a:cxn ang="0">
                  <a:pos x="154" y="361"/>
                </a:cxn>
                <a:cxn ang="0">
                  <a:pos x="132" y="361"/>
                </a:cxn>
                <a:cxn ang="0">
                  <a:pos x="103" y="359"/>
                </a:cxn>
                <a:cxn ang="0">
                  <a:pos x="76" y="342"/>
                </a:cxn>
                <a:cxn ang="0">
                  <a:pos x="81" y="320"/>
                </a:cxn>
                <a:cxn ang="0">
                  <a:pos x="74" y="291"/>
                </a:cxn>
                <a:cxn ang="0">
                  <a:pos x="55" y="282"/>
                </a:cxn>
                <a:cxn ang="0">
                  <a:pos x="14" y="258"/>
                </a:cxn>
                <a:cxn ang="0">
                  <a:pos x="9" y="241"/>
                </a:cxn>
                <a:cxn ang="0">
                  <a:pos x="24" y="212"/>
                </a:cxn>
                <a:cxn ang="0">
                  <a:pos x="14" y="197"/>
                </a:cxn>
                <a:cxn ang="0">
                  <a:pos x="23" y="188"/>
                </a:cxn>
                <a:cxn ang="0">
                  <a:pos x="16" y="181"/>
                </a:cxn>
                <a:cxn ang="0">
                  <a:pos x="23" y="104"/>
                </a:cxn>
                <a:cxn ang="0">
                  <a:pos x="23" y="22"/>
                </a:cxn>
                <a:cxn ang="0">
                  <a:pos x="137" y="89"/>
                </a:cxn>
                <a:cxn ang="0">
                  <a:pos x="151" y="111"/>
                </a:cxn>
                <a:cxn ang="0">
                  <a:pos x="134" y="116"/>
                </a:cxn>
                <a:cxn ang="0">
                  <a:pos x="110" y="163"/>
                </a:cxn>
                <a:cxn ang="0">
                  <a:pos x="124" y="139"/>
                </a:cxn>
                <a:cxn ang="0">
                  <a:pos x="159" y="115"/>
                </a:cxn>
                <a:cxn ang="0">
                  <a:pos x="147" y="154"/>
                </a:cxn>
                <a:cxn ang="0">
                  <a:pos x="139" y="180"/>
                </a:cxn>
                <a:cxn ang="0">
                  <a:pos x="137" y="166"/>
                </a:cxn>
                <a:cxn ang="0">
                  <a:pos x="122" y="186"/>
                </a:cxn>
                <a:cxn ang="0">
                  <a:pos x="98" y="174"/>
                </a:cxn>
                <a:cxn ang="0">
                  <a:pos x="122" y="197"/>
                </a:cxn>
                <a:cxn ang="0">
                  <a:pos x="147" y="185"/>
                </a:cxn>
                <a:cxn ang="0">
                  <a:pos x="159" y="173"/>
                </a:cxn>
                <a:cxn ang="0">
                  <a:pos x="177" y="116"/>
                </a:cxn>
                <a:cxn ang="0">
                  <a:pos x="144" y="51"/>
                </a:cxn>
                <a:cxn ang="0">
                  <a:pos x="141" y="33"/>
                </a:cxn>
                <a:cxn ang="0">
                  <a:pos x="142" y="46"/>
                </a:cxn>
                <a:cxn ang="0">
                  <a:pos x="171" y="74"/>
                </a:cxn>
                <a:cxn ang="0">
                  <a:pos x="163" y="98"/>
                </a:cxn>
                <a:cxn ang="0">
                  <a:pos x="166" y="116"/>
                </a:cxn>
                <a:cxn ang="0">
                  <a:pos x="153" y="79"/>
                </a:cxn>
              </a:cxnLst>
              <a:rect l="0" t="0" r="r" b="b"/>
              <a:pathLst>
                <a:path w="571" h="415">
                  <a:moveTo>
                    <a:pt x="178" y="86"/>
                  </a:moveTo>
                  <a:lnTo>
                    <a:pt x="173" y="84"/>
                  </a:lnTo>
                  <a:lnTo>
                    <a:pt x="171" y="94"/>
                  </a:lnTo>
                  <a:lnTo>
                    <a:pt x="175" y="103"/>
                  </a:lnTo>
                  <a:lnTo>
                    <a:pt x="166" y="92"/>
                  </a:lnTo>
                  <a:lnTo>
                    <a:pt x="168" y="84"/>
                  </a:lnTo>
                  <a:lnTo>
                    <a:pt x="171" y="80"/>
                  </a:lnTo>
                  <a:lnTo>
                    <a:pt x="178" y="84"/>
                  </a:lnTo>
                  <a:lnTo>
                    <a:pt x="182" y="79"/>
                  </a:lnTo>
                  <a:lnTo>
                    <a:pt x="171" y="63"/>
                  </a:lnTo>
                  <a:lnTo>
                    <a:pt x="165" y="62"/>
                  </a:lnTo>
                  <a:lnTo>
                    <a:pt x="165" y="53"/>
                  </a:lnTo>
                  <a:lnTo>
                    <a:pt x="171" y="51"/>
                  </a:lnTo>
                  <a:lnTo>
                    <a:pt x="177" y="60"/>
                  </a:lnTo>
                  <a:lnTo>
                    <a:pt x="180" y="60"/>
                  </a:lnTo>
                  <a:lnTo>
                    <a:pt x="180" y="50"/>
                  </a:lnTo>
                  <a:lnTo>
                    <a:pt x="187" y="46"/>
                  </a:lnTo>
                  <a:lnTo>
                    <a:pt x="183" y="41"/>
                  </a:lnTo>
                  <a:lnTo>
                    <a:pt x="183" y="34"/>
                  </a:lnTo>
                  <a:lnTo>
                    <a:pt x="185" y="29"/>
                  </a:lnTo>
                  <a:lnTo>
                    <a:pt x="173" y="21"/>
                  </a:lnTo>
                  <a:lnTo>
                    <a:pt x="173" y="9"/>
                  </a:lnTo>
                  <a:lnTo>
                    <a:pt x="170" y="4"/>
                  </a:lnTo>
                  <a:lnTo>
                    <a:pt x="175" y="5"/>
                  </a:lnTo>
                  <a:lnTo>
                    <a:pt x="175" y="0"/>
                  </a:lnTo>
                  <a:lnTo>
                    <a:pt x="306" y="36"/>
                  </a:lnTo>
                  <a:lnTo>
                    <a:pt x="445" y="72"/>
                  </a:lnTo>
                  <a:lnTo>
                    <a:pt x="491" y="82"/>
                  </a:lnTo>
                  <a:lnTo>
                    <a:pt x="544" y="94"/>
                  </a:lnTo>
                  <a:lnTo>
                    <a:pt x="571" y="101"/>
                  </a:lnTo>
                  <a:lnTo>
                    <a:pt x="568" y="118"/>
                  </a:lnTo>
                  <a:lnTo>
                    <a:pt x="549" y="200"/>
                  </a:lnTo>
                  <a:lnTo>
                    <a:pt x="547" y="209"/>
                  </a:lnTo>
                  <a:lnTo>
                    <a:pt x="532" y="272"/>
                  </a:lnTo>
                  <a:lnTo>
                    <a:pt x="530" y="282"/>
                  </a:lnTo>
                  <a:lnTo>
                    <a:pt x="527" y="296"/>
                  </a:lnTo>
                  <a:lnTo>
                    <a:pt x="513" y="357"/>
                  </a:lnTo>
                  <a:lnTo>
                    <a:pt x="512" y="368"/>
                  </a:lnTo>
                  <a:lnTo>
                    <a:pt x="510" y="373"/>
                  </a:lnTo>
                  <a:lnTo>
                    <a:pt x="508" y="376"/>
                  </a:lnTo>
                  <a:lnTo>
                    <a:pt x="510" y="378"/>
                  </a:lnTo>
                  <a:lnTo>
                    <a:pt x="512" y="381"/>
                  </a:lnTo>
                  <a:lnTo>
                    <a:pt x="512" y="388"/>
                  </a:lnTo>
                  <a:lnTo>
                    <a:pt x="512" y="393"/>
                  </a:lnTo>
                  <a:lnTo>
                    <a:pt x="513" y="398"/>
                  </a:lnTo>
                  <a:lnTo>
                    <a:pt x="508" y="403"/>
                  </a:lnTo>
                  <a:lnTo>
                    <a:pt x="506" y="405"/>
                  </a:lnTo>
                  <a:lnTo>
                    <a:pt x="508" y="407"/>
                  </a:lnTo>
                  <a:lnTo>
                    <a:pt x="510" y="415"/>
                  </a:lnTo>
                  <a:lnTo>
                    <a:pt x="469" y="405"/>
                  </a:lnTo>
                  <a:lnTo>
                    <a:pt x="460" y="403"/>
                  </a:lnTo>
                  <a:lnTo>
                    <a:pt x="433" y="397"/>
                  </a:lnTo>
                  <a:lnTo>
                    <a:pt x="431" y="397"/>
                  </a:lnTo>
                  <a:lnTo>
                    <a:pt x="359" y="380"/>
                  </a:lnTo>
                  <a:lnTo>
                    <a:pt x="354" y="383"/>
                  </a:lnTo>
                  <a:lnTo>
                    <a:pt x="346" y="385"/>
                  </a:lnTo>
                  <a:lnTo>
                    <a:pt x="344" y="385"/>
                  </a:lnTo>
                  <a:lnTo>
                    <a:pt x="334" y="381"/>
                  </a:lnTo>
                  <a:lnTo>
                    <a:pt x="329" y="381"/>
                  </a:lnTo>
                  <a:lnTo>
                    <a:pt x="324" y="380"/>
                  </a:lnTo>
                  <a:lnTo>
                    <a:pt x="318" y="381"/>
                  </a:lnTo>
                  <a:lnTo>
                    <a:pt x="313" y="378"/>
                  </a:lnTo>
                  <a:lnTo>
                    <a:pt x="310" y="378"/>
                  </a:lnTo>
                  <a:lnTo>
                    <a:pt x="305" y="383"/>
                  </a:lnTo>
                  <a:lnTo>
                    <a:pt x="293" y="381"/>
                  </a:lnTo>
                  <a:lnTo>
                    <a:pt x="291" y="381"/>
                  </a:lnTo>
                  <a:lnTo>
                    <a:pt x="281" y="381"/>
                  </a:lnTo>
                  <a:lnTo>
                    <a:pt x="276" y="383"/>
                  </a:lnTo>
                  <a:lnTo>
                    <a:pt x="269" y="383"/>
                  </a:lnTo>
                  <a:lnTo>
                    <a:pt x="264" y="386"/>
                  </a:lnTo>
                  <a:lnTo>
                    <a:pt x="257" y="385"/>
                  </a:lnTo>
                  <a:lnTo>
                    <a:pt x="245" y="385"/>
                  </a:lnTo>
                  <a:lnTo>
                    <a:pt x="241" y="383"/>
                  </a:lnTo>
                  <a:lnTo>
                    <a:pt x="238" y="378"/>
                  </a:lnTo>
                  <a:lnTo>
                    <a:pt x="233" y="376"/>
                  </a:lnTo>
                  <a:lnTo>
                    <a:pt x="231" y="376"/>
                  </a:lnTo>
                  <a:lnTo>
                    <a:pt x="228" y="378"/>
                  </a:lnTo>
                  <a:lnTo>
                    <a:pt x="214" y="380"/>
                  </a:lnTo>
                  <a:lnTo>
                    <a:pt x="211" y="381"/>
                  </a:lnTo>
                  <a:lnTo>
                    <a:pt x="207" y="380"/>
                  </a:lnTo>
                  <a:lnTo>
                    <a:pt x="206" y="380"/>
                  </a:lnTo>
                  <a:lnTo>
                    <a:pt x="202" y="378"/>
                  </a:lnTo>
                  <a:lnTo>
                    <a:pt x="199" y="378"/>
                  </a:lnTo>
                  <a:lnTo>
                    <a:pt x="194" y="380"/>
                  </a:lnTo>
                  <a:lnTo>
                    <a:pt x="190" y="380"/>
                  </a:lnTo>
                  <a:lnTo>
                    <a:pt x="188" y="378"/>
                  </a:lnTo>
                  <a:lnTo>
                    <a:pt x="188" y="373"/>
                  </a:lnTo>
                  <a:lnTo>
                    <a:pt x="188" y="373"/>
                  </a:lnTo>
                  <a:lnTo>
                    <a:pt x="185" y="369"/>
                  </a:lnTo>
                  <a:lnTo>
                    <a:pt x="182" y="368"/>
                  </a:lnTo>
                  <a:lnTo>
                    <a:pt x="178" y="366"/>
                  </a:lnTo>
                  <a:lnTo>
                    <a:pt x="175" y="366"/>
                  </a:lnTo>
                  <a:lnTo>
                    <a:pt x="173" y="364"/>
                  </a:lnTo>
                  <a:lnTo>
                    <a:pt x="168" y="361"/>
                  </a:lnTo>
                  <a:lnTo>
                    <a:pt x="154" y="361"/>
                  </a:lnTo>
                  <a:lnTo>
                    <a:pt x="149" y="359"/>
                  </a:lnTo>
                  <a:lnTo>
                    <a:pt x="146" y="357"/>
                  </a:lnTo>
                  <a:lnTo>
                    <a:pt x="141" y="357"/>
                  </a:lnTo>
                  <a:lnTo>
                    <a:pt x="136" y="361"/>
                  </a:lnTo>
                  <a:lnTo>
                    <a:pt x="132" y="361"/>
                  </a:lnTo>
                  <a:lnTo>
                    <a:pt x="130" y="361"/>
                  </a:lnTo>
                  <a:lnTo>
                    <a:pt x="124" y="362"/>
                  </a:lnTo>
                  <a:lnTo>
                    <a:pt x="110" y="364"/>
                  </a:lnTo>
                  <a:lnTo>
                    <a:pt x="106" y="362"/>
                  </a:lnTo>
                  <a:lnTo>
                    <a:pt x="103" y="359"/>
                  </a:lnTo>
                  <a:lnTo>
                    <a:pt x="96" y="357"/>
                  </a:lnTo>
                  <a:lnTo>
                    <a:pt x="89" y="352"/>
                  </a:lnTo>
                  <a:lnTo>
                    <a:pt x="83" y="349"/>
                  </a:lnTo>
                  <a:lnTo>
                    <a:pt x="81" y="345"/>
                  </a:lnTo>
                  <a:lnTo>
                    <a:pt x="76" y="342"/>
                  </a:lnTo>
                  <a:lnTo>
                    <a:pt x="77" y="335"/>
                  </a:lnTo>
                  <a:lnTo>
                    <a:pt x="79" y="332"/>
                  </a:lnTo>
                  <a:lnTo>
                    <a:pt x="79" y="327"/>
                  </a:lnTo>
                  <a:lnTo>
                    <a:pt x="81" y="321"/>
                  </a:lnTo>
                  <a:lnTo>
                    <a:pt x="81" y="320"/>
                  </a:lnTo>
                  <a:lnTo>
                    <a:pt x="81" y="315"/>
                  </a:lnTo>
                  <a:lnTo>
                    <a:pt x="81" y="311"/>
                  </a:lnTo>
                  <a:lnTo>
                    <a:pt x="79" y="301"/>
                  </a:lnTo>
                  <a:lnTo>
                    <a:pt x="79" y="296"/>
                  </a:lnTo>
                  <a:lnTo>
                    <a:pt x="74" y="291"/>
                  </a:lnTo>
                  <a:lnTo>
                    <a:pt x="71" y="284"/>
                  </a:lnTo>
                  <a:lnTo>
                    <a:pt x="65" y="280"/>
                  </a:lnTo>
                  <a:lnTo>
                    <a:pt x="62" y="279"/>
                  </a:lnTo>
                  <a:lnTo>
                    <a:pt x="59" y="280"/>
                  </a:lnTo>
                  <a:lnTo>
                    <a:pt x="55" y="282"/>
                  </a:lnTo>
                  <a:lnTo>
                    <a:pt x="52" y="280"/>
                  </a:lnTo>
                  <a:lnTo>
                    <a:pt x="43" y="263"/>
                  </a:lnTo>
                  <a:lnTo>
                    <a:pt x="33" y="262"/>
                  </a:lnTo>
                  <a:lnTo>
                    <a:pt x="26" y="257"/>
                  </a:lnTo>
                  <a:lnTo>
                    <a:pt x="14" y="258"/>
                  </a:lnTo>
                  <a:lnTo>
                    <a:pt x="7" y="248"/>
                  </a:lnTo>
                  <a:lnTo>
                    <a:pt x="0" y="251"/>
                  </a:lnTo>
                  <a:lnTo>
                    <a:pt x="12" y="214"/>
                  </a:lnTo>
                  <a:lnTo>
                    <a:pt x="14" y="221"/>
                  </a:lnTo>
                  <a:lnTo>
                    <a:pt x="9" y="241"/>
                  </a:lnTo>
                  <a:lnTo>
                    <a:pt x="21" y="243"/>
                  </a:lnTo>
                  <a:lnTo>
                    <a:pt x="18" y="233"/>
                  </a:lnTo>
                  <a:lnTo>
                    <a:pt x="21" y="231"/>
                  </a:lnTo>
                  <a:lnTo>
                    <a:pt x="19" y="217"/>
                  </a:lnTo>
                  <a:lnTo>
                    <a:pt x="24" y="212"/>
                  </a:lnTo>
                  <a:lnTo>
                    <a:pt x="31" y="210"/>
                  </a:lnTo>
                  <a:lnTo>
                    <a:pt x="28" y="207"/>
                  </a:lnTo>
                  <a:lnTo>
                    <a:pt x="18" y="205"/>
                  </a:lnTo>
                  <a:lnTo>
                    <a:pt x="14" y="204"/>
                  </a:lnTo>
                  <a:lnTo>
                    <a:pt x="14" y="197"/>
                  </a:lnTo>
                  <a:lnTo>
                    <a:pt x="16" y="185"/>
                  </a:lnTo>
                  <a:lnTo>
                    <a:pt x="18" y="185"/>
                  </a:lnTo>
                  <a:lnTo>
                    <a:pt x="18" y="188"/>
                  </a:lnTo>
                  <a:lnTo>
                    <a:pt x="21" y="195"/>
                  </a:lnTo>
                  <a:lnTo>
                    <a:pt x="23" y="188"/>
                  </a:lnTo>
                  <a:lnTo>
                    <a:pt x="42" y="186"/>
                  </a:lnTo>
                  <a:lnTo>
                    <a:pt x="28" y="180"/>
                  </a:lnTo>
                  <a:lnTo>
                    <a:pt x="28" y="174"/>
                  </a:lnTo>
                  <a:lnTo>
                    <a:pt x="23" y="171"/>
                  </a:lnTo>
                  <a:lnTo>
                    <a:pt x="16" y="181"/>
                  </a:lnTo>
                  <a:lnTo>
                    <a:pt x="21" y="157"/>
                  </a:lnTo>
                  <a:lnTo>
                    <a:pt x="21" y="145"/>
                  </a:lnTo>
                  <a:lnTo>
                    <a:pt x="18" y="135"/>
                  </a:lnTo>
                  <a:lnTo>
                    <a:pt x="21" y="116"/>
                  </a:lnTo>
                  <a:lnTo>
                    <a:pt x="23" y="104"/>
                  </a:lnTo>
                  <a:lnTo>
                    <a:pt x="19" y="86"/>
                  </a:lnTo>
                  <a:lnTo>
                    <a:pt x="14" y="75"/>
                  </a:lnTo>
                  <a:lnTo>
                    <a:pt x="14" y="45"/>
                  </a:lnTo>
                  <a:lnTo>
                    <a:pt x="18" y="38"/>
                  </a:lnTo>
                  <a:lnTo>
                    <a:pt x="23" y="22"/>
                  </a:lnTo>
                  <a:lnTo>
                    <a:pt x="31" y="28"/>
                  </a:lnTo>
                  <a:lnTo>
                    <a:pt x="65" y="60"/>
                  </a:lnTo>
                  <a:lnTo>
                    <a:pt x="105" y="77"/>
                  </a:lnTo>
                  <a:lnTo>
                    <a:pt x="125" y="79"/>
                  </a:lnTo>
                  <a:lnTo>
                    <a:pt x="137" y="89"/>
                  </a:lnTo>
                  <a:lnTo>
                    <a:pt x="137" y="91"/>
                  </a:lnTo>
                  <a:lnTo>
                    <a:pt x="144" y="86"/>
                  </a:lnTo>
                  <a:lnTo>
                    <a:pt x="149" y="87"/>
                  </a:lnTo>
                  <a:lnTo>
                    <a:pt x="146" y="92"/>
                  </a:lnTo>
                  <a:lnTo>
                    <a:pt x="151" y="111"/>
                  </a:lnTo>
                  <a:lnTo>
                    <a:pt x="149" y="118"/>
                  </a:lnTo>
                  <a:lnTo>
                    <a:pt x="141" y="121"/>
                  </a:lnTo>
                  <a:lnTo>
                    <a:pt x="137" y="121"/>
                  </a:lnTo>
                  <a:lnTo>
                    <a:pt x="139" y="115"/>
                  </a:lnTo>
                  <a:lnTo>
                    <a:pt x="134" y="116"/>
                  </a:lnTo>
                  <a:lnTo>
                    <a:pt x="127" y="132"/>
                  </a:lnTo>
                  <a:lnTo>
                    <a:pt x="118" y="137"/>
                  </a:lnTo>
                  <a:lnTo>
                    <a:pt x="105" y="151"/>
                  </a:lnTo>
                  <a:lnTo>
                    <a:pt x="100" y="161"/>
                  </a:lnTo>
                  <a:lnTo>
                    <a:pt x="110" y="163"/>
                  </a:lnTo>
                  <a:lnTo>
                    <a:pt x="124" y="157"/>
                  </a:lnTo>
                  <a:lnTo>
                    <a:pt x="108" y="163"/>
                  </a:lnTo>
                  <a:lnTo>
                    <a:pt x="103" y="159"/>
                  </a:lnTo>
                  <a:lnTo>
                    <a:pt x="113" y="145"/>
                  </a:lnTo>
                  <a:lnTo>
                    <a:pt x="124" y="139"/>
                  </a:lnTo>
                  <a:lnTo>
                    <a:pt x="137" y="137"/>
                  </a:lnTo>
                  <a:lnTo>
                    <a:pt x="141" y="127"/>
                  </a:lnTo>
                  <a:lnTo>
                    <a:pt x="153" y="120"/>
                  </a:lnTo>
                  <a:lnTo>
                    <a:pt x="154" y="111"/>
                  </a:lnTo>
                  <a:lnTo>
                    <a:pt x="159" y="115"/>
                  </a:lnTo>
                  <a:lnTo>
                    <a:pt x="159" y="132"/>
                  </a:lnTo>
                  <a:lnTo>
                    <a:pt x="147" y="135"/>
                  </a:lnTo>
                  <a:lnTo>
                    <a:pt x="146" y="149"/>
                  </a:lnTo>
                  <a:lnTo>
                    <a:pt x="147" y="149"/>
                  </a:lnTo>
                  <a:lnTo>
                    <a:pt x="147" y="154"/>
                  </a:lnTo>
                  <a:lnTo>
                    <a:pt x="149" y="157"/>
                  </a:lnTo>
                  <a:lnTo>
                    <a:pt x="142" y="168"/>
                  </a:lnTo>
                  <a:lnTo>
                    <a:pt x="142" y="169"/>
                  </a:lnTo>
                  <a:lnTo>
                    <a:pt x="139" y="173"/>
                  </a:lnTo>
                  <a:lnTo>
                    <a:pt x="139" y="180"/>
                  </a:lnTo>
                  <a:lnTo>
                    <a:pt x="137" y="181"/>
                  </a:lnTo>
                  <a:lnTo>
                    <a:pt x="136" y="176"/>
                  </a:lnTo>
                  <a:lnTo>
                    <a:pt x="136" y="180"/>
                  </a:lnTo>
                  <a:lnTo>
                    <a:pt x="129" y="174"/>
                  </a:lnTo>
                  <a:lnTo>
                    <a:pt x="137" y="166"/>
                  </a:lnTo>
                  <a:lnTo>
                    <a:pt x="137" y="166"/>
                  </a:lnTo>
                  <a:lnTo>
                    <a:pt x="127" y="169"/>
                  </a:lnTo>
                  <a:lnTo>
                    <a:pt x="124" y="176"/>
                  </a:lnTo>
                  <a:lnTo>
                    <a:pt x="125" y="181"/>
                  </a:lnTo>
                  <a:lnTo>
                    <a:pt x="122" y="186"/>
                  </a:lnTo>
                  <a:lnTo>
                    <a:pt x="118" y="178"/>
                  </a:lnTo>
                  <a:lnTo>
                    <a:pt x="125" y="169"/>
                  </a:lnTo>
                  <a:lnTo>
                    <a:pt x="124" y="166"/>
                  </a:lnTo>
                  <a:lnTo>
                    <a:pt x="117" y="171"/>
                  </a:lnTo>
                  <a:lnTo>
                    <a:pt x="98" y="174"/>
                  </a:lnTo>
                  <a:lnTo>
                    <a:pt x="96" y="188"/>
                  </a:lnTo>
                  <a:lnTo>
                    <a:pt x="100" y="188"/>
                  </a:lnTo>
                  <a:lnTo>
                    <a:pt x="106" y="195"/>
                  </a:lnTo>
                  <a:lnTo>
                    <a:pt x="118" y="190"/>
                  </a:lnTo>
                  <a:lnTo>
                    <a:pt x="122" y="197"/>
                  </a:lnTo>
                  <a:lnTo>
                    <a:pt x="124" y="195"/>
                  </a:lnTo>
                  <a:lnTo>
                    <a:pt x="134" y="188"/>
                  </a:lnTo>
                  <a:lnTo>
                    <a:pt x="141" y="180"/>
                  </a:lnTo>
                  <a:lnTo>
                    <a:pt x="141" y="176"/>
                  </a:lnTo>
                  <a:lnTo>
                    <a:pt x="147" y="185"/>
                  </a:lnTo>
                  <a:lnTo>
                    <a:pt x="151" y="183"/>
                  </a:lnTo>
                  <a:lnTo>
                    <a:pt x="147" y="180"/>
                  </a:lnTo>
                  <a:lnTo>
                    <a:pt x="149" y="178"/>
                  </a:lnTo>
                  <a:lnTo>
                    <a:pt x="158" y="178"/>
                  </a:lnTo>
                  <a:lnTo>
                    <a:pt x="159" y="173"/>
                  </a:lnTo>
                  <a:lnTo>
                    <a:pt x="158" y="159"/>
                  </a:lnTo>
                  <a:lnTo>
                    <a:pt x="161" y="151"/>
                  </a:lnTo>
                  <a:lnTo>
                    <a:pt x="159" y="142"/>
                  </a:lnTo>
                  <a:lnTo>
                    <a:pt x="165" y="132"/>
                  </a:lnTo>
                  <a:lnTo>
                    <a:pt x="177" y="116"/>
                  </a:lnTo>
                  <a:lnTo>
                    <a:pt x="182" y="115"/>
                  </a:lnTo>
                  <a:lnTo>
                    <a:pt x="183" y="111"/>
                  </a:lnTo>
                  <a:lnTo>
                    <a:pt x="177" y="96"/>
                  </a:lnTo>
                  <a:lnTo>
                    <a:pt x="178" y="86"/>
                  </a:lnTo>
                  <a:close/>
                  <a:moveTo>
                    <a:pt x="144" y="51"/>
                  </a:moveTo>
                  <a:lnTo>
                    <a:pt x="137" y="46"/>
                  </a:lnTo>
                  <a:lnTo>
                    <a:pt x="134" y="39"/>
                  </a:lnTo>
                  <a:lnTo>
                    <a:pt x="134" y="36"/>
                  </a:lnTo>
                  <a:lnTo>
                    <a:pt x="137" y="31"/>
                  </a:lnTo>
                  <a:lnTo>
                    <a:pt x="141" y="33"/>
                  </a:lnTo>
                  <a:lnTo>
                    <a:pt x="146" y="39"/>
                  </a:lnTo>
                  <a:lnTo>
                    <a:pt x="144" y="43"/>
                  </a:lnTo>
                  <a:lnTo>
                    <a:pt x="147" y="43"/>
                  </a:lnTo>
                  <a:lnTo>
                    <a:pt x="142" y="45"/>
                  </a:lnTo>
                  <a:lnTo>
                    <a:pt x="142" y="46"/>
                  </a:lnTo>
                  <a:lnTo>
                    <a:pt x="144" y="51"/>
                  </a:lnTo>
                  <a:close/>
                  <a:moveTo>
                    <a:pt x="156" y="74"/>
                  </a:moveTo>
                  <a:lnTo>
                    <a:pt x="165" y="63"/>
                  </a:lnTo>
                  <a:lnTo>
                    <a:pt x="168" y="63"/>
                  </a:lnTo>
                  <a:lnTo>
                    <a:pt x="171" y="74"/>
                  </a:lnTo>
                  <a:lnTo>
                    <a:pt x="170" y="77"/>
                  </a:lnTo>
                  <a:lnTo>
                    <a:pt x="165" y="74"/>
                  </a:lnTo>
                  <a:lnTo>
                    <a:pt x="154" y="79"/>
                  </a:lnTo>
                  <a:lnTo>
                    <a:pt x="163" y="84"/>
                  </a:lnTo>
                  <a:lnTo>
                    <a:pt x="163" y="98"/>
                  </a:lnTo>
                  <a:lnTo>
                    <a:pt x="166" y="98"/>
                  </a:lnTo>
                  <a:lnTo>
                    <a:pt x="173" y="106"/>
                  </a:lnTo>
                  <a:lnTo>
                    <a:pt x="173" y="113"/>
                  </a:lnTo>
                  <a:lnTo>
                    <a:pt x="170" y="118"/>
                  </a:lnTo>
                  <a:lnTo>
                    <a:pt x="166" y="116"/>
                  </a:lnTo>
                  <a:lnTo>
                    <a:pt x="166" y="108"/>
                  </a:lnTo>
                  <a:lnTo>
                    <a:pt x="159" y="110"/>
                  </a:lnTo>
                  <a:lnTo>
                    <a:pt x="158" y="101"/>
                  </a:lnTo>
                  <a:lnTo>
                    <a:pt x="156" y="84"/>
                  </a:lnTo>
                  <a:lnTo>
                    <a:pt x="153" y="79"/>
                  </a:lnTo>
                  <a:lnTo>
                    <a:pt x="156" y="74"/>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29" name="Freeform 128"/>
            <p:cNvSpPr>
              <a:spLocks/>
            </p:cNvSpPr>
            <p:nvPr/>
          </p:nvSpPr>
          <p:spPr bwMode="gray">
            <a:xfrm>
              <a:off x="2938186" y="1775716"/>
              <a:ext cx="1400927" cy="888864"/>
            </a:xfrm>
            <a:custGeom>
              <a:avLst/>
              <a:gdLst/>
              <a:ahLst/>
              <a:cxnLst>
                <a:cxn ang="0">
                  <a:pos x="269" y="520"/>
                </a:cxn>
                <a:cxn ang="0">
                  <a:pos x="269" y="530"/>
                </a:cxn>
                <a:cxn ang="0">
                  <a:pos x="257" y="528"/>
                </a:cxn>
                <a:cxn ang="0">
                  <a:pos x="241" y="530"/>
                </a:cxn>
                <a:cxn ang="0">
                  <a:pos x="224" y="525"/>
                </a:cxn>
                <a:cxn ang="0">
                  <a:pos x="211" y="522"/>
                </a:cxn>
                <a:cxn ang="0">
                  <a:pos x="200" y="525"/>
                </a:cxn>
                <a:cxn ang="0">
                  <a:pos x="185" y="523"/>
                </a:cxn>
                <a:cxn ang="0">
                  <a:pos x="166" y="523"/>
                </a:cxn>
                <a:cxn ang="0">
                  <a:pos x="159" y="530"/>
                </a:cxn>
                <a:cxn ang="0">
                  <a:pos x="151" y="520"/>
                </a:cxn>
                <a:cxn ang="0">
                  <a:pos x="147" y="506"/>
                </a:cxn>
                <a:cxn ang="0">
                  <a:pos x="146" y="489"/>
                </a:cxn>
                <a:cxn ang="0">
                  <a:pos x="132" y="481"/>
                </a:cxn>
                <a:cxn ang="0">
                  <a:pos x="124" y="462"/>
                </a:cxn>
                <a:cxn ang="0">
                  <a:pos x="129" y="452"/>
                </a:cxn>
                <a:cxn ang="0">
                  <a:pos x="122" y="443"/>
                </a:cxn>
                <a:cxn ang="0">
                  <a:pos x="117" y="431"/>
                </a:cxn>
                <a:cxn ang="0">
                  <a:pos x="112" y="409"/>
                </a:cxn>
                <a:cxn ang="0">
                  <a:pos x="110" y="397"/>
                </a:cxn>
                <a:cxn ang="0">
                  <a:pos x="106" y="383"/>
                </a:cxn>
                <a:cxn ang="0">
                  <a:pos x="100" y="376"/>
                </a:cxn>
                <a:cxn ang="0">
                  <a:pos x="93" y="385"/>
                </a:cxn>
                <a:cxn ang="0">
                  <a:pos x="79" y="388"/>
                </a:cxn>
                <a:cxn ang="0">
                  <a:pos x="69" y="392"/>
                </a:cxn>
                <a:cxn ang="0">
                  <a:pos x="59" y="381"/>
                </a:cxn>
                <a:cxn ang="0">
                  <a:pos x="62" y="369"/>
                </a:cxn>
                <a:cxn ang="0">
                  <a:pos x="65" y="356"/>
                </a:cxn>
                <a:cxn ang="0">
                  <a:pos x="76" y="351"/>
                </a:cxn>
                <a:cxn ang="0">
                  <a:pos x="71" y="337"/>
                </a:cxn>
                <a:cxn ang="0">
                  <a:pos x="74" y="325"/>
                </a:cxn>
                <a:cxn ang="0">
                  <a:pos x="77" y="320"/>
                </a:cxn>
                <a:cxn ang="0">
                  <a:pos x="84" y="296"/>
                </a:cxn>
                <a:cxn ang="0">
                  <a:pos x="91" y="284"/>
                </a:cxn>
                <a:cxn ang="0">
                  <a:pos x="88" y="269"/>
                </a:cxn>
                <a:cxn ang="0">
                  <a:pos x="74" y="264"/>
                </a:cxn>
                <a:cxn ang="0">
                  <a:pos x="64" y="258"/>
                </a:cxn>
                <a:cxn ang="0">
                  <a:pos x="57" y="246"/>
                </a:cxn>
                <a:cxn ang="0">
                  <a:pos x="53" y="228"/>
                </a:cxn>
                <a:cxn ang="0">
                  <a:pos x="45" y="212"/>
                </a:cxn>
                <a:cxn ang="0">
                  <a:pos x="35" y="192"/>
                </a:cxn>
                <a:cxn ang="0">
                  <a:pos x="21" y="182"/>
                </a:cxn>
                <a:cxn ang="0">
                  <a:pos x="9" y="168"/>
                </a:cxn>
                <a:cxn ang="0">
                  <a:pos x="16" y="163"/>
                </a:cxn>
                <a:cxn ang="0">
                  <a:pos x="16" y="146"/>
                </a:cxn>
                <a:cxn ang="0">
                  <a:pos x="11" y="127"/>
                </a:cxn>
                <a:cxn ang="0">
                  <a:pos x="2" y="108"/>
                </a:cxn>
                <a:cxn ang="0">
                  <a:pos x="115" y="19"/>
                </a:cxn>
                <a:cxn ang="0">
                  <a:pos x="484" y="82"/>
                </a:cxn>
                <a:cxn ang="0">
                  <a:pos x="870" y="127"/>
                </a:cxn>
                <a:cxn ang="0">
                  <a:pos x="855" y="303"/>
                </a:cxn>
                <a:cxn ang="0">
                  <a:pos x="843" y="457"/>
                </a:cxn>
                <a:cxn ang="0">
                  <a:pos x="756" y="546"/>
                </a:cxn>
                <a:cxn ang="0">
                  <a:pos x="489" y="515"/>
                </a:cxn>
                <a:cxn ang="0">
                  <a:pos x="306" y="487"/>
                </a:cxn>
                <a:cxn ang="0">
                  <a:pos x="293" y="537"/>
                </a:cxn>
                <a:cxn ang="0">
                  <a:pos x="288" y="525"/>
                </a:cxn>
                <a:cxn ang="0">
                  <a:pos x="282" y="515"/>
                </a:cxn>
                <a:cxn ang="0">
                  <a:pos x="276" y="515"/>
                </a:cxn>
              </a:cxnLst>
              <a:rect l="0" t="0" r="r" b="b"/>
              <a:pathLst>
                <a:path w="870" h="552">
                  <a:moveTo>
                    <a:pt x="271" y="513"/>
                  </a:moveTo>
                  <a:lnTo>
                    <a:pt x="269" y="515"/>
                  </a:lnTo>
                  <a:lnTo>
                    <a:pt x="271" y="516"/>
                  </a:lnTo>
                  <a:lnTo>
                    <a:pt x="271" y="520"/>
                  </a:lnTo>
                  <a:lnTo>
                    <a:pt x="269" y="520"/>
                  </a:lnTo>
                  <a:lnTo>
                    <a:pt x="267" y="520"/>
                  </a:lnTo>
                  <a:lnTo>
                    <a:pt x="267" y="523"/>
                  </a:lnTo>
                  <a:lnTo>
                    <a:pt x="265" y="525"/>
                  </a:lnTo>
                  <a:lnTo>
                    <a:pt x="265" y="530"/>
                  </a:lnTo>
                  <a:lnTo>
                    <a:pt x="269" y="530"/>
                  </a:lnTo>
                  <a:lnTo>
                    <a:pt x="269" y="532"/>
                  </a:lnTo>
                  <a:lnTo>
                    <a:pt x="267" y="532"/>
                  </a:lnTo>
                  <a:lnTo>
                    <a:pt x="265" y="532"/>
                  </a:lnTo>
                  <a:lnTo>
                    <a:pt x="260" y="528"/>
                  </a:lnTo>
                  <a:lnTo>
                    <a:pt x="257" y="528"/>
                  </a:lnTo>
                  <a:lnTo>
                    <a:pt x="252" y="527"/>
                  </a:lnTo>
                  <a:lnTo>
                    <a:pt x="248" y="528"/>
                  </a:lnTo>
                  <a:lnTo>
                    <a:pt x="245" y="530"/>
                  </a:lnTo>
                  <a:lnTo>
                    <a:pt x="243" y="528"/>
                  </a:lnTo>
                  <a:lnTo>
                    <a:pt x="241" y="530"/>
                  </a:lnTo>
                  <a:lnTo>
                    <a:pt x="238" y="525"/>
                  </a:lnTo>
                  <a:lnTo>
                    <a:pt x="233" y="523"/>
                  </a:lnTo>
                  <a:lnTo>
                    <a:pt x="229" y="525"/>
                  </a:lnTo>
                  <a:lnTo>
                    <a:pt x="226" y="525"/>
                  </a:lnTo>
                  <a:lnTo>
                    <a:pt x="224" y="525"/>
                  </a:lnTo>
                  <a:lnTo>
                    <a:pt x="223" y="525"/>
                  </a:lnTo>
                  <a:lnTo>
                    <a:pt x="219" y="525"/>
                  </a:lnTo>
                  <a:lnTo>
                    <a:pt x="218" y="523"/>
                  </a:lnTo>
                  <a:lnTo>
                    <a:pt x="212" y="523"/>
                  </a:lnTo>
                  <a:lnTo>
                    <a:pt x="211" y="522"/>
                  </a:lnTo>
                  <a:lnTo>
                    <a:pt x="211" y="520"/>
                  </a:lnTo>
                  <a:lnTo>
                    <a:pt x="209" y="518"/>
                  </a:lnTo>
                  <a:lnTo>
                    <a:pt x="206" y="520"/>
                  </a:lnTo>
                  <a:lnTo>
                    <a:pt x="202" y="522"/>
                  </a:lnTo>
                  <a:lnTo>
                    <a:pt x="200" y="525"/>
                  </a:lnTo>
                  <a:lnTo>
                    <a:pt x="199" y="528"/>
                  </a:lnTo>
                  <a:lnTo>
                    <a:pt x="194" y="528"/>
                  </a:lnTo>
                  <a:lnTo>
                    <a:pt x="192" y="525"/>
                  </a:lnTo>
                  <a:lnTo>
                    <a:pt x="188" y="527"/>
                  </a:lnTo>
                  <a:lnTo>
                    <a:pt x="185" y="523"/>
                  </a:lnTo>
                  <a:lnTo>
                    <a:pt x="177" y="522"/>
                  </a:lnTo>
                  <a:lnTo>
                    <a:pt x="173" y="520"/>
                  </a:lnTo>
                  <a:lnTo>
                    <a:pt x="171" y="520"/>
                  </a:lnTo>
                  <a:lnTo>
                    <a:pt x="168" y="522"/>
                  </a:lnTo>
                  <a:lnTo>
                    <a:pt x="166" y="523"/>
                  </a:lnTo>
                  <a:lnTo>
                    <a:pt x="163" y="527"/>
                  </a:lnTo>
                  <a:lnTo>
                    <a:pt x="163" y="528"/>
                  </a:lnTo>
                  <a:lnTo>
                    <a:pt x="163" y="532"/>
                  </a:lnTo>
                  <a:lnTo>
                    <a:pt x="161" y="534"/>
                  </a:lnTo>
                  <a:lnTo>
                    <a:pt x="159" y="530"/>
                  </a:lnTo>
                  <a:lnTo>
                    <a:pt x="158" y="528"/>
                  </a:lnTo>
                  <a:lnTo>
                    <a:pt x="154" y="527"/>
                  </a:lnTo>
                  <a:lnTo>
                    <a:pt x="151" y="522"/>
                  </a:lnTo>
                  <a:lnTo>
                    <a:pt x="149" y="522"/>
                  </a:lnTo>
                  <a:lnTo>
                    <a:pt x="151" y="520"/>
                  </a:lnTo>
                  <a:lnTo>
                    <a:pt x="149" y="516"/>
                  </a:lnTo>
                  <a:lnTo>
                    <a:pt x="151" y="515"/>
                  </a:lnTo>
                  <a:lnTo>
                    <a:pt x="149" y="511"/>
                  </a:lnTo>
                  <a:lnTo>
                    <a:pt x="149" y="510"/>
                  </a:lnTo>
                  <a:lnTo>
                    <a:pt x="147" y="506"/>
                  </a:lnTo>
                  <a:lnTo>
                    <a:pt x="149" y="501"/>
                  </a:lnTo>
                  <a:lnTo>
                    <a:pt x="149" y="496"/>
                  </a:lnTo>
                  <a:lnTo>
                    <a:pt x="147" y="493"/>
                  </a:lnTo>
                  <a:lnTo>
                    <a:pt x="147" y="491"/>
                  </a:lnTo>
                  <a:lnTo>
                    <a:pt x="146" y="489"/>
                  </a:lnTo>
                  <a:lnTo>
                    <a:pt x="146" y="486"/>
                  </a:lnTo>
                  <a:lnTo>
                    <a:pt x="139" y="479"/>
                  </a:lnTo>
                  <a:lnTo>
                    <a:pt x="139" y="479"/>
                  </a:lnTo>
                  <a:lnTo>
                    <a:pt x="134" y="481"/>
                  </a:lnTo>
                  <a:lnTo>
                    <a:pt x="132" y="481"/>
                  </a:lnTo>
                  <a:lnTo>
                    <a:pt x="130" y="477"/>
                  </a:lnTo>
                  <a:lnTo>
                    <a:pt x="127" y="474"/>
                  </a:lnTo>
                  <a:lnTo>
                    <a:pt x="125" y="472"/>
                  </a:lnTo>
                  <a:lnTo>
                    <a:pt x="122" y="463"/>
                  </a:lnTo>
                  <a:lnTo>
                    <a:pt x="124" y="462"/>
                  </a:lnTo>
                  <a:lnTo>
                    <a:pt x="125" y="462"/>
                  </a:lnTo>
                  <a:lnTo>
                    <a:pt x="127" y="462"/>
                  </a:lnTo>
                  <a:lnTo>
                    <a:pt x="129" y="457"/>
                  </a:lnTo>
                  <a:lnTo>
                    <a:pt x="127" y="453"/>
                  </a:lnTo>
                  <a:lnTo>
                    <a:pt x="129" y="452"/>
                  </a:lnTo>
                  <a:lnTo>
                    <a:pt x="125" y="450"/>
                  </a:lnTo>
                  <a:lnTo>
                    <a:pt x="125" y="448"/>
                  </a:lnTo>
                  <a:lnTo>
                    <a:pt x="124" y="446"/>
                  </a:lnTo>
                  <a:lnTo>
                    <a:pt x="125" y="445"/>
                  </a:lnTo>
                  <a:lnTo>
                    <a:pt x="122" y="443"/>
                  </a:lnTo>
                  <a:lnTo>
                    <a:pt x="120" y="443"/>
                  </a:lnTo>
                  <a:lnTo>
                    <a:pt x="122" y="441"/>
                  </a:lnTo>
                  <a:lnTo>
                    <a:pt x="120" y="438"/>
                  </a:lnTo>
                  <a:lnTo>
                    <a:pt x="120" y="434"/>
                  </a:lnTo>
                  <a:lnTo>
                    <a:pt x="117" y="431"/>
                  </a:lnTo>
                  <a:lnTo>
                    <a:pt x="115" y="426"/>
                  </a:lnTo>
                  <a:lnTo>
                    <a:pt x="115" y="424"/>
                  </a:lnTo>
                  <a:lnTo>
                    <a:pt x="112" y="419"/>
                  </a:lnTo>
                  <a:lnTo>
                    <a:pt x="113" y="412"/>
                  </a:lnTo>
                  <a:lnTo>
                    <a:pt x="112" y="409"/>
                  </a:lnTo>
                  <a:lnTo>
                    <a:pt x="112" y="405"/>
                  </a:lnTo>
                  <a:lnTo>
                    <a:pt x="113" y="402"/>
                  </a:lnTo>
                  <a:lnTo>
                    <a:pt x="113" y="399"/>
                  </a:lnTo>
                  <a:lnTo>
                    <a:pt x="113" y="397"/>
                  </a:lnTo>
                  <a:lnTo>
                    <a:pt x="110" y="397"/>
                  </a:lnTo>
                  <a:lnTo>
                    <a:pt x="113" y="390"/>
                  </a:lnTo>
                  <a:lnTo>
                    <a:pt x="112" y="388"/>
                  </a:lnTo>
                  <a:lnTo>
                    <a:pt x="110" y="387"/>
                  </a:lnTo>
                  <a:lnTo>
                    <a:pt x="106" y="385"/>
                  </a:lnTo>
                  <a:lnTo>
                    <a:pt x="106" y="383"/>
                  </a:lnTo>
                  <a:lnTo>
                    <a:pt x="105" y="381"/>
                  </a:lnTo>
                  <a:lnTo>
                    <a:pt x="105" y="380"/>
                  </a:lnTo>
                  <a:lnTo>
                    <a:pt x="103" y="378"/>
                  </a:lnTo>
                  <a:lnTo>
                    <a:pt x="103" y="376"/>
                  </a:lnTo>
                  <a:lnTo>
                    <a:pt x="100" y="376"/>
                  </a:lnTo>
                  <a:lnTo>
                    <a:pt x="98" y="378"/>
                  </a:lnTo>
                  <a:lnTo>
                    <a:pt x="98" y="380"/>
                  </a:lnTo>
                  <a:lnTo>
                    <a:pt x="98" y="381"/>
                  </a:lnTo>
                  <a:lnTo>
                    <a:pt x="94" y="381"/>
                  </a:lnTo>
                  <a:lnTo>
                    <a:pt x="93" y="385"/>
                  </a:lnTo>
                  <a:lnTo>
                    <a:pt x="89" y="387"/>
                  </a:lnTo>
                  <a:lnTo>
                    <a:pt x="88" y="388"/>
                  </a:lnTo>
                  <a:lnTo>
                    <a:pt x="84" y="388"/>
                  </a:lnTo>
                  <a:lnTo>
                    <a:pt x="83" y="390"/>
                  </a:lnTo>
                  <a:lnTo>
                    <a:pt x="79" y="388"/>
                  </a:lnTo>
                  <a:lnTo>
                    <a:pt x="77" y="392"/>
                  </a:lnTo>
                  <a:lnTo>
                    <a:pt x="77" y="393"/>
                  </a:lnTo>
                  <a:lnTo>
                    <a:pt x="72" y="395"/>
                  </a:lnTo>
                  <a:lnTo>
                    <a:pt x="71" y="395"/>
                  </a:lnTo>
                  <a:lnTo>
                    <a:pt x="69" y="392"/>
                  </a:lnTo>
                  <a:lnTo>
                    <a:pt x="65" y="390"/>
                  </a:lnTo>
                  <a:lnTo>
                    <a:pt x="65" y="387"/>
                  </a:lnTo>
                  <a:lnTo>
                    <a:pt x="64" y="385"/>
                  </a:lnTo>
                  <a:lnTo>
                    <a:pt x="60" y="383"/>
                  </a:lnTo>
                  <a:lnTo>
                    <a:pt x="59" y="381"/>
                  </a:lnTo>
                  <a:lnTo>
                    <a:pt x="55" y="383"/>
                  </a:lnTo>
                  <a:lnTo>
                    <a:pt x="59" y="378"/>
                  </a:lnTo>
                  <a:lnTo>
                    <a:pt x="57" y="375"/>
                  </a:lnTo>
                  <a:lnTo>
                    <a:pt x="62" y="373"/>
                  </a:lnTo>
                  <a:lnTo>
                    <a:pt x="62" y="369"/>
                  </a:lnTo>
                  <a:lnTo>
                    <a:pt x="64" y="368"/>
                  </a:lnTo>
                  <a:lnTo>
                    <a:pt x="62" y="364"/>
                  </a:lnTo>
                  <a:lnTo>
                    <a:pt x="62" y="363"/>
                  </a:lnTo>
                  <a:lnTo>
                    <a:pt x="60" y="361"/>
                  </a:lnTo>
                  <a:lnTo>
                    <a:pt x="65" y="356"/>
                  </a:lnTo>
                  <a:lnTo>
                    <a:pt x="67" y="352"/>
                  </a:lnTo>
                  <a:lnTo>
                    <a:pt x="69" y="354"/>
                  </a:lnTo>
                  <a:lnTo>
                    <a:pt x="71" y="352"/>
                  </a:lnTo>
                  <a:lnTo>
                    <a:pt x="74" y="354"/>
                  </a:lnTo>
                  <a:lnTo>
                    <a:pt x="76" y="351"/>
                  </a:lnTo>
                  <a:lnTo>
                    <a:pt x="74" y="347"/>
                  </a:lnTo>
                  <a:lnTo>
                    <a:pt x="74" y="346"/>
                  </a:lnTo>
                  <a:lnTo>
                    <a:pt x="76" y="342"/>
                  </a:lnTo>
                  <a:lnTo>
                    <a:pt x="76" y="340"/>
                  </a:lnTo>
                  <a:lnTo>
                    <a:pt x="71" y="337"/>
                  </a:lnTo>
                  <a:lnTo>
                    <a:pt x="72" y="335"/>
                  </a:lnTo>
                  <a:lnTo>
                    <a:pt x="71" y="334"/>
                  </a:lnTo>
                  <a:lnTo>
                    <a:pt x="74" y="332"/>
                  </a:lnTo>
                  <a:lnTo>
                    <a:pt x="74" y="328"/>
                  </a:lnTo>
                  <a:lnTo>
                    <a:pt x="74" y="325"/>
                  </a:lnTo>
                  <a:lnTo>
                    <a:pt x="72" y="323"/>
                  </a:lnTo>
                  <a:lnTo>
                    <a:pt x="71" y="322"/>
                  </a:lnTo>
                  <a:lnTo>
                    <a:pt x="72" y="320"/>
                  </a:lnTo>
                  <a:lnTo>
                    <a:pt x="76" y="320"/>
                  </a:lnTo>
                  <a:lnTo>
                    <a:pt x="77" y="320"/>
                  </a:lnTo>
                  <a:lnTo>
                    <a:pt x="79" y="313"/>
                  </a:lnTo>
                  <a:lnTo>
                    <a:pt x="77" y="311"/>
                  </a:lnTo>
                  <a:lnTo>
                    <a:pt x="77" y="310"/>
                  </a:lnTo>
                  <a:lnTo>
                    <a:pt x="81" y="308"/>
                  </a:lnTo>
                  <a:lnTo>
                    <a:pt x="84" y="296"/>
                  </a:lnTo>
                  <a:lnTo>
                    <a:pt x="86" y="296"/>
                  </a:lnTo>
                  <a:lnTo>
                    <a:pt x="88" y="293"/>
                  </a:lnTo>
                  <a:lnTo>
                    <a:pt x="86" y="286"/>
                  </a:lnTo>
                  <a:lnTo>
                    <a:pt x="91" y="286"/>
                  </a:lnTo>
                  <a:lnTo>
                    <a:pt x="91" y="284"/>
                  </a:lnTo>
                  <a:lnTo>
                    <a:pt x="93" y="277"/>
                  </a:lnTo>
                  <a:lnTo>
                    <a:pt x="96" y="274"/>
                  </a:lnTo>
                  <a:lnTo>
                    <a:pt x="96" y="270"/>
                  </a:lnTo>
                  <a:lnTo>
                    <a:pt x="93" y="269"/>
                  </a:lnTo>
                  <a:lnTo>
                    <a:pt x="88" y="269"/>
                  </a:lnTo>
                  <a:lnTo>
                    <a:pt x="84" y="270"/>
                  </a:lnTo>
                  <a:lnTo>
                    <a:pt x="81" y="269"/>
                  </a:lnTo>
                  <a:lnTo>
                    <a:pt x="74" y="269"/>
                  </a:lnTo>
                  <a:lnTo>
                    <a:pt x="72" y="265"/>
                  </a:lnTo>
                  <a:lnTo>
                    <a:pt x="74" y="264"/>
                  </a:lnTo>
                  <a:lnTo>
                    <a:pt x="76" y="262"/>
                  </a:lnTo>
                  <a:lnTo>
                    <a:pt x="72" y="257"/>
                  </a:lnTo>
                  <a:lnTo>
                    <a:pt x="71" y="257"/>
                  </a:lnTo>
                  <a:lnTo>
                    <a:pt x="65" y="260"/>
                  </a:lnTo>
                  <a:lnTo>
                    <a:pt x="64" y="258"/>
                  </a:lnTo>
                  <a:lnTo>
                    <a:pt x="65" y="253"/>
                  </a:lnTo>
                  <a:lnTo>
                    <a:pt x="64" y="252"/>
                  </a:lnTo>
                  <a:lnTo>
                    <a:pt x="62" y="250"/>
                  </a:lnTo>
                  <a:lnTo>
                    <a:pt x="60" y="248"/>
                  </a:lnTo>
                  <a:lnTo>
                    <a:pt x="57" y="246"/>
                  </a:lnTo>
                  <a:lnTo>
                    <a:pt x="55" y="240"/>
                  </a:lnTo>
                  <a:lnTo>
                    <a:pt x="57" y="236"/>
                  </a:lnTo>
                  <a:lnTo>
                    <a:pt x="59" y="234"/>
                  </a:lnTo>
                  <a:lnTo>
                    <a:pt x="55" y="233"/>
                  </a:lnTo>
                  <a:lnTo>
                    <a:pt x="53" y="228"/>
                  </a:lnTo>
                  <a:lnTo>
                    <a:pt x="52" y="228"/>
                  </a:lnTo>
                  <a:lnTo>
                    <a:pt x="50" y="226"/>
                  </a:lnTo>
                  <a:lnTo>
                    <a:pt x="48" y="221"/>
                  </a:lnTo>
                  <a:lnTo>
                    <a:pt x="47" y="216"/>
                  </a:lnTo>
                  <a:lnTo>
                    <a:pt x="45" y="212"/>
                  </a:lnTo>
                  <a:lnTo>
                    <a:pt x="43" y="211"/>
                  </a:lnTo>
                  <a:lnTo>
                    <a:pt x="43" y="209"/>
                  </a:lnTo>
                  <a:lnTo>
                    <a:pt x="36" y="200"/>
                  </a:lnTo>
                  <a:lnTo>
                    <a:pt x="36" y="193"/>
                  </a:lnTo>
                  <a:lnTo>
                    <a:pt x="35" y="192"/>
                  </a:lnTo>
                  <a:lnTo>
                    <a:pt x="31" y="190"/>
                  </a:lnTo>
                  <a:lnTo>
                    <a:pt x="30" y="188"/>
                  </a:lnTo>
                  <a:lnTo>
                    <a:pt x="24" y="187"/>
                  </a:lnTo>
                  <a:lnTo>
                    <a:pt x="23" y="187"/>
                  </a:lnTo>
                  <a:lnTo>
                    <a:pt x="21" y="182"/>
                  </a:lnTo>
                  <a:lnTo>
                    <a:pt x="19" y="176"/>
                  </a:lnTo>
                  <a:lnTo>
                    <a:pt x="16" y="175"/>
                  </a:lnTo>
                  <a:lnTo>
                    <a:pt x="16" y="173"/>
                  </a:lnTo>
                  <a:lnTo>
                    <a:pt x="9" y="170"/>
                  </a:lnTo>
                  <a:lnTo>
                    <a:pt x="9" y="168"/>
                  </a:lnTo>
                  <a:lnTo>
                    <a:pt x="11" y="166"/>
                  </a:lnTo>
                  <a:lnTo>
                    <a:pt x="18" y="168"/>
                  </a:lnTo>
                  <a:lnTo>
                    <a:pt x="18" y="166"/>
                  </a:lnTo>
                  <a:lnTo>
                    <a:pt x="19" y="164"/>
                  </a:lnTo>
                  <a:lnTo>
                    <a:pt x="16" y="163"/>
                  </a:lnTo>
                  <a:lnTo>
                    <a:pt x="16" y="159"/>
                  </a:lnTo>
                  <a:lnTo>
                    <a:pt x="12" y="158"/>
                  </a:lnTo>
                  <a:lnTo>
                    <a:pt x="18" y="152"/>
                  </a:lnTo>
                  <a:lnTo>
                    <a:pt x="18" y="149"/>
                  </a:lnTo>
                  <a:lnTo>
                    <a:pt x="16" y="146"/>
                  </a:lnTo>
                  <a:lnTo>
                    <a:pt x="18" y="141"/>
                  </a:lnTo>
                  <a:lnTo>
                    <a:pt x="14" y="139"/>
                  </a:lnTo>
                  <a:lnTo>
                    <a:pt x="14" y="135"/>
                  </a:lnTo>
                  <a:lnTo>
                    <a:pt x="11" y="132"/>
                  </a:lnTo>
                  <a:lnTo>
                    <a:pt x="11" y="127"/>
                  </a:lnTo>
                  <a:lnTo>
                    <a:pt x="11" y="125"/>
                  </a:lnTo>
                  <a:lnTo>
                    <a:pt x="7" y="123"/>
                  </a:lnTo>
                  <a:lnTo>
                    <a:pt x="6" y="120"/>
                  </a:lnTo>
                  <a:lnTo>
                    <a:pt x="2" y="113"/>
                  </a:lnTo>
                  <a:lnTo>
                    <a:pt x="2" y="108"/>
                  </a:lnTo>
                  <a:lnTo>
                    <a:pt x="0" y="106"/>
                  </a:lnTo>
                  <a:lnTo>
                    <a:pt x="6" y="82"/>
                  </a:lnTo>
                  <a:lnTo>
                    <a:pt x="12" y="52"/>
                  </a:lnTo>
                  <a:lnTo>
                    <a:pt x="23" y="0"/>
                  </a:lnTo>
                  <a:lnTo>
                    <a:pt x="115" y="19"/>
                  </a:lnTo>
                  <a:lnTo>
                    <a:pt x="163" y="29"/>
                  </a:lnTo>
                  <a:lnTo>
                    <a:pt x="294" y="53"/>
                  </a:lnTo>
                  <a:lnTo>
                    <a:pt x="358" y="64"/>
                  </a:lnTo>
                  <a:lnTo>
                    <a:pt x="395" y="69"/>
                  </a:lnTo>
                  <a:lnTo>
                    <a:pt x="484" y="82"/>
                  </a:lnTo>
                  <a:lnTo>
                    <a:pt x="571" y="94"/>
                  </a:lnTo>
                  <a:lnTo>
                    <a:pt x="648" y="105"/>
                  </a:lnTo>
                  <a:lnTo>
                    <a:pt x="723" y="113"/>
                  </a:lnTo>
                  <a:lnTo>
                    <a:pt x="799" y="120"/>
                  </a:lnTo>
                  <a:lnTo>
                    <a:pt x="870" y="127"/>
                  </a:lnTo>
                  <a:lnTo>
                    <a:pt x="867" y="164"/>
                  </a:lnTo>
                  <a:lnTo>
                    <a:pt x="865" y="192"/>
                  </a:lnTo>
                  <a:lnTo>
                    <a:pt x="862" y="233"/>
                  </a:lnTo>
                  <a:lnTo>
                    <a:pt x="857" y="296"/>
                  </a:lnTo>
                  <a:lnTo>
                    <a:pt x="855" y="303"/>
                  </a:lnTo>
                  <a:lnTo>
                    <a:pt x="850" y="376"/>
                  </a:lnTo>
                  <a:lnTo>
                    <a:pt x="848" y="387"/>
                  </a:lnTo>
                  <a:lnTo>
                    <a:pt x="846" y="416"/>
                  </a:lnTo>
                  <a:lnTo>
                    <a:pt x="843" y="452"/>
                  </a:lnTo>
                  <a:lnTo>
                    <a:pt x="843" y="457"/>
                  </a:lnTo>
                  <a:lnTo>
                    <a:pt x="836" y="528"/>
                  </a:lnTo>
                  <a:lnTo>
                    <a:pt x="835" y="552"/>
                  </a:lnTo>
                  <a:lnTo>
                    <a:pt x="833" y="552"/>
                  </a:lnTo>
                  <a:lnTo>
                    <a:pt x="759" y="546"/>
                  </a:lnTo>
                  <a:lnTo>
                    <a:pt x="756" y="546"/>
                  </a:lnTo>
                  <a:lnTo>
                    <a:pt x="686" y="539"/>
                  </a:lnTo>
                  <a:lnTo>
                    <a:pt x="667" y="535"/>
                  </a:lnTo>
                  <a:lnTo>
                    <a:pt x="544" y="522"/>
                  </a:lnTo>
                  <a:lnTo>
                    <a:pt x="517" y="518"/>
                  </a:lnTo>
                  <a:lnTo>
                    <a:pt x="489" y="515"/>
                  </a:lnTo>
                  <a:lnTo>
                    <a:pt x="400" y="501"/>
                  </a:lnTo>
                  <a:lnTo>
                    <a:pt x="387" y="499"/>
                  </a:lnTo>
                  <a:lnTo>
                    <a:pt x="356" y="496"/>
                  </a:lnTo>
                  <a:lnTo>
                    <a:pt x="353" y="496"/>
                  </a:lnTo>
                  <a:lnTo>
                    <a:pt x="306" y="487"/>
                  </a:lnTo>
                  <a:lnTo>
                    <a:pt x="301" y="523"/>
                  </a:lnTo>
                  <a:lnTo>
                    <a:pt x="298" y="544"/>
                  </a:lnTo>
                  <a:lnTo>
                    <a:pt x="294" y="542"/>
                  </a:lnTo>
                  <a:lnTo>
                    <a:pt x="293" y="539"/>
                  </a:lnTo>
                  <a:lnTo>
                    <a:pt x="293" y="537"/>
                  </a:lnTo>
                  <a:lnTo>
                    <a:pt x="291" y="534"/>
                  </a:lnTo>
                  <a:lnTo>
                    <a:pt x="289" y="532"/>
                  </a:lnTo>
                  <a:lnTo>
                    <a:pt x="288" y="530"/>
                  </a:lnTo>
                  <a:lnTo>
                    <a:pt x="286" y="527"/>
                  </a:lnTo>
                  <a:lnTo>
                    <a:pt x="288" y="525"/>
                  </a:lnTo>
                  <a:lnTo>
                    <a:pt x="288" y="525"/>
                  </a:lnTo>
                  <a:lnTo>
                    <a:pt x="284" y="523"/>
                  </a:lnTo>
                  <a:lnTo>
                    <a:pt x="284" y="520"/>
                  </a:lnTo>
                  <a:lnTo>
                    <a:pt x="282" y="518"/>
                  </a:lnTo>
                  <a:lnTo>
                    <a:pt x="282" y="515"/>
                  </a:lnTo>
                  <a:lnTo>
                    <a:pt x="282" y="513"/>
                  </a:lnTo>
                  <a:lnTo>
                    <a:pt x="279" y="513"/>
                  </a:lnTo>
                  <a:lnTo>
                    <a:pt x="279" y="510"/>
                  </a:lnTo>
                  <a:lnTo>
                    <a:pt x="277" y="511"/>
                  </a:lnTo>
                  <a:lnTo>
                    <a:pt x="276" y="515"/>
                  </a:lnTo>
                  <a:lnTo>
                    <a:pt x="272" y="513"/>
                  </a:lnTo>
                  <a:lnTo>
                    <a:pt x="271" y="513"/>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0" name="Freeform 129"/>
            <p:cNvSpPr>
              <a:spLocks noEditPoints="1"/>
            </p:cNvSpPr>
            <p:nvPr/>
          </p:nvSpPr>
          <p:spPr bwMode="gray">
            <a:xfrm>
              <a:off x="8261710" y="1838335"/>
              <a:ext cx="505622" cy="787418"/>
            </a:xfrm>
            <a:custGeom>
              <a:avLst/>
              <a:gdLst/>
              <a:ahLst/>
              <a:cxnLst>
                <a:cxn ang="0">
                  <a:pos x="140" y="402"/>
                </a:cxn>
                <a:cxn ang="0">
                  <a:pos x="133" y="395"/>
                </a:cxn>
                <a:cxn ang="0">
                  <a:pos x="126" y="405"/>
                </a:cxn>
                <a:cxn ang="0">
                  <a:pos x="120" y="398"/>
                </a:cxn>
                <a:cxn ang="0">
                  <a:pos x="113" y="431"/>
                </a:cxn>
                <a:cxn ang="0">
                  <a:pos x="102" y="458"/>
                </a:cxn>
                <a:cxn ang="0">
                  <a:pos x="82" y="489"/>
                </a:cxn>
                <a:cxn ang="0">
                  <a:pos x="70" y="475"/>
                </a:cxn>
                <a:cxn ang="0">
                  <a:pos x="61" y="465"/>
                </a:cxn>
                <a:cxn ang="0">
                  <a:pos x="60" y="451"/>
                </a:cxn>
                <a:cxn ang="0">
                  <a:pos x="58" y="446"/>
                </a:cxn>
                <a:cxn ang="0">
                  <a:pos x="34" y="373"/>
                </a:cxn>
                <a:cxn ang="0">
                  <a:pos x="8" y="263"/>
                </a:cxn>
                <a:cxn ang="0">
                  <a:pos x="19" y="258"/>
                </a:cxn>
                <a:cxn ang="0">
                  <a:pos x="31" y="251"/>
                </a:cxn>
                <a:cxn ang="0">
                  <a:pos x="39" y="212"/>
                </a:cxn>
                <a:cxn ang="0">
                  <a:pos x="43" y="186"/>
                </a:cxn>
                <a:cxn ang="0">
                  <a:pos x="36" y="174"/>
                </a:cxn>
                <a:cxn ang="0">
                  <a:pos x="36" y="144"/>
                </a:cxn>
                <a:cxn ang="0">
                  <a:pos x="41" y="104"/>
                </a:cxn>
                <a:cxn ang="0">
                  <a:pos x="90" y="26"/>
                </a:cxn>
                <a:cxn ang="0">
                  <a:pos x="137" y="10"/>
                </a:cxn>
                <a:cxn ang="0">
                  <a:pos x="184" y="21"/>
                </a:cxn>
                <a:cxn ang="0">
                  <a:pos x="222" y="142"/>
                </a:cxn>
                <a:cxn ang="0">
                  <a:pos x="227" y="162"/>
                </a:cxn>
                <a:cxn ang="0">
                  <a:pos x="243" y="166"/>
                </a:cxn>
                <a:cxn ang="0">
                  <a:pos x="255" y="174"/>
                </a:cxn>
                <a:cxn ang="0">
                  <a:pos x="268" y="203"/>
                </a:cxn>
                <a:cxn ang="0">
                  <a:pos x="290" y="202"/>
                </a:cxn>
                <a:cxn ang="0">
                  <a:pos x="299" y="226"/>
                </a:cxn>
                <a:cxn ang="0">
                  <a:pos x="304" y="253"/>
                </a:cxn>
                <a:cxn ang="0">
                  <a:pos x="278" y="267"/>
                </a:cxn>
                <a:cxn ang="0">
                  <a:pos x="260" y="280"/>
                </a:cxn>
                <a:cxn ang="0">
                  <a:pos x="253" y="286"/>
                </a:cxn>
                <a:cxn ang="0">
                  <a:pos x="248" y="301"/>
                </a:cxn>
                <a:cxn ang="0">
                  <a:pos x="225" y="303"/>
                </a:cxn>
                <a:cxn ang="0">
                  <a:pos x="217" y="320"/>
                </a:cxn>
                <a:cxn ang="0">
                  <a:pos x="195" y="323"/>
                </a:cxn>
                <a:cxn ang="0">
                  <a:pos x="193" y="297"/>
                </a:cxn>
                <a:cxn ang="0">
                  <a:pos x="183" y="294"/>
                </a:cxn>
                <a:cxn ang="0">
                  <a:pos x="181" y="315"/>
                </a:cxn>
                <a:cxn ang="0">
                  <a:pos x="184" y="356"/>
                </a:cxn>
                <a:cxn ang="0">
                  <a:pos x="166" y="366"/>
                </a:cxn>
                <a:cxn ang="0">
                  <a:pos x="152" y="390"/>
                </a:cxn>
                <a:cxn ang="0">
                  <a:pos x="145" y="369"/>
                </a:cxn>
                <a:cxn ang="0">
                  <a:pos x="143" y="398"/>
                </a:cxn>
                <a:cxn ang="0">
                  <a:pos x="131" y="374"/>
                </a:cxn>
                <a:cxn ang="0">
                  <a:pos x="225" y="308"/>
                </a:cxn>
                <a:cxn ang="0">
                  <a:pos x="234" y="299"/>
                </a:cxn>
                <a:cxn ang="0">
                  <a:pos x="234" y="323"/>
                </a:cxn>
              </a:cxnLst>
              <a:rect l="0" t="0" r="r" b="b"/>
              <a:pathLst>
                <a:path w="314" h="489">
                  <a:moveTo>
                    <a:pt x="131" y="369"/>
                  </a:moveTo>
                  <a:lnTo>
                    <a:pt x="128" y="380"/>
                  </a:lnTo>
                  <a:lnTo>
                    <a:pt x="140" y="402"/>
                  </a:lnTo>
                  <a:lnTo>
                    <a:pt x="138" y="407"/>
                  </a:lnTo>
                  <a:lnTo>
                    <a:pt x="137" y="405"/>
                  </a:lnTo>
                  <a:lnTo>
                    <a:pt x="133" y="395"/>
                  </a:lnTo>
                  <a:lnTo>
                    <a:pt x="130" y="391"/>
                  </a:lnTo>
                  <a:lnTo>
                    <a:pt x="131" y="402"/>
                  </a:lnTo>
                  <a:lnTo>
                    <a:pt x="126" y="405"/>
                  </a:lnTo>
                  <a:lnTo>
                    <a:pt x="123" y="403"/>
                  </a:lnTo>
                  <a:lnTo>
                    <a:pt x="123" y="397"/>
                  </a:lnTo>
                  <a:lnTo>
                    <a:pt x="120" y="398"/>
                  </a:lnTo>
                  <a:lnTo>
                    <a:pt x="113" y="407"/>
                  </a:lnTo>
                  <a:lnTo>
                    <a:pt x="109" y="419"/>
                  </a:lnTo>
                  <a:lnTo>
                    <a:pt x="113" y="431"/>
                  </a:lnTo>
                  <a:lnTo>
                    <a:pt x="106" y="438"/>
                  </a:lnTo>
                  <a:lnTo>
                    <a:pt x="106" y="448"/>
                  </a:lnTo>
                  <a:lnTo>
                    <a:pt x="102" y="458"/>
                  </a:lnTo>
                  <a:lnTo>
                    <a:pt x="96" y="462"/>
                  </a:lnTo>
                  <a:lnTo>
                    <a:pt x="94" y="489"/>
                  </a:lnTo>
                  <a:lnTo>
                    <a:pt x="82" y="489"/>
                  </a:lnTo>
                  <a:lnTo>
                    <a:pt x="80" y="485"/>
                  </a:lnTo>
                  <a:lnTo>
                    <a:pt x="78" y="477"/>
                  </a:lnTo>
                  <a:lnTo>
                    <a:pt x="70" y="475"/>
                  </a:lnTo>
                  <a:lnTo>
                    <a:pt x="70" y="474"/>
                  </a:lnTo>
                  <a:lnTo>
                    <a:pt x="63" y="467"/>
                  </a:lnTo>
                  <a:lnTo>
                    <a:pt x="61" y="465"/>
                  </a:lnTo>
                  <a:lnTo>
                    <a:pt x="61" y="460"/>
                  </a:lnTo>
                  <a:lnTo>
                    <a:pt x="60" y="456"/>
                  </a:lnTo>
                  <a:lnTo>
                    <a:pt x="60" y="451"/>
                  </a:lnTo>
                  <a:lnTo>
                    <a:pt x="60" y="450"/>
                  </a:lnTo>
                  <a:lnTo>
                    <a:pt x="60" y="448"/>
                  </a:lnTo>
                  <a:lnTo>
                    <a:pt x="58" y="446"/>
                  </a:lnTo>
                  <a:lnTo>
                    <a:pt x="56" y="446"/>
                  </a:lnTo>
                  <a:lnTo>
                    <a:pt x="49" y="424"/>
                  </a:lnTo>
                  <a:lnTo>
                    <a:pt x="34" y="373"/>
                  </a:lnTo>
                  <a:lnTo>
                    <a:pt x="22" y="333"/>
                  </a:lnTo>
                  <a:lnTo>
                    <a:pt x="0" y="268"/>
                  </a:lnTo>
                  <a:lnTo>
                    <a:pt x="8" y="263"/>
                  </a:lnTo>
                  <a:lnTo>
                    <a:pt x="19" y="272"/>
                  </a:lnTo>
                  <a:lnTo>
                    <a:pt x="19" y="267"/>
                  </a:lnTo>
                  <a:lnTo>
                    <a:pt x="19" y="258"/>
                  </a:lnTo>
                  <a:lnTo>
                    <a:pt x="17" y="255"/>
                  </a:lnTo>
                  <a:lnTo>
                    <a:pt x="19" y="250"/>
                  </a:lnTo>
                  <a:lnTo>
                    <a:pt x="31" y="251"/>
                  </a:lnTo>
                  <a:lnTo>
                    <a:pt x="22" y="239"/>
                  </a:lnTo>
                  <a:lnTo>
                    <a:pt x="29" y="221"/>
                  </a:lnTo>
                  <a:lnTo>
                    <a:pt x="39" y="212"/>
                  </a:lnTo>
                  <a:lnTo>
                    <a:pt x="36" y="205"/>
                  </a:lnTo>
                  <a:lnTo>
                    <a:pt x="44" y="190"/>
                  </a:lnTo>
                  <a:lnTo>
                    <a:pt x="43" y="186"/>
                  </a:lnTo>
                  <a:lnTo>
                    <a:pt x="37" y="185"/>
                  </a:lnTo>
                  <a:lnTo>
                    <a:pt x="37" y="174"/>
                  </a:lnTo>
                  <a:lnTo>
                    <a:pt x="36" y="174"/>
                  </a:lnTo>
                  <a:lnTo>
                    <a:pt x="39" y="166"/>
                  </a:lnTo>
                  <a:lnTo>
                    <a:pt x="34" y="161"/>
                  </a:lnTo>
                  <a:lnTo>
                    <a:pt x="36" y="144"/>
                  </a:lnTo>
                  <a:lnTo>
                    <a:pt x="44" y="132"/>
                  </a:lnTo>
                  <a:lnTo>
                    <a:pt x="43" y="116"/>
                  </a:lnTo>
                  <a:lnTo>
                    <a:pt x="41" y="104"/>
                  </a:lnTo>
                  <a:lnTo>
                    <a:pt x="72" y="10"/>
                  </a:lnTo>
                  <a:lnTo>
                    <a:pt x="85" y="10"/>
                  </a:lnTo>
                  <a:lnTo>
                    <a:pt x="90" y="26"/>
                  </a:lnTo>
                  <a:lnTo>
                    <a:pt x="104" y="31"/>
                  </a:lnTo>
                  <a:lnTo>
                    <a:pt x="126" y="12"/>
                  </a:lnTo>
                  <a:lnTo>
                    <a:pt x="137" y="10"/>
                  </a:lnTo>
                  <a:lnTo>
                    <a:pt x="138" y="2"/>
                  </a:lnTo>
                  <a:lnTo>
                    <a:pt x="145" y="0"/>
                  </a:lnTo>
                  <a:lnTo>
                    <a:pt x="184" y="21"/>
                  </a:lnTo>
                  <a:lnTo>
                    <a:pt x="220" y="133"/>
                  </a:lnTo>
                  <a:lnTo>
                    <a:pt x="224" y="137"/>
                  </a:lnTo>
                  <a:lnTo>
                    <a:pt x="222" y="142"/>
                  </a:lnTo>
                  <a:lnTo>
                    <a:pt x="225" y="145"/>
                  </a:lnTo>
                  <a:lnTo>
                    <a:pt x="224" y="151"/>
                  </a:lnTo>
                  <a:lnTo>
                    <a:pt x="227" y="162"/>
                  </a:lnTo>
                  <a:lnTo>
                    <a:pt x="232" y="162"/>
                  </a:lnTo>
                  <a:lnTo>
                    <a:pt x="234" y="159"/>
                  </a:lnTo>
                  <a:lnTo>
                    <a:pt x="243" y="166"/>
                  </a:lnTo>
                  <a:lnTo>
                    <a:pt x="256" y="162"/>
                  </a:lnTo>
                  <a:lnTo>
                    <a:pt x="261" y="171"/>
                  </a:lnTo>
                  <a:lnTo>
                    <a:pt x="255" y="174"/>
                  </a:lnTo>
                  <a:lnTo>
                    <a:pt x="265" y="185"/>
                  </a:lnTo>
                  <a:lnTo>
                    <a:pt x="263" y="195"/>
                  </a:lnTo>
                  <a:lnTo>
                    <a:pt x="268" y="203"/>
                  </a:lnTo>
                  <a:lnTo>
                    <a:pt x="278" y="209"/>
                  </a:lnTo>
                  <a:lnTo>
                    <a:pt x="282" y="200"/>
                  </a:lnTo>
                  <a:lnTo>
                    <a:pt x="290" y="202"/>
                  </a:lnTo>
                  <a:lnTo>
                    <a:pt x="292" y="203"/>
                  </a:lnTo>
                  <a:lnTo>
                    <a:pt x="304" y="219"/>
                  </a:lnTo>
                  <a:lnTo>
                    <a:pt x="299" y="226"/>
                  </a:lnTo>
                  <a:lnTo>
                    <a:pt x="314" y="231"/>
                  </a:lnTo>
                  <a:lnTo>
                    <a:pt x="313" y="236"/>
                  </a:lnTo>
                  <a:lnTo>
                    <a:pt x="304" y="253"/>
                  </a:lnTo>
                  <a:lnTo>
                    <a:pt x="296" y="256"/>
                  </a:lnTo>
                  <a:lnTo>
                    <a:pt x="289" y="253"/>
                  </a:lnTo>
                  <a:lnTo>
                    <a:pt x="278" y="267"/>
                  </a:lnTo>
                  <a:lnTo>
                    <a:pt x="277" y="275"/>
                  </a:lnTo>
                  <a:lnTo>
                    <a:pt x="261" y="277"/>
                  </a:lnTo>
                  <a:lnTo>
                    <a:pt x="260" y="280"/>
                  </a:lnTo>
                  <a:lnTo>
                    <a:pt x="258" y="289"/>
                  </a:lnTo>
                  <a:lnTo>
                    <a:pt x="253" y="289"/>
                  </a:lnTo>
                  <a:lnTo>
                    <a:pt x="253" y="286"/>
                  </a:lnTo>
                  <a:lnTo>
                    <a:pt x="251" y="289"/>
                  </a:lnTo>
                  <a:lnTo>
                    <a:pt x="253" y="299"/>
                  </a:lnTo>
                  <a:lnTo>
                    <a:pt x="248" y="301"/>
                  </a:lnTo>
                  <a:lnTo>
                    <a:pt x="241" y="292"/>
                  </a:lnTo>
                  <a:lnTo>
                    <a:pt x="232" y="294"/>
                  </a:lnTo>
                  <a:lnTo>
                    <a:pt x="225" y="303"/>
                  </a:lnTo>
                  <a:lnTo>
                    <a:pt x="219" y="301"/>
                  </a:lnTo>
                  <a:lnTo>
                    <a:pt x="212" y="309"/>
                  </a:lnTo>
                  <a:lnTo>
                    <a:pt x="217" y="320"/>
                  </a:lnTo>
                  <a:lnTo>
                    <a:pt x="217" y="325"/>
                  </a:lnTo>
                  <a:lnTo>
                    <a:pt x="200" y="320"/>
                  </a:lnTo>
                  <a:lnTo>
                    <a:pt x="195" y="323"/>
                  </a:lnTo>
                  <a:lnTo>
                    <a:pt x="193" y="315"/>
                  </a:lnTo>
                  <a:lnTo>
                    <a:pt x="195" y="303"/>
                  </a:lnTo>
                  <a:lnTo>
                    <a:pt x="193" y="297"/>
                  </a:lnTo>
                  <a:lnTo>
                    <a:pt x="186" y="294"/>
                  </a:lnTo>
                  <a:lnTo>
                    <a:pt x="184" y="289"/>
                  </a:lnTo>
                  <a:lnTo>
                    <a:pt x="183" y="294"/>
                  </a:lnTo>
                  <a:lnTo>
                    <a:pt x="188" y="297"/>
                  </a:lnTo>
                  <a:lnTo>
                    <a:pt x="191" y="306"/>
                  </a:lnTo>
                  <a:lnTo>
                    <a:pt x="181" y="315"/>
                  </a:lnTo>
                  <a:lnTo>
                    <a:pt x="184" y="332"/>
                  </a:lnTo>
                  <a:lnTo>
                    <a:pt x="183" y="335"/>
                  </a:lnTo>
                  <a:lnTo>
                    <a:pt x="184" y="356"/>
                  </a:lnTo>
                  <a:lnTo>
                    <a:pt x="178" y="371"/>
                  </a:lnTo>
                  <a:lnTo>
                    <a:pt x="171" y="373"/>
                  </a:lnTo>
                  <a:lnTo>
                    <a:pt x="166" y="366"/>
                  </a:lnTo>
                  <a:lnTo>
                    <a:pt x="162" y="366"/>
                  </a:lnTo>
                  <a:lnTo>
                    <a:pt x="159" y="383"/>
                  </a:lnTo>
                  <a:lnTo>
                    <a:pt x="152" y="390"/>
                  </a:lnTo>
                  <a:lnTo>
                    <a:pt x="147" y="390"/>
                  </a:lnTo>
                  <a:lnTo>
                    <a:pt x="143" y="376"/>
                  </a:lnTo>
                  <a:lnTo>
                    <a:pt x="145" y="369"/>
                  </a:lnTo>
                  <a:lnTo>
                    <a:pt x="140" y="383"/>
                  </a:lnTo>
                  <a:lnTo>
                    <a:pt x="140" y="388"/>
                  </a:lnTo>
                  <a:lnTo>
                    <a:pt x="143" y="398"/>
                  </a:lnTo>
                  <a:lnTo>
                    <a:pt x="143" y="402"/>
                  </a:lnTo>
                  <a:lnTo>
                    <a:pt x="140" y="398"/>
                  </a:lnTo>
                  <a:lnTo>
                    <a:pt x="131" y="374"/>
                  </a:lnTo>
                  <a:lnTo>
                    <a:pt x="133" y="373"/>
                  </a:lnTo>
                  <a:lnTo>
                    <a:pt x="131" y="369"/>
                  </a:lnTo>
                  <a:close/>
                  <a:moveTo>
                    <a:pt x="225" y="308"/>
                  </a:moveTo>
                  <a:lnTo>
                    <a:pt x="227" y="306"/>
                  </a:lnTo>
                  <a:lnTo>
                    <a:pt x="225" y="303"/>
                  </a:lnTo>
                  <a:lnTo>
                    <a:pt x="234" y="299"/>
                  </a:lnTo>
                  <a:lnTo>
                    <a:pt x="243" y="308"/>
                  </a:lnTo>
                  <a:lnTo>
                    <a:pt x="234" y="315"/>
                  </a:lnTo>
                  <a:lnTo>
                    <a:pt x="234" y="323"/>
                  </a:lnTo>
                  <a:lnTo>
                    <a:pt x="227" y="320"/>
                  </a:lnTo>
                  <a:lnTo>
                    <a:pt x="225" y="30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1" name="Freeform 130"/>
            <p:cNvSpPr>
              <a:spLocks/>
            </p:cNvSpPr>
            <p:nvPr/>
          </p:nvSpPr>
          <p:spPr bwMode="gray">
            <a:xfrm>
              <a:off x="4295636" y="1992920"/>
              <a:ext cx="903357" cy="563592"/>
            </a:xfrm>
            <a:custGeom>
              <a:avLst/>
              <a:gdLst/>
              <a:ahLst/>
              <a:cxnLst>
                <a:cxn ang="0">
                  <a:pos x="323" y="343"/>
                </a:cxn>
                <a:cxn ang="0">
                  <a:pos x="152" y="335"/>
                </a:cxn>
                <a:cxn ang="0">
                  <a:pos x="0" y="325"/>
                </a:cxn>
                <a:cxn ang="0">
                  <a:pos x="7" y="249"/>
                </a:cxn>
                <a:cxn ang="0">
                  <a:pos x="19" y="106"/>
                </a:cxn>
                <a:cxn ang="0">
                  <a:pos x="27" y="0"/>
                </a:cxn>
                <a:cxn ang="0">
                  <a:pos x="209" y="12"/>
                </a:cxn>
                <a:cxn ang="0">
                  <a:pos x="388" y="20"/>
                </a:cxn>
                <a:cxn ang="0">
                  <a:pos x="514" y="31"/>
                </a:cxn>
                <a:cxn ang="0">
                  <a:pos x="518" y="43"/>
                </a:cxn>
                <a:cxn ang="0">
                  <a:pos x="520" y="46"/>
                </a:cxn>
                <a:cxn ang="0">
                  <a:pos x="521" y="51"/>
                </a:cxn>
                <a:cxn ang="0">
                  <a:pos x="521" y="56"/>
                </a:cxn>
                <a:cxn ang="0">
                  <a:pos x="521" y="63"/>
                </a:cxn>
                <a:cxn ang="0">
                  <a:pos x="520" y="66"/>
                </a:cxn>
                <a:cxn ang="0">
                  <a:pos x="518" y="70"/>
                </a:cxn>
                <a:cxn ang="0">
                  <a:pos x="518" y="72"/>
                </a:cxn>
                <a:cxn ang="0">
                  <a:pos x="520" y="75"/>
                </a:cxn>
                <a:cxn ang="0">
                  <a:pos x="521" y="85"/>
                </a:cxn>
                <a:cxn ang="0">
                  <a:pos x="521" y="87"/>
                </a:cxn>
                <a:cxn ang="0">
                  <a:pos x="520" y="90"/>
                </a:cxn>
                <a:cxn ang="0">
                  <a:pos x="520" y="96"/>
                </a:cxn>
                <a:cxn ang="0">
                  <a:pos x="521" y="97"/>
                </a:cxn>
                <a:cxn ang="0">
                  <a:pos x="521" y="99"/>
                </a:cxn>
                <a:cxn ang="0">
                  <a:pos x="521" y="102"/>
                </a:cxn>
                <a:cxn ang="0">
                  <a:pos x="520" y="106"/>
                </a:cxn>
                <a:cxn ang="0">
                  <a:pos x="520" y="109"/>
                </a:cxn>
                <a:cxn ang="0">
                  <a:pos x="521" y="113"/>
                </a:cxn>
                <a:cxn ang="0">
                  <a:pos x="521" y="118"/>
                </a:cxn>
                <a:cxn ang="0">
                  <a:pos x="525" y="125"/>
                </a:cxn>
                <a:cxn ang="0">
                  <a:pos x="528" y="143"/>
                </a:cxn>
                <a:cxn ang="0">
                  <a:pos x="530" y="150"/>
                </a:cxn>
                <a:cxn ang="0">
                  <a:pos x="535" y="160"/>
                </a:cxn>
                <a:cxn ang="0">
                  <a:pos x="540" y="172"/>
                </a:cxn>
                <a:cxn ang="0">
                  <a:pos x="538" y="181"/>
                </a:cxn>
                <a:cxn ang="0">
                  <a:pos x="538" y="190"/>
                </a:cxn>
                <a:cxn ang="0">
                  <a:pos x="540" y="195"/>
                </a:cxn>
                <a:cxn ang="0">
                  <a:pos x="540" y="203"/>
                </a:cxn>
                <a:cxn ang="0">
                  <a:pos x="540" y="210"/>
                </a:cxn>
                <a:cxn ang="0">
                  <a:pos x="542" y="227"/>
                </a:cxn>
                <a:cxn ang="0">
                  <a:pos x="540" y="236"/>
                </a:cxn>
                <a:cxn ang="0">
                  <a:pos x="544" y="239"/>
                </a:cxn>
                <a:cxn ang="0">
                  <a:pos x="544" y="244"/>
                </a:cxn>
                <a:cxn ang="0">
                  <a:pos x="545" y="251"/>
                </a:cxn>
                <a:cxn ang="0">
                  <a:pos x="544" y="261"/>
                </a:cxn>
                <a:cxn ang="0">
                  <a:pos x="544" y="277"/>
                </a:cxn>
                <a:cxn ang="0">
                  <a:pos x="547" y="280"/>
                </a:cxn>
                <a:cxn ang="0">
                  <a:pos x="549" y="297"/>
                </a:cxn>
                <a:cxn ang="0">
                  <a:pos x="556" y="306"/>
                </a:cxn>
                <a:cxn ang="0">
                  <a:pos x="559" y="321"/>
                </a:cxn>
                <a:cxn ang="0">
                  <a:pos x="561" y="333"/>
                </a:cxn>
                <a:cxn ang="0">
                  <a:pos x="559" y="350"/>
                </a:cxn>
                <a:cxn ang="0">
                  <a:pos x="451" y="348"/>
                </a:cxn>
              </a:cxnLst>
              <a:rect l="0" t="0" r="r" b="b"/>
              <a:pathLst>
                <a:path w="561" h="350">
                  <a:moveTo>
                    <a:pt x="398" y="347"/>
                  </a:moveTo>
                  <a:lnTo>
                    <a:pt x="376" y="347"/>
                  </a:lnTo>
                  <a:lnTo>
                    <a:pt x="323" y="343"/>
                  </a:lnTo>
                  <a:lnTo>
                    <a:pt x="311" y="343"/>
                  </a:lnTo>
                  <a:lnTo>
                    <a:pt x="263" y="342"/>
                  </a:lnTo>
                  <a:lnTo>
                    <a:pt x="152" y="335"/>
                  </a:lnTo>
                  <a:lnTo>
                    <a:pt x="82" y="331"/>
                  </a:lnTo>
                  <a:lnTo>
                    <a:pt x="79" y="330"/>
                  </a:lnTo>
                  <a:lnTo>
                    <a:pt x="0" y="325"/>
                  </a:lnTo>
                  <a:lnTo>
                    <a:pt x="3" y="289"/>
                  </a:lnTo>
                  <a:lnTo>
                    <a:pt x="5" y="260"/>
                  </a:lnTo>
                  <a:lnTo>
                    <a:pt x="7" y="249"/>
                  </a:lnTo>
                  <a:lnTo>
                    <a:pt x="12" y="176"/>
                  </a:lnTo>
                  <a:lnTo>
                    <a:pt x="14" y="169"/>
                  </a:lnTo>
                  <a:lnTo>
                    <a:pt x="19" y="106"/>
                  </a:lnTo>
                  <a:lnTo>
                    <a:pt x="22" y="65"/>
                  </a:lnTo>
                  <a:lnTo>
                    <a:pt x="24" y="37"/>
                  </a:lnTo>
                  <a:lnTo>
                    <a:pt x="27" y="0"/>
                  </a:lnTo>
                  <a:lnTo>
                    <a:pt x="106" y="7"/>
                  </a:lnTo>
                  <a:lnTo>
                    <a:pt x="173" y="10"/>
                  </a:lnTo>
                  <a:lnTo>
                    <a:pt x="209" y="12"/>
                  </a:lnTo>
                  <a:lnTo>
                    <a:pt x="303" y="17"/>
                  </a:lnTo>
                  <a:lnTo>
                    <a:pt x="349" y="19"/>
                  </a:lnTo>
                  <a:lnTo>
                    <a:pt x="388" y="20"/>
                  </a:lnTo>
                  <a:lnTo>
                    <a:pt x="463" y="22"/>
                  </a:lnTo>
                  <a:lnTo>
                    <a:pt x="514" y="24"/>
                  </a:lnTo>
                  <a:lnTo>
                    <a:pt x="514" y="31"/>
                  </a:lnTo>
                  <a:lnTo>
                    <a:pt x="518" y="37"/>
                  </a:lnTo>
                  <a:lnTo>
                    <a:pt x="518" y="41"/>
                  </a:lnTo>
                  <a:lnTo>
                    <a:pt x="518" y="43"/>
                  </a:lnTo>
                  <a:lnTo>
                    <a:pt x="518" y="44"/>
                  </a:lnTo>
                  <a:lnTo>
                    <a:pt x="518" y="44"/>
                  </a:lnTo>
                  <a:lnTo>
                    <a:pt x="520" y="46"/>
                  </a:lnTo>
                  <a:lnTo>
                    <a:pt x="520" y="49"/>
                  </a:lnTo>
                  <a:lnTo>
                    <a:pt x="520" y="49"/>
                  </a:lnTo>
                  <a:lnTo>
                    <a:pt x="521" y="51"/>
                  </a:lnTo>
                  <a:lnTo>
                    <a:pt x="521" y="53"/>
                  </a:lnTo>
                  <a:lnTo>
                    <a:pt x="523" y="55"/>
                  </a:lnTo>
                  <a:lnTo>
                    <a:pt x="521" y="56"/>
                  </a:lnTo>
                  <a:lnTo>
                    <a:pt x="523" y="58"/>
                  </a:lnTo>
                  <a:lnTo>
                    <a:pt x="523" y="63"/>
                  </a:lnTo>
                  <a:lnTo>
                    <a:pt x="521" y="63"/>
                  </a:lnTo>
                  <a:lnTo>
                    <a:pt x="521" y="63"/>
                  </a:lnTo>
                  <a:lnTo>
                    <a:pt x="520" y="65"/>
                  </a:lnTo>
                  <a:lnTo>
                    <a:pt x="520" y="66"/>
                  </a:lnTo>
                  <a:lnTo>
                    <a:pt x="518" y="68"/>
                  </a:lnTo>
                  <a:lnTo>
                    <a:pt x="520" y="68"/>
                  </a:lnTo>
                  <a:lnTo>
                    <a:pt x="518" y="70"/>
                  </a:lnTo>
                  <a:lnTo>
                    <a:pt x="520" y="72"/>
                  </a:lnTo>
                  <a:lnTo>
                    <a:pt x="518" y="72"/>
                  </a:lnTo>
                  <a:lnTo>
                    <a:pt x="518" y="72"/>
                  </a:lnTo>
                  <a:lnTo>
                    <a:pt x="520" y="73"/>
                  </a:lnTo>
                  <a:lnTo>
                    <a:pt x="520" y="75"/>
                  </a:lnTo>
                  <a:lnTo>
                    <a:pt x="520" y="75"/>
                  </a:lnTo>
                  <a:lnTo>
                    <a:pt x="520" y="84"/>
                  </a:lnTo>
                  <a:lnTo>
                    <a:pt x="521" y="84"/>
                  </a:lnTo>
                  <a:lnTo>
                    <a:pt x="521" y="85"/>
                  </a:lnTo>
                  <a:lnTo>
                    <a:pt x="520" y="85"/>
                  </a:lnTo>
                  <a:lnTo>
                    <a:pt x="520" y="85"/>
                  </a:lnTo>
                  <a:lnTo>
                    <a:pt x="521" y="87"/>
                  </a:lnTo>
                  <a:lnTo>
                    <a:pt x="518" y="89"/>
                  </a:lnTo>
                  <a:lnTo>
                    <a:pt x="520" y="89"/>
                  </a:lnTo>
                  <a:lnTo>
                    <a:pt x="520" y="90"/>
                  </a:lnTo>
                  <a:lnTo>
                    <a:pt x="520" y="90"/>
                  </a:lnTo>
                  <a:lnTo>
                    <a:pt x="520" y="90"/>
                  </a:lnTo>
                  <a:lnTo>
                    <a:pt x="520" y="96"/>
                  </a:lnTo>
                  <a:lnTo>
                    <a:pt x="521" y="96"/>
                  </a:lnTo>
                  <a:lnTo>
                    <a:pt x="520" y="97"/>
                  </a:lnTo>
                  <a:lnTo>
                    <a:pt x="521" y="97"/>
                  </a:lnTo>
                  <a:lnTo>
                    <a:pt x="521" y="99"/>
                  </a:lnTo>
                  <a:lnTo>
                    <a:pt x="520" y="99"/>
                  </a:lnTo>
                  <a:lnTo>
                    <a:pt x="521" y="99"/>
                  </a:lnTo>
                  <a:lnTo>
                    <a:pt x="521" y="101"/>
                  </a:lnTo>
                  <a:lnTo>
                    <a:pt x="520" y="101"/>
                  </a:lnTo>
                  <a:lnTo>
                    <a:pt x="521" y="102"/>
                  </a:lnTo>
                  <a:lnTo>
                    <a:pt x="520" y="104"/>
                  </a:lnTo>
                  <a:lnTo>
                    <a:pt x="521" y="106"/>
                  </a:lnTo>
                  <a:lnTo>
                    <a:pt x="520" y="106"/>
                  </a:lnTo>
                  <a:lnTo>
                    <a:pt x="521" y="107"/>
                  </a:lnTo>
                  <a:lnTo>
                    <a:pt x="520" y="107"/>
                  </a:lnTo>
                  <a:lnTo>
                    <a:pt x="520" y="109"/>
                  </a:lnTo>
                  <a:lnTo>
                    <a:pt x="520" y="111"/>
                  </a:lnTo>
                  <a:lnTo>
                    <a:pt x="520" y="113"/>
                  </a:lnTo>
                  <a:lnTo>
                    <a:pt x="521" y="113"/>
                  </a:lnTo>
                  <a:lnTo>
                    <a:pt x="520" y="114"/>
                  </a:lnTo>
                  <a:lnTo>
                    <a:pt x="521" y="114"/>
                  </a:lnTo>
                  <a:lnTo>
                    <a:pt x="521" y="118"/>
                  </a:lnTo>
                  <a:lnTo>
                    <a:pt x="523" y="119"/>
                  </a:lnTo>
                  <a:lnTo>
                    <a:pt x="523" y="123"/>
                  </a:lnTo>
                  <a:lnTo>
                    <a:pt x="525" y="125"/>
                  </a:lnTo>
                  <a:lnTo>
                    <a:pt x="526" y="135"/>
                  </a:lnTo>
                  <a:lnTo>
                    <a:pt x="528" y="138"/>
                  </a:lnTo>
                  <a:lnTo>
                    <a:pt x="528" y="143"/>
                  </a:lnTo>
                  <a:lnTo>
                    <a:pt x="530" y="143"/>
                  </a:lnTo>
                  <a:lnTo>
                    <a:pt x="532" y="149"/>
                  </a:lnTo>
                  <a:lnTo>
                    <a:pt x="530" y="150"/>
                  </a:lnTo>
                  <a:lnTo>
                    <a:pt x="532" y="152"/>
                  </a:lnTo>
                  <a:lnTo>
                    <a:pt x="533" y="155"/>
                  </a:lnTo>
                  <a:lnTo>
                    <a:pt x="535" y="160"/>
                  </a:lnTo>
                  <a:lnTo>
                    <a:pt x="537" y="164"/>
                  </a:lnTo>
                  <a:lnTo>
                    <a:pt x="538" y="171"/>
                  </a:lnTo>
                  <a:lnTo>
                    <a:pt x="540" y="172"/>
                  </a:lnTo>
                  <a:lnTo>
                    <a:pt x="538" y="176"/>
                  </a:lnTo>
                  <a:lnTo>
                    <a:pt x="540" y="178"/>
                  </a:lnTo>
                  <a:lnTo>
                    <a:pt x="538" y="181"/>
                  </a:lnTo>
                  <a:lnTo>
                    <a:pt x="540" y="183"/>
                  </a:lnTo>
                  <a:lnTo>
                    <a:pt x="538" y="188"/>
                  </a:lnTo>
                  <a:lnTo>
                    <a:pt x="538" y="190"/>
                  </a:lnTo>
                  <a:lnTo>
                    <a:pt x="538" y="193"/>
                  </a:lnTo>
                  <a:lnTo>
                    <a:pt x="540" y="193"/>
                  </a:lnTo>
                  <a:lnTo>
                    <a:pt x="540" y="195"/>
                  </a:lnTo>
                  <a:lnTo>
                    <a:pt x="540" y="198"/>
                  </a:lnTo>
                  <a:lnTo>
                    <a:pt x="540" y="200"/>
                  </a:lnTo>
                  <a:lnTo>
                    <a:pt x="540" y="203"/>
                  </a:lnTo>
                  <a:lnTo>
                    <a:pt x="540" y="205"/>
                  </a:lnTo>
                  <a:lnTo>
                    <a:pt x="540" y="208"/>
                  </a:lnTo>
                  <a:lnTo>
                    <a:pt x="540" y="210"/>
                  </a:lnTo>
                  <a:lnTo>
                    <a:pt x="542" y="219"/>
                  </a:lnTo>
                  <a:lnTo>
                    <a:pt x="540" y="220"/>
                  </a:lnTo>
                  <a:lnTo>
                    <a:pt x="542" y="227"/>
                  </a:lnTo>
                  <a:lnTo>
                    <a:pt x="542" y="227"/>
                  </a:lnTo>
                  <a:lnTo>
                    <a:pt x="542" y="232"/>
                  </a:lnTo>
                  <a:lnTo>
                    <a:pt x="540" y="236"/>
                  </a:lnTo>
                  <a:lnTo>
                    <a:pt x="542" y="236"/>
                  </a:lnTo>
                  <a:lnTo>
                    <a:pt x="542" y="239"/>
                  </a:lnTo>
                  <a:lnTo>
                    <a:pt x="544" y="239"/>
                  </a:lnTo>
                  <a:lnTo>
                    <a:pt x="544" y="241"/>
                  </a:lnTo>
                  <a:lnTo>
                    <a:pt x="544" y="242"/>
                  </a:lnTo>
                  <a:lnTo>
                    <a:pt x="544" y="244"/>
                  </a:lnTo>
                  <a:lnTo>
                    <a:pt x="545" y="242"/>
                  </a:lnTo>
                  <a:lnTo>
                    <a:pt x="545" y="244"/>
                  </a:lnTo>
                  <a:lnTo>
                    <a:pt x="545" y="251"/>
                  </a:lnTo>
                  <a:lnTo>
                    <a:pt x="545" y="253"/>
                  </a:lnTo>
                  <a:lnTo>
                    <a:pt x="544" y="256"/>
                  </a:lnTo>
                  <a:lnTo>
                    <a:pt x="544" y="261"/>
                  </a:lnTo>
                  <a:lnTo>
                    <a:pt x="544" y="268"/>
                  </a:lnTo>
                  <a:lnTo>
                    <a:pt x="544" y="270"/>
                  </a:lnTo>
                  <a:lnTo>
                    <a:pt x="544" y="277"/>
                  </a:lnTo>
                  <a:lnTo>
                    <a:pt x="544" y="277"/>
                  </a:lnTo>
                  <a:lnTo>
                    <a:pt x="545" y="278"/>
                  </a:lnTo>
                  <a:lnTo>
                    <a:pt x="547" y="280"/>
                  </a:lnTo>
                  <a:lnTo>
                    <a:pt x="547" y="290"/>
                  </a:lnTo>
                  <a:lnTo>
                    <a:pt x="549" y="294"/>
                  </a:lnTo>
                  <a:lnTo>
                    <a:pt x="549" y="297"/>
                  </a:lnTo>
                  <a:lnTo>
                    <a:pt x="550" y="299"/>
                  </a:lnTo>
                  <a:lnTo>
                    <a:pt x="554" y="304"/>
                  </a:lnTo>
                  <a:lnTo>
                    <a:pt x="556" y="306"/>
                  </a:lnTo>
                  <a:lnTo>
                    <a:pt x="557" y="307"/>
                  </a:lnTo>
                  <a:lnTo>
                    <a:pt x="557" y="318"/>
                  </a:lnTo>
                  <a:lnTo>
                    <a:pt x="559" y="321"/>
                  </a:lnTo>
                  <a:lnTo>
                    <a:pt x="557" y="323"/>
                  </a:lnTo>
                  <a:lnTo>
                    <a:pt x="559" y="325"/>
                  </a:lnTo>
                  <a:lnTo>
                    <a:pt x="561" y="333"/>
                  </a:lnTo>
                  <a:lnTo>
                    <a:pt x="559" y="342"/>
                  </a:lnTo>
                  <a:lnTo>
                    <a:pt x="561" y="348"/>
                  </a:lnTo>
                  <a:lnTo>
                    <a:pt x="559" y="350"/>
                  </a:lnTo>
                  <a:lnTo>
                    <a:pt x="509" y="350"/>
                  </a:lnTo>
                  <a:lnTo>
                    <a:pt x="453" y="350"/>
                  </a:lnTo>
                  <a:lnTo>
                    <a:pt x="451" y="348"/>
                  </a:lnTo>
                  <a:lnTo>
                    <a:pt x="398" y="347"/>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2" name="Freeform 131"/>
            <p:cNvSpPr>
              <a:spLocks/>
            </p:cNvSpPr>
            <p:nvPr/>
          </p:nvSpPr>
          <p:spPr bwMode="gray">
            <a:xfrm>
              <a:off x="4252159" y="2516255"/>
              <a:ext cx="956495" cy="637664"/>
            </a:xfrm>
            <a:custGeom>
              <a:avLst/>
              <a:gdLst/>
              <a:ahLst/>
              <a:cxnLst>
                <a:cxn ang="0">
                  <a:pos x="42" y="317"/>
                </a:cxn>
                <a:cxn ang="0">
                  <a:pos x="5" y="259"/>
                </a:cxn>
                <a:cxn ang="0">
                  <a:pos x="10" y="188"/>
                </a:cxn>
                <a:cxn ang="0">
                  <a:pos x="19" y="100"/>
                </a:cxn>
                <a:cxn ang="0">
                  <a:pos x="27" y="0"/>
                </a:cxn>
                <a:cxn ang="0">
                  <a:pos x="179" y="10"/>
                </a:cxn>
                <a:cxn ang="0">
                  <a:pos x="350" y="18"/>
                </a:cxn>
                <a:cxn ang="0">
                  <a:pos x="478" y="23"/>
                </a:cxn>
                <a:cxn ang="0">
                  <a:pos x="586" y="25"/>
                </a:cxn>
                <a:cxn ang="0">
                  <a:pos x="579" y="46"/>
                </a:cxn>
                <a:cxn ang="0">
                  <a:pos x="565" y="63"/>
                </a:cxn>
                <a:cxn ang="0">
                  <a:pos x="577" y="82"/>
                </a:cxn>
                <a:cxn ang="0">
                  <a:pos x="593" y="90"/>
                </a:cxn>
                <a:cxn ang="0">
                  <a:pos x="594" y="128"/>
                </a:cxn>
                <a:cxn ang="0">
                  <a:pos x="594" y="176"/>
                </a:cxn>
                <a:cxn ang="0">
                  <a:pos x="593" y="287"/>
                </a:cxn>
                <a:cxn ang="0">
                  <a:pos x="583" y="293"/>
                </a:cxn>
                <a:cxn ang="0">
                  <a:pos x="588" y="302"/>
                </a:cxn>
                <a:cxn ang="0">
                  <a:pos x="584" y="312"/>
                </a:cxn>
                <a:cxn ang="0">
                  <a:pos x="586" y="316"/>
                </a:cxn>
                <a:cxn ang="0">
                  <a:pos x="594" y="328"/>
                </a:cxn>
                <a:cxn ang="0">
                  <a:pos x="591" y="334"/>
                </a:cxn>
                <a:cxn ang="0">
                  <a:pos x="588" y="341"/>
                </a:cxn>
                <a:cxn ang="0">
                  <a:pos x="588" y="352"/>
                </a:cxn>
                <a:cxn ang="0">
                  <a:pos x="583" y="358"/>
                </a:cxn>
                <a:cxn ang="0">
                  <a:pos x="579" y="367"/>
                </a:cxn>
                <a:cxn ang="0">
                  <a:pos x="586" y="377"/>
                </a:cxn>
                <a:cxn ang="0">
                  <a:pos x="589" y="386"/>
                </a:cxn>
                <a:cxn ang="0">
                  <a:pos x="594" y="396"/>
                </a:cxn>
                <a:cxn ang="0">
                  <a:pos x="583" y="393"/>
                </a:cxn>
                <a:cxn ang="0">
                  <a:pos x="579" y="389"/>
                </a:cxn>
                <a:cxn ang="0">
                  <a:pos x="574" y="379"/>
                </a:cxn>
                <a:cxn ang="0">
                  <a:pos x="565" y="375"/>
                </a:cxn>
                <a:cxn ang="0">
                  <a:pos x="557" y="369"/>
                </a:cxn>
                <a:cxn ang="0">
                  <a:pos x="553" y="367"/>
                </a:cxn>
                <a:cxn ang="0">
                  <a:pos x="540" y="365"/>
                </a:cxn>
                <a:cxn ang="0">
                  <a:pos x="533" y="357"/>
                </a:cxn>
                <a:cxn ang="0">
                  <a:pos x="526" y="355"/>
                </a:cxn>
                <a:cxn ang="0">
                  <a:pos x="512" y="355"/>
                </a:cxn>
                <a:cxn ang="0">
                  <a:pos x="500" y="355"/>
                </a:cxn>
                <a:cxn ang="0">
                  <a:pos x="490" y="357"/>
                </a:cxn>
                <a:cxn ang="0">
                  <a:pos x="482" y="355"/>
                </a:cxn>
                <a:cxn ang="0">
                  <a:pos x="475" y="364"/>
                </a:cxn>
                <a:cxn ang="0">
                  <a:pos x="463" y="360"/>
                </a:cxn>
                <a:cxn ang="0">
                  <a:pos x="459" y="357"/>
                </a:cxn>
                <a:cxn ang="0">
                  <a:pos x="437" y="345"/>
                </a:cxn>
                <a:cxn ang="0">
                  <a:pos x="353" y="336"/>
                </a:cxn>
                <a:cxn ang="0">
                  <a:pos x="154" y="326"/>
                </a:cxn>
              </a:cxnLst>
              <a:rect l="0" t="0" r="r" b="b"/>
              <a:pathLst>
                <a:path w="594" h="396">
                  <a:moveTo>
                    <a:pt x="99" y="323"/>
                  </a:moveTo>
                  <a:lnTo>
                    <a:pt x="82" y="321"/>
                  </a:lnTo>
                  <a:lnTo>
                    <a:pt x="42" y="317"/>
                  </a:lnTo>
                  <a:lnTo>
                    <a:pt x="0" y="314"/>
                  </a:lnTo>
                  <a:lnTo>
                    <a:pt x="3" y="263"/>
                  </a:lnTo>
                  <a:lnTo>
                    <a:pt x="5" y="259"/>
                  </a:lnTo>
                  <a:lnTo>
                    <a:pt x="7" y="222"/>
                  </a:lnTo>
                  <a:lnTo>
                    <a:pt x="10" y="191"/>
                  </a:lnTo>
                  <a:lnTo>
                    <a:pt x="10" y="188"/>
                  </a:lnTo>
                  <a:lnTo>
                    <a:pt x="13" y="145"/>
                  </a:lnTo>
                  <a:lnTo>
                    <a:pt x="17" y="100"/>
                  </a:lnTo>
                  <a:lnTo>
                    <a:pt x="19" y="100"/>
                  </a:lnTo>
                  <a:lnTo>
                    <a:pt x="20" y="76"/>
                  </a:lnTo>
                  <a:lnTo>
                    <a:pt x="27" y="5"/>
                  </a:lnTo>
                  <a:lnTo>
                    <a:pt x="27" y="0"/>
                  </a:lnTo>
                  <a:lnTo>
                    <a:pt x="106" y="5"/>
                  </a:lnTo>
                  <a:lnTo>
                    <a:pt x="109" y="6"/>
                  </a:lnTo>
                  <a:lnTo>
                    <a:pt x="179" y="10"/>
                  </a:lnTo>
                  <a:lnTo>
                    <a:pt x="290" y="17"/>
                  </a:lnTo>
                  <a:lnTo>
                    <a:pt x="338" y="18"/>
                  </a:lnTo>
                  <a:lnTo>
                    <a:pt x="350" y="18"/>
                  </a:lnTo>
                  <a:lnTo>
                    <a:pt x="403" y="22"/>
                  </a:lnTo>
                  <a:lnTo>
                    <a:pt x="425" y="22"/>
                  </a:lnTo>
                  <a:lnTo>
                    <a:pt x="478" y="23"/>
                  </a:lnTo>
                  <a:lnTo>
                    <a:pt x="480" y="25"/>
                  </a:lnTo>
                  <a:lnTo>
                    <a:pt x="536" y="25"/>
                  </a:lnTo>
                  <a:lnTo>
                    <a:pt x="586" y="25"/>
                  </a:lnTo>
                  <a:lnTo>
                    <a:pt x="584" y="37"/>
                  </a:lnTo>
                  <a:lnTo>
                    <a:pt x="584" y="39"/>
                  </a:lnTo>
                  <a:lnTo>
                    <a:pt x="579" y="46"/>
                  </a:lnTo>
                  <a:lnTo>
                    <a:pt x="565" y="56"/>
                  </a:lnTo>
                  <a:lnTo>
                    <a:pt x="564" y="59"/>
                  </a:lnTo>
                  <a:lnTo>
                    <a:pt x="565" y="63"/>
                  </a:lnTo>
                  <a:lnTo>
                    <a:pt x="571" y="70"/>
                  </a:lnTo>
                  <a:lnTo>
                    <a:pt x="574" y="76"/>
                  </a:lnTo>
                  <a:lnTo>
                    <a:pt x="577" y="82"/>
                  </a:lnTo>
                  <a:lnTo>
                    <a:pt x="583" y="83"/>
                  </a:lnTo>
                  <a:lnTo>
                    <a:pt x="589" y="85"/>
                  </a:lnTo>
                  <a:lnTo>
                    <a:pt x="593" y="90"/>
                  </a:lnTo>
                  <a:lnTo>
                    <a:pt x="594" y="94"/>
                  </a:lnTo>
                  <a:lnTo>
                    <a:pt x="594" y="95"/>
                  </a:lnTo>
                  <a:lnTo>
                    <a:pt x="594" y="128"/>
                  </a:lnTo>
                  <a:lnTo>
                    <a:pt x="594" y="146"/>
                  </a:lnTo>
                  <a:lnTo>
                    <a:pt x="594" y="165"/>
                  </a:lnTo>
                  <a:lnTo>
                    <a:pt x="594" y="176"/>
                  </a:lnTo>
                  <a:lnTo>
                    <a:pt x="594" y="211"/>
                  </a:lnTo>
                  <a:lnTo>
                    <a:pt x="594" y="249"/>
                  </a:lnTo>
                  <a:lnTo>
                    <a:pt x="593" y="287"/>
                  </a:lnTo>
                  <a:lnTo>
                    <a:pt x="583" y="287"/>
                  </a:lnTo>
                  <a:lnTo>
                    <a:pt x="584" y="288"/>
                  </a:lnTo>
                  <a:lnTo>
                    <a:pt x="583" y="293"/>
                  </a:lnTo>
                  <a:lnTo>
                    <a:pt x="586" y="297"/>
                  </a:lnTo>
                  <a:lnTo>
                    <a:pt x="588" y="299"/>
                  </a:lnTo>
                  <a:lnTo>
                    <a:pt x="588" y="302"/>
                  </a:lnTo>
                  <a:lnTo>
                    <a:pt x="588" y="307"/>
                  </a:lnTo>
                  <a:lnTo>
                    <a:pt x="584" y="309"/>
                  </a:lnTo>
                  <a:lnTo>
                    <a:pt x="584" y="312"/>
                  </a:lnTo>
                  <a:lnTo>
                    <a:pt x="586" y="314"/>
                  </a:lnTo>
                  <a:lnTo>
                    <a:pt x="584" y="314"/>
                  </a:lnTo>
                  <a:lnTo>
                    <a:pt x="586" y="316"/>
                  </a:lnTo>
                  <a:lnTo>
                    <a:pt x="591" y="317"/>
                  </a:lnTo>
                  <a:lnTo>
                    <a:pt x="593" y="317"/>
                  </a:lnTo>
                  <a:lnTo>
                    <a:pt x="594" y="328"/>
                  </a:lnTo>
                  <a:lnTo>
                    <a:pt x="593" y="331"/>
                  </a:lnTo>
                  <a:lnTo>
                    <a:pt x="593" y="333"/>
                  </a:lnTo>
                  <a:lnTo>
                    <a:pt x="591" y="334"/>
                  </a:lnTo>
                  <a:lnTo>
                    <a:pt x="588" y="334"/>
                  </a:lnTo>
                  <a:lnTo>
                    <a:pt x="589" y="340"/>
                  </a:lnTo>
                  <a:lnTo>
                    <a:pt x="588" y="341"/>
                  </a:lnTo>
                  <a:lnTo>
                    <a:pt x="589" y="346"/>
                  </a:lnTo>
                  <a:lnTo>
                    <a:pt x="586" y="350"/>
                  </a:lnTo>
                  <a:lnTo>
                    <a:pt x="588" y="352"/>
                  </a:lnTo>
                  <a:lnTo>
                    <a:pt x="586" y="357"/>
                  </a:lnTo>
                  <a:lnTo>
                    <a:pt x="584" y="358"/>
                  </a:lnTo>
                  <a:lnTo>
                    <a:pt x="583" y="358"/>
                  </a:lnTo>
                  <a:lnTo>
                    <a:pt x="583" y="362"/>
                  </a:lnTo>
                  <a:lnTo>
                    <a:pt x="579" y="365"/>
                  </a:lnTo>
                  <a:lnTo>
                    <a:pt x="579" y="367"/>
                  </a:lnTo>
                  <a:lnTo>
                    <a:pt x="579" y="372"/>
                  </a:lnTo>
                  <a:lnTo>
                    <a:pt x="584" y="375"/>
                  </a:lnTo>
                  <a:lnTo>
                    <a:pt x="586" y="377"/>
                  </a:lnTo>
                  <a:lnTo>
                    <a:pt x="589" y="381"/>
                  </a:lnTo>
                  <a:lnTo>
                    <a:pt x="591" y="386"/>
                  </a:lnTo>
                  <a:lnTo>
                    <a:pt x="589" y="386"/>
                  </a:lnTo>
                  <a:lnTo>
                    <a:pt x="591" y="387"/>
                  </a:lnTo>
                  <a:lnTo>
                    <a:pt x="591" y="393"/>
                  </a:lnTo>
                  <a:lnTo>
                    <a:pt x="594" y="396"/>
                  </a:lnTo>
                  <a:lnTo>
                    <a:pt x="589" y="396"/>
                  </a:lnTo>
                  <a:lnTo>
                    <a:pt x="586" y="393"/>
                  </a:lnTo>
                  <a:lnTo>
                    <a:pt x="583" y="393"/>
                  </a:lnTo>
                  <a:lnTo>
                    <a:pt x="581" y="394"/>
                  </a:lnTo>
                  <a:lnTo>
                    <a:pt x="579" y="393"/>
                  </a:lnTo>
                  <a:lnTo>
                    <a:pt x="579" y="389"/>
                  </a:lnTo>
                  <a:lnTo>
                    <a:pt x="572" y="382"/>
                  </a:lnTo>
                  <a:lnTo>
                    <a:pt x="572" y="381"/>
                  </a:lnTo>
                  <a:lnTo>
                    <a:pt x="574" y="379"/>
                  </a:lnTo>
                  <a:lnTo>
                    <a:pt x="574" y="377"/>
                  </a:lnTo>
                  <a:lnTo>
                    <a:pt x="572" y="375"/>
                  </a:lnTo>
                  <a:lnTo>
                    <a:pt x="565" y="375"/>
                  </a:lnTo>
                  <a:lnTo>
                    <a:pt x="565" y="375"/>
                  </a:lnTo>
                  <a:lnTo>
                    <a:pt x="565" y="372"/>
                  </a:lnTo>
                  <a:lnTo>
                    <a:pt x="557" y="369"/>
                  </a:lnTo>
                  <a:lnTo>
                    <a:pt x="553" y="370"/>
                  </a:lnTo>
                  <a:lnTo>
                    <a:pt x="552" y="370"/>
                  </a:lnTo>
                  <a:lnTo>
                    <a:pt x="553" y="367"/>
                  </a:lnTo>
                  <a:lnTo>
                    <a:pt x="552" y="367"/>
                  </a:lnTo>
                  <a:lnTo>
                    <a:pt x="550" y="367"/>
                  </a:lnTo>
                  <a:lnTo>
                    <a:pt x="540" y="365"/>
                  </a:lnTo>
                  <a:lnTo>
                    <a:pt x="538" y="362"/>
                  </a:lnTo>
                  <a:lnTo>
                    <a:pt x="535" y="360"/>
                  </a:lnTo>
                  <a:lnTo>
                    <a:pt x="533" y="357"/>
                  </a:lnTo>
                  <a:lnTo>
                    <a:pt x="531" y="357"/>
                  </a:lnTo>
                  <a:lnTo>
                    <a:pt x="530" y="357"/>
                  </a:lnTo>
                  <a:lnTo>
                    <a:pt x="526" y="355"/>
                  </a:lnTo>
                  <a:lnTo>
                    <a:pt x="519" y="353"/>
                  </a:lnTo>
                  <a:lnTo>
                    <a:pt x="514" y="357"/>
                  </a:lnTo>
                  <a:lnTo>
                    <a:pt x="512" y="355"/>
                  </a:lnTo>
                  <a:lnTo>
                    <a:pt x="511" y="355"/>
                  </a:lnTo>
                  <a:lnTo>
                    <a:pt x="506" y="357"/>
                  </a:lnTo>
                  <a:lnTo>
                    <a:pt x="500" y="355"/>
                  </a:lnTo>
                  <a:lnTo>
                    <a:pt x="497" y="357"/>
                  </a:lnTo>
                  <a:lnTo>
                    <a:pt x="494" y="355"/>
                  </a:lnTo>
                  <a:lnTo>
                    <a:pt x="490" y="357"/>
                  </a:lnTo>
                  <a:lnTo>
                    <a:pt x="489" y="355"/>
                  </a:lnTo>
                  <a:lnTo>
                    <a:pt x="487" y="353"/>
                  </a:lnTo>
                  <a:lnTo>
                    <a:pt x="482" y="355"/>
                  </a:lnTo>
                  <a:lnTo>
                    <a:pt x="480" y="357"/>
                  </a:lnTo>
                  <a:lnTo>
                    <a:pt x="478" y="362"/>
                  </a:lnTo>
                  <a:lnTo>
                    <a:pt x="475" y="364"/>
                  </a:lnTo>
                  <a:lnTo>
                    <a:pt x="473" y="364"/>
                  </a:lnTo>
                  <a:lnTo>
                    <a:pt x="470" y="364"/>
                  </a:lnTo>
                  <a:lnTo>
                    <a:pt x="463" y="360"/>
                  </a:lnTo>
                  <a:lnTo>
                    <a:pt x="463" y="358"/>
                  </a:lnTo>
                  <a:lnTo>
                    <a:pt x="461" y="357"/>
                  </a:lnTo>
                  <a:lnTo>
                    <a:pt x="459" y="357"/>
                  </a:lnTo>
                  <a:lnTo>
                    <a:pt x="447" y="352"/>
                  </a:lnTo>
                  <a:lnTo>
                    <a:pt x="442" y="346"/>
                  </a:lnTo>
                  <a:lnTo>
                    <a:pt x="437" y="345"/>
                  </a:lnTo>
                  <a:lnTo>
                    <a:pt x="434" y="340"/>
                  </a:lnTo>
                  <a:lnTo>
                    <a:pt x="374" y="338"/>
                  </a:lnTo>
                  <a:lnTo>
                    <a:pt x="353" y="336"/>
                  </a:lnTo>
                  <a:lnTo>
                    <a:pt x="301" y="334"/>
                  </a:lnTo>
                  <a:lnTo>
                    <a:pt x="220" y="331"/>
                  </a:lnTo>
                  <a:lnTo>
                    <a:pt x="154" y="326"/>
                  </a:lnTo>
                  <a:lnTo>
                    <a:pt x="99" y="323"/>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3" name="Freeform 132"/>
            <p:cNvSpPr>
              <a:spLocks/>
            </p:cNvSpPr>
            <p:nvPr/>
          </p:nvSpPr>
          <p:spPr bwMode="gray">
            <a:xfrm>
              <a:off x="3324649" y="2572614"/>
              <a:ext cx="954885" cy="795469"/>
            </a:xfrm>
            <a:custGeom>
              <a:avLst/>
              <a:gdLst/>
              <a:ahLst/>
              <a:cxnLst>
                <a:cxn ang="0">
                  <a:pos x="564" y="419"/>
                </a:cxn>
                <a:cxn ang="0">
                  <a:pos x="562" y="433"/>
                </a:cxn>
                <a:cxn ang="0">
                  <a:pos x="562" y="452"/>
                </a:cxn>
                <a:cxn ang="0">
                  <a:pos x="559" y="494"/>
                </a:cxn>
                <a:cxn ang="0">
                  <a:pos x="487" y="487"/>
                </a:cxn>
                <a:cxn ang="0">
                  <a:pos x="459" y="486"/>
                </a:cxn>
                <a:cxn ang="0">
                  <a:pos x="386" y="477"/>
                </a:cxn>
                <a:cxn ang="0">
                  <a:pos x="376" y="475"/>
                </a:cxn>
                <a:cxn ang="0">
                  <a:pos x="333" y="472"/>
                </a:cxn>
                <a:cxn ang="0">
                  <a:pos x="297" y="467"/>
                </a:cxn>
                <a:cxn ang="0">
                  <a:pos x="249" y="460"/>
                </a:cxn>
                <a:cxn ang="0">
                  <a:pos x="159" y="450"/>
                </a:cxn>
                <a:cxn ang="0">
                  <a:pos x="82" y="438"/>
                </a:cxn>
                <a:cxn ang="0">
                  <a:pos x="77" y="438"/>
                </a:cxn>
                <a:cxn ang="0">
                  <a:pos x="0" y="426"/>
                </a:cxn>
                <a:cxn ang="0">
                  <a:pos x="3" y="399"/>
                </a:cxn>
                <a:cxn ang="0">
                  <a:pos x="8" y="364"/>
                </a:cxn>
                <a:cxn ang="0">
                  <a:pos x="17" y="320"/>
                </a:cxn>
                <a:cxn ang="0">
                  <a:pos x="25" y="265"/>
                </a:cxn>
                <a:cxn ang="0">
                  <a:pos x="34" y="211"/>
                </a:cxn>
                <a:cxn ang="0">
                  <a:pos x="37" y="182"/>
                </a:cxn>
                <a:cxn ang="0">
                  <a:pos x="42" y="158"/>
                </a:cxn>
                <a:cxn ang="0">
                  <a:pos x="49" y="108"/>
                </a:cxn>
                <a:cxn ang="0">
                  <a:pos x="58" y="57"/>
                </a:cxn>
                <a:cxn ang="0">
                  <a:pos x="61" y="36"/>
                </a:cxn>
                <a:cxn ang="0">
                  <a:pos x="66" y="0"/>
                </a:cxn>
                <a:cxn ang="0">
                  <a:pos x="113" y="9"/>
                </a:cxn>
                <a:cxn ang="0">
                  <a:pos x="116" y="9"/>
                </a:cxn>
                <a:cxn ang="0">
                  <a:pos x="147" y="12"/>
                </a:cxn>
                <a:cxn ang="0">
                  <a:pos x="160" y="14"/>
                </a:cxn>
                <a:cxn ang="0">
                  <a:pos x="249" y="28"/>
                </a:cxn>
                <a:cxn ang="0">
                  <a:pos x="277" y="31"/>
                </a:cxn>
                <a:cxn ang="0">
                  <a:pos x="304" y="35"/>
                </a:cxn>
                <a:cxn ang="0">
                  <a:pos x="427" y="48"/>
                </a:cxn>
                <a:cxn ang="0">
                  <a:pos x="446" y="52"/>
                </a:cxn>
                <a:cxn ang="0">
                  <a:pos x="516" y="59"/>
                </a:cxn>
                <a:cxn ang="0">
                  <a:pos x="519" y="59"/>
                </a:cxn>
                <a:cxn ang="0">
                  <a:pos x="593" y="65"/>
                </a:cxn>
                <a:cxn ang="0">
                  <a:pos x="589" y="110"/>
                </a:cxn>
                <a:cxn ang="0">
                  <a:pos x="586" y="153"/>
                </a:cxn>
                <a:cxn ang="0">
                  <a:pos x="586" y="156"/>
                </a:cxn>
                <a:cxn ang="0">
                  <a:pos x="583" y="187"/>
                </a:cxn>
                <a:cxn ang="0">
                  <a:pos x="581" y="224"/>
                </a:cxn>
                <a:cxn ang="0">
                  <a:pos x="579" y="228"/>
                </a:cxn>
                <a:cxn ang="0">
                  <a:pos x="576" y="279"/>
                </a:cxn>
                <a:cxn ang="0">
                  <a:pos x="572" y="320"/>
                </a:cxn>
                <a:cxn ang="0">
                  <a:pos x="567" y="387"/>
                </a:cxn>
                <a:cxn ang="0">
                  <a:pos x="564" y="419"/>
                </a:cxn>
              </a:cxnLst>
              <a:rect l="0" t="0" r="r" b="b"/>
              <a:pathLst>
                <a:path w="593" h="494">
                  <a:moveTo>
                    <a:pt x="564" y="419"/>
                  </a:moveTo>
                  <a:lnTo>
                    <a:pt x="562" y="433"/>
                  </a:lnTo>
                  <a:lnTo>
                    <a:pt x="562" y="452"/>
                  </a:lnTo>
                  <a:lnTo>
                    <a:pt x="559" y="494"/>
                  </a:lnTo>
                  <a:lnTo>
                    <a:pt x="487" y="487"/>
                  </a:lnTo>
                  <a:lnTo>
                    <a:pt x="459" y="486"/>
                  </a:lnTo>
                  <a:lnTo>
                    <a:pt x="386" y="477"/>
                  </a:lnTo>
                  <a:lnTo>
                    <a:pt x="376" y="475"/>
                  </a:lnTo>
                  <a:lnTo>
                    <a:pt x="333" y="472"/>
                  </a:lnTo>
                  <a:lnTo>
                    <a:pt x="297" y="467"/>
                  </a:lnTo>
                  <a:lnTo>
                    <a:pt x="249" y="460"/>
                  </a:lnTo>
                  <a:lnTo>
                    <a:pt x="159" y="450"/>
                  </a:lnTo>
                  <a:lnTo>
                    <a:pt x="82" y="438"/>
                  </a:lnTo>
                  <a:lnTo>
                    <a:pt x="77" y="438"/>
                  </a:lnTo>
                  <a:lnTo>
                    <a:pt x="0" y="426"/>
                  </a:lnTo>
                  <a:lnTo>
                    <a:pt x="3" y="399"/>
                  </a:lnTo>
                  <a:lnTo>
                    <a:pt x="8" y="364"/>
                  </a:lnTo>
                  <a:lnTo>
                    <a:pt x="17" y="320"/>
                  </a:lnTo>
                  <a:lnTo>
                    <a:pt x="25" y="265"/>
                  </a:lnTo>
                  <a:lnTo>
                    <a:pt x="34" y="211"/>
                  </a:lnTo>
                  <a:lnTo>
                    <a:pt x="37" y="182"/>
                  </a:lnTo>
                  <a:lnTo>
                    <a:pt x="42" y="158"/>
                  </a:lnTo>
                  <a:lnTo>
                    <a:pt x="49" y="108"/>
                  </a:lnTo>
                  <a:lnTo>
                    <a:pt x="58" y="57"/>
                  </a:lnTo>
                  <a:lnTo>
                    <a:pt x="61" y="36"/>
                  </a:lnTo>
                  <a:lnTo>
                    <a:pt x="66" y="0"/>
                  </a:lnTo>
                  <a:lnTo>
                    <a:pt x="113" y="9"/>
                  </a:lnTo>
                  <a:lnTo>
                    <a:pt x="116" y="9"/>
                  </a:lnTo>
                  <a:lnTo>
                    <a:pt x="147" y="12"/>
                  </a:lnTo>
                  <a:lnTo>
                    <a:pt x="160" y="14"/>
                  </a:lnTo>
                  <a:lnTo>
                    <a:pt x="249" y="28"/>
                  </a:lnTo>
                  <a:lnTo>
                    <a:pt x="277" y="31"/>
                  </a:lnTo>
                  <a:lnTo>
                    <a:pt x="304" y="35"/>
                  </a:lnTo>
                  <a:lnTo>
                    <a:pt x="427" y="48"/>
                  </a:lnTo>
                  <a:lnTo>
                    <a:pt x="446" y="52"/>
                  </a:lnTo>
                  <a:lnTo>
                    <a:pt x="516" y="59"/>
                  </a:lnTo>
                  <a:lnTo>
                    <a:pt x="519" y="59"/>
                  </a:lnTo>
                  <a:lnTo>
                    <a:pt x="593" y="65"/>
                  </a:lnTo>
                  <a:lnTo>
                    <a:pt x="589" y="110"/>
                  </a:lnTo>
                  <a:lnTo>
                    <a:pt x="586" y="153"/>
                  </a:lnTo>
                  <a:lnTo>
                    <a:pt x="586" y="156"/>
                  </a:lnTo>
                  <a:lnTo>
                    <a:pt x="583" y="187"/>
                  </a:lnTo>
                  <a:lnTo>
                    <a:pt x="581" y="224"/>
                  </a:lnTo>
                  <a:lnTo>
                    <a:pt x="579" y="228"/>
                  </a:lnTo>
                  <a:lnTo>
                    <a:pt x="576" y="279"/>
                  </a:lnTo>
                  <a:lnTo>
                    <a:pt x="572" y="320"/>
                  </a:lnTo>
                  <a:lnTo>
                    <a:pt x="567" y="387"/>
                  </a:lnTo>
                  <a:lnTo>
                    <a:pt x="564" y="419"/>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4" name="Freeform 133"/>
            <p:cNvSpPr>
              <a:spLocks noEditPoints="1"/>
            </p:cNvSpPr>
            <p:nvPr/>
          </p:nvSpPr>
          <p:spPr bwMode="gray">
            <a:xfrm>
              <a:off x="5641815" y="2366501"/>
              <a:ext cx="721397" cy="764875"/>
            </a:xfrm>
            <a:custGeom>
              <a:avLst/>
              <a:gdLst/>
              <a:ahLst/>
              <a:cxnLst>
                <a:cxn ang="0">
                  <a:pos x="378" y="228"/>
                </a:cxn>
                <a:cxn ang="0">
                  <a:pos x="379" y="243"/>
                </a:cxn>
                <a:cxn ang="0">
                  <a:pos x="403" y="209"/>
                </a:cxn>
                <a:cxn ang="0">
                  <a:pos x="427" y="210"/>
                </a:cxn>
                <a:cxn ang="0">
                  <a:pos x="408" y="287"/>
                </a:cxn>
                <a:cxn ang="0">
                  <a:pos x="396" y="368"/>
                </a:cxn>
                <a:cxn ang="0">
                  <a:pos x="407" y="422"/>
                </a:cxn>
                <a:cxn ang="0">
                  <a:pos x="372" y="463"/>
                </a:cxn>
                <a:cxn ang="0">
                  <a:pos x="285" y="470"/>
                </a:cxn>
                <a:cxn ang="0">
                  <a:pos x="190" y="472"/>
                </a:cxn>
                <a:cxn ang="0">
                  <a:pos x="167" y="458"/>
                </a:cxn>
                <a:cxn ang="0">
                  <a:pos x="150" y="438"/>
                </a:cxn>
                <a:cxn ang="0">
                  <a:pos x="143" y="409"/>
                </a:cxn>
                <a:cxn ang="0">
                  <a:pos x="140" y="385"/>
                </a:cxn>
                <a:cxn ang="0">
                  <a:pos x="135" y="359"/>
                </a:cxn>
                <a:cxn ang="0">
                  <a:pos x="123" y="323"/>
                </a:cxn>
                <a:cxn ang="0">
                  <a:pos x="101" y="311"/>
                </a:cxn>
                <a:cxn ang="0">
                  <a:pos x="78" y="286"/>
                </a:cxn>
                <a:cxn ang="0">
                  <a:pos x="53" y="272"/>
                </a:cxn>
                <a:cxn ang="0">
                  <a:pos x="25" y="257"/>
                </a:cxn>
                <a:cxn ang="0">
                  <a:pos x="12" y="229"/>
                </a:cxn>
                <a:cxn ang="0">
                  <a:pos x="12" y="212"/>
                </a:cxn>
                <a:cxn ang="0">
                  <a:pos x="12" y="192"/>
                </a:cxn>
                <a:cxn ang="0">
                  <a:pos x="19" y="168"/>
                </a:cxn>
                <a:cxn ang="0">
                  <a:pos x="5" y="154"/>
                </a:cxn>
                <a:cxn ang="0">
                  <a:pos x="8" y="134"/>
                </a:cxn>
                <a:cxn ang="0">
                  <a:pos x="24" y="111"/>
                </a:cxn>
                <a:cxn ang="0">
                  <a:pos x="39" y="104"/>
                </a:cxn>
                <a:cxn ang="0">
                  <a:pos x="41" y="36"/>
                </a:cxn>
                <a:cxn ang="0">
                  <a:pos x="94" y="22"/>
                </a:cxn>
                <a:cxn ang="0">
                  <a:pos x="155" y="31"/>
                </a:cxn>
                <a:cxn ang="0">
                  <a:pos x="188" y="41"/>
                </a:cxn>
                <a:cxn ang="0">
                  <a:pos x="200" y="52"/>
                </a:cxn>
                <a:cxn ang="0">
                  <a:pos x="280" y="77"/>
                </a:cxn>
                <a:cxn ang="0">
                  <a:pos x="306" y="87"/>
                </a:cxn>
                <a:cxn ang="0">
                  <a:pos x="316" y="91"/>
                </a:cxn>
                <a:cxn ang="0">
                  <a:pos x="325" y="87"/>
                </a:cxn>
                <a:cxn ang="0">
                  <a:pos x="337" y="89"/>
                </a:cxn>
                <a:cxn ang="0">
                  <a:pos x="350" y="93"/>
                </a:cxn>
                <a:cxn ang="0">
                  <a:pos x="360" y="99"/>
                </a:cxn>
                <a:cxn ang="0">
                  <a:pos x="366" y="108"/>
                </a:cxn>
                <a:cxn ang="0">
                  <a:pos x="381" y="116"/>
                </a:cxn>
                <a:cxn ang="0">
                  <a:pos x="384" y="127"/>
                </a:cxn>
                <a:cxn ang="0">
                  <a:pos x="384" y="139"/>
                </a:cxn>
                <a:cxn ang="0">
                  <a:pos x="379" y="154"/>
                </a:cxn>
                <a:cxn ang="0">
                  <a:pos x="388" y="154"/>
                </a:cxn>
                <a:cxn ang="0">
                  <a:pos x="393" y="164"/>
                </a:cxn>
                <a:cxn ang="0">
                  <a:pos x="396" y="176"/>
                </a:cxn>
                <a:cxn ang="0">
                  <a:pos x="391" y="195"/>
                </a:cxn>
                <a:cxn ang="0">
                  <a:pos x="442" y="159"/>
                </a:cxn>
                <a:cxn ang="0">
                  <a:pos x="441" y="181"/>
                </a:cxn>
                <a:cxn ang="0">
                  <a:pos x="427" y="210"/>
                </a:cxn>
                <a:cxn ang="0">
                  <a:pos x="429" y="169"/>
                </a:cxn>
              </a:cxnLst>
              <a:rect l="0" t="0" r="r" b="b"/>
              <a:pathLst>
                <a:path w="448" h="475">
                  <a:moveTo>
                    <a:pt x="391" y="195"/>
                  </a:moveTo>
                  <a:lnTo>
                    <a:pt x="386" y="200"/>
                  </a:lnTo>
                  <a:lnTo>
                    <a:pt x="386" y="205"/>
                  </a:lnTo>
                  <a:lnTo>
                    <a:pt x="376" y="222"/>
                  </a:lnTo>
                  <a:lnTo>
                    <a:pt x="378" y="228"/>
                  </a:lnTo>
                  <a:lnTo>
                    <a:pt x="374" y="231"/>
                  </a:lnTo>
                  <a:lnTo>
                    <a:pt x="378" y="236"/>
                  </a:lnTo>
                  <a:lnTo>
                    <a:pt x="376" y="234"/>
                  </a:lnTo>
                  <a:lnTo>
                    <a:pt x="374" y="239"/>
                  </a:lnTo>
                  <a:lnTo>
                    <a:pt x="379" y="243"/>
                  </a:lnTo>
                  <a:lnTo>
                    <a:pt x="383" y="241"/>
                  </a:lnTo>
                  <a:lnTo>
                    <a:pt x="386" y="233"/>
                  </a:lnTo>
                  <a:lnTo>
                    <a:pt x="393" y="229"/>
                  </a:lnTo>
                  <a:lnTo>
                    <a:pt x="396" y="224"/>
                  </a:lnTo>
                  <a:lnTo>
                    <a:pt x="403" y="209"/>
                  </a:lnTo>
                  <a:lnTo>
                    <a:pt x="408" y="205"/>
                  </a:lnTo>
                  <a:lnTo>
                    <a:pt x="408" y="209"/>
                  </a:lnTo>
                  <a:lnTo>
                    <a:pt x="417" y="200"/>
                  </a:lnTo>
                  <a:lnTo>
                    <a:pt x="422" y="209"/>
                  </a:lnTo>
                  <a:lnTo>
                    <a:pt x="427" y="210"/>
                  </a:lnTo>
                  <a:lnTo>
                    <a:pt x="424" y="224"/>
                  </a:lnTo>
                  <a:lnTo>
                    <a:pt x="417" y="239"/>
                  </a:lnTo>
                  <a:lnTo>
                    <a:pt x="413" y="262"/>
                  </a:lnTo>
                  <a:lnTo>
                    <a:pt x="417" y="279"/>
                  </a:lnTo>
                  <a:lnTo>
                    <a:pt x="408" y="287"/>
                  </a:lnTo>
                  <a:lnTo>
                    <a:pt x="403" y="310"/>
                  </a:lnTo>
                  <a:lnTo>
                    <a:pt x="408" y="333"/>
                  </a:lnTo>
                  <a:lnTo>
                    <a:pt x="401" y="347"/>
                  </a:lnTo>
                  <a:lnTo>
                    <a:pt x="401" y="357"/>
                  </a:lnTo>
                  <a:lnTo>
                    <a:pt x="396" y="368"/>
                  </a:lnTo>
                  <a:lnTo>
                    <a:pt x="398" y="385"/>
                  </a:lnTo>
                  <a:lnTo>
                    <a:pt x="401" y="398"/>
                  </a:lnTo>
                  <a:lnTo>
                    <a:pt x="398" y="404"/>
                  </a:lnTo>
                  <a:lnTo>
                    <a:pt x="403" y="410"/>
                  </a:lnTo>
                  <a:lnTo>
                    <a:pt x="407" y="422"/>
                  </a:lnTo>
                  <a:lnTo>
                    <a:pt x="412" y="429"/>
                  </a:lnTo>
                  <a:lnTo>
                    <a:pt x="410" y="441"/>
                  </a:lnTo>
                  <a:lnTo>
                    <a:pt x="412" y="462"/>
                  </a:lnTo>
                  <a:lnTo>
                    <a:pt x="379" y="463"/>
                  </a:lnTo>
                  <a:lnTo>
                    <a:pt x="372" y="463"/>
                  </a:lnTo>
                  <a:lnTo>
                    <a:pt x="340" y="467"/>
                  </a:lnTo>
                  <a:lnTo>
                    <a:pt x="335" y="467"/>
                  </a:lnTo>
                  <a:lnTo>
                    <a:pt x="321" y="468"/>
                  </a:lnTo>
                  <a:lnTo>
                    <a:pt x="289" y="470"/>
                  </a:lnTo>
                  <a:lnTo>
                    <a:pt x="285" y="470"/>
                  </a:lnTo>
                  <a:lnTo>
                    <a:pt x="251" y="472"/>
                  </a:lnTo>
                  <a:lnTo>
                    <a:pt x="244" y="472"/>
                  </a:lnTo>
                  <a:lnTo>
                    <a:pt x="205" y="474"/>
                  </a:lnTo>
                  <a:lnTo>
                    <a:pt x="188" y="475"/>
                  </a:lnTo>
                  <a:lnTo>
                    <a:pt x="190" y="472"/>
                  </a:lnTo>
                  <a:lnTo>
                    <a:pt x="188" y="470"/>
                  </a:lnTo>
                  <a:lnTo>
                    <a:pt x="186" y="468"/>
                  </a:lnTo>
                  <a:lnTo>
                    <a:pt x="183" y="462"/>
                  </a:lnTo>
                  <a:lnTo>
                    <a:pt x="179" y="460"/>
                  </a:lnTo>
                  <a:lnTo>
                    <a:pt x="167" y="458"/>
                  </a:lnTo>
                  <a:lnTo>
                    <a:pt x="166" y="457"/>
                  </a:lnTo>
                  <a:lnTo>
                    <a:pt x="159" y="455"/>
                  </a:lnTo>
                  <a:lnTo>
                    <a:pt x="154" y="451"/>
                  </a:lnTo>
                  <a:lnTo>
                    <a:pt x="152" y="446"/>
                  </a:lnTo>
                  <a:lnTo>
                    <a:pt x="150" y="438"/>
                  </a:lnTo>
                  <a:lnTo>
                    <a:pt x="147" y="433"/>
                  </a:lnTo>
                  <a:lnTo>
                    <a:pt x="145" y="424"/>
                  </a:lnTo>
                  <a:lnTo>
                    <a:pt x="143" y="416"/>
                  </a:lnTo>
                  <a:lnTo>
                    <a:pt x="143" y="416"/>
                  </a:lnTo>
                  <a:lnTo>
                    <a:pt x="143" y="409"/>
                  </a:lnTo>
                  <a:lnTo>
                    <a:pt x="150" y="397"/>
                  </a:lnTo>
                  <a:lnTo>
                    <a:pt x="150" y="393"/>
                  </a:lnTo>
                  <a:lnTo>
                    <a:pt x="149" y="390"/>
                  </a:lnTo>
                  <a:lnTo>
                    <a:pt x="142" y="386"/>
                  </a:lnTo>
                  <a:lnTo>
                    <a:pt x="140" y="385"/>
                  </a:lnTo>
                  <a:lnTo>
                    <a:pt x="138" y="378"/>
                  </a:lnTo>
                  <a:lnTo>
                    <a:pt x="137" y="374"/>
                  </a:lnTo>
                  <a:lnTo>
                    <a:pt x="137" y="371"/>
                  </a:lnTo>
                  <a:lnTo>
                    <a:pt x="135" y="366"/>
                  </a:lnTo>
                  <a:lnTo>
                    <a:pt x="135" y="359"/>
                  </a:lnTo>
                  <a:lnTo>
                    <a:pt x="133" y="352"/>
                  </a:lnTo>
                  <a:lnTo>
                    <a:pt x="133" y="347"/>
                  </a:lnTo>
                  <a:lnTo>
                    <a:pt x="133" y="340"/>
                  </a:lnTo>
                  <a:lnTo>
                    <a:pt x="130" y="333"/>
                  </a:lnTo>
                  <a:lnTo>
                    <a:pt x="123" y="323"/>
                  </a:lnTo>
                  <a:lnTo>
                    <a:pt x="118" y="320"/>
                  </a:lnTo>
                  <a:lnTo>
                    <a:pt x="111" y="315"/>
                  </a:lnTo>
                  <a:lnTo>
                    <a:pt x="107" y="315"/>
                  </a:lnTo>
                  <a:lnTo>
                    <a:pt x="104" y="313"/>
                  </a:lnTo>
                  <a:lnTo>
                    <a:pt x="101" y="311"/>
                  </a:lnTo>
                  <a:lnTo>
                    <a:pt x="92" y="304"/>
                  </a:lnTo>
                  <a:lnTo>
                    <a:pt x="85" y="299"/>
                  </a:lnTo>
                  <a:lnTo>
                    <a:pt x="82" y="291"/>
                  </a:lnTo>
                  <a:lnTo>
                    <a:pt x="78" y="289"/>
                  </a:lnTo>
                  <a:lnTo>
                    <a:pt x="78" y="286"/>
                  </a:lnTo>
                  <a:lnTo>
                    <a:pt x="77" y="282"/>
                  </a:lnTo>
                  <a:lnTo>
                    <a:pt x="75" y="281"/>
                  </a:lnTo>
                  <a:lnTo>
                    <a:pt x="65" y="275"/>
                  </a:lnTo>
                  <a:lnTo>
                    <a:pt x="56" y="274"/>
                  </a:lnTo>
                  <a:lnTo>
                    <a:pt x="53" y="272"/>
                  </a:lnTo>
                  <a:lnTo>
                    <a:pt x="49" y="267"/>
                  </a:lnTo>
                  <a:lnTo>
                    <a:pt x="48" y="262"/>
                  </a:lnTo>
                  <a:lnTo>
                    <a:pt x="46" y="262"/>
                  </a:lnTo>
                  <a:lnTo>
                    <a:pt x="32" y="260"/>
                  </a:lnTo>
                  <a:lnTo>
                    <a:pt x="25" y="257"/>
                  </a:lnTo>
                  <a:lnTo>
                    <a:pt x="24" y="253"/>
                  </a:lnTo>
                  <a:lnTo>
                    <a:pt x="15" y="245"/>
                  </a:lnTo>
                  <a:lnTo>
                    <a:pt x="10" y="241"/>
                  </a:lnTo>
                  <a:lnTo>
                    <a:pt x="12" y="233"/>
                  </a:lnTo>
                  <a:lnTo>
                    <a:pt x="12" y="229"/>
                  </a:lnTo>
                  <a:lnTo>
                    <a:pt x="12" y="226"/>
                  </a:lnTo>
                  <a:lnTo>
                    <a:pt x="12" y="224"/>
                  </a:lnTo>
                  <a:lnTo>
                    <a:pt x="13" y="221"/>
                  </a:lnTo>
                  <a:lnTo>
                    <a:pt x="12" y="214"/>
                  </a:lnTo>
                  <a:lnTo>
                    <a:pt x="12" y="212"/>
                  </a:lnTo>
                  <a:lnTo>
                    <a:pt x="8" y="207"/>
                  </a:lnTo>
                  <a:lnTo>
                    <a:pt x="12" y="202"/>
                  </a:lnTo>
                  <a:lnTo>
                    <a:pt x="12" y="197"/>
                  </a:lnTo>
                  <a:lnTo>
                    <a:pt x="12" y="195"/>
                  </a:lnTo>
                  <a:lnTo>
                    <a:pt x="12" y="192"/>
                  </a:lnTo>
                  <a:lnTo>
                    <a:pt x="12" y="183"/>
                  </a:lnTo>
                  <a:lnTo>
                    <a:pt x="15" y="180"/>
                  </a:lnTo>
                  <a:lnTo>
                    <a:pt x="17" y="175"/>
                  </a:lnTo>
                  <a:lnTo>
                    <a:pt x="19" y="171"/>
                  </a:lnTo>
                  <a:lnTo>
                    <a:pt x="19" y="168"/>
                  </a:lnTo>
                  <a:lnTo>
                    <a:pt x="19" y="166"/>
                  </a:lnTo>
                  <a:lnTo>
                    <a:pt x="15" y="164"/>
                  </a:lnTo>
                  <a:lnTo>
                    <a:pt x="12" y="156"/>
                  </a:lnTo>
                  <a:lnTo>
                    <a:pt x="10" y="154"/>
                  </a:lnTo>
                  <a:lnTo>
                    <a:pt x="5" y="154"/>
                  </a:lnTo>
                  <a:lnTo>
                    <a:pt x="2" y="152"/>
                  </a:lnTo>
                  <a:lnTo>
                    <a:pt x="0" y="146"/>
                  </a:lnTo>
                  <a:lnTo>
                    <a:pt x="2" y="139"/>
                  </a:lnTo>
                  <a:lnTo>
                    <a:pt x="3" y="137"/>
                  </a:lnTo>
                  <a:lnTo>
                    <a:pt x="8" y="134"/>
                  </a:lnTo>
                  <a:lnTo>
                    <a:pt x="10" y="125"/>
                  </a:lnTo>
                  <a:lnTo>
                    <a:pt x="10" y="123"/>
                  </a:lnTo>
                  <a:lnTo>
                    <a:pt x="12" y="118"/>
                  </a:lnTo>
                  <a:lnTo>
                    <a:pt x="15" y="116"/>
                  </a:lnTo>
                  <a:lnTo>
                    <a:pt x="24" y="111"/>
                  </a:lnTo>
                  <a:lnTo>
                    <a:pt x="25" y="108"/>
                  </a:lnTo>
                  <a:lnTo>
                    <a:pt x="31" y="108"/>
                  </a:lnTo>
                  <a:lnTo>
                    <a:pt x="34" y="104"/>
                  </a:lnTo>
                  <a:lnTo>
                    <a:pt x="37" y="104"/>
                  </a:lnTo>
                  <a:lnTo>
                    <a:pt x="39" y="104"/>
                  </a:lnTo>
                  <a:lnTo>
                    <a:pt x="41" y="99"/>
                  </a:lnTo>
                  <a:lnTo>
                    <a:pt x="43" y="98"/>
                  </a:lnTo>
                  <a:lnTo>
                    <a:pt x="43" y="89"/>
                  </a:lnTo>
                  <a:lnTo>
                    <a:pt x="43" y="62"/>
                  </a:lnTo>
                  <a:lnTo>
                    <a:pt x="41" y="36"/>
                  </a:lnTo>
                  <a:lnTo>
                    <a:pt x="46" y="36"/>
                  </a:lnTo>
                  <a:lnTo>
                    <a:pt x="55" y="26"/>
                  </a:lnTo>
                  <a:lnTo>
                    <a:pt x="61" y="33"/>
                  </a:lnTo>
                  <a:lnTo>
                    <a:pt x="68" y="33"/>
                  </a:lnTo>
                  <a:lnTo>
                    <a:pt x="94" y="22"/>
                  </a:lnTo>
                  <a:lnTo>
                    <a:pt x="145" y="0"/>
                  </a:lnTo>
                  <a:lnTo>
                    <a:pt x="152" y="2"/>
                  </a:lnTo>
                  <a:lnTo>
                    <a:pt x="152" y="7"/>
                  </a:lnTo>
                  <a:lnTo>
                    <a:pt x="142" y="40"/>
                  </a:lnTo>
                  <a:lnTo>
                    <a:pt x="155" y="31"/>
                  </a:lnTo>
                  <a:lnTo>
                    <a:pt x="171" y="38"/>
                  </a:lnTo>
                  <a:lnTo>
                    <a:pt x="181" y="38"/>
                  </a:lnTo>
                  <a:lnTo>
                    <a:pt x="183" y="41"/>
                  </a:lnTo>
                  <a:lnTo>
                    <a:pt x="188" y="40"/>
                  </a:lnTo>
                  <a:lnTo>
                    <a:pt x="188" y="41"/>
                  </a:lnTo>
                  <a:lnTo>
                    <a:pt x="188" y="43"/>
                  </a:lnTo>
                  <a:lnTo>
                    <a:pt x="191" y="43"/>
                  </a:lnTo>
                  <a:lnTo>
                    <a:pt x="191" y="45"/>
                  </a:lnTo>
                  <a:lnTo>
                    <a:pt x="195" y="45"/>
                  </a:lnTo>
                  <a:lnTo>
                    <a:pt x="200" y="52"/>
                  </a:lnTo>
                  <a:lnTo>
                    <a:pt x="201" y="57"/>
                  </a:lnTo>
                  <a:lnTo>
                    <a:pt x="203" y="58"/>
                  </a:lnTo>
                  <a:lnTo>
                    <a:pt x="203" y="62"/>
                  </a:lnTo>
                  <a:lnTo>
                    <a:pt x="219" y="65"/>
                  </a:lnTo>
                  <a:lnTo>
                    <a:pt x="280" y="77"/>
                  </a:lnTo>
                  <a:lnTo>
                    <a:pt x="289" y="81"/>
                  </a:lnTo>
                  <a:lnTo>
                    <a:pt x="294" y="84"/>
                  </a:lnTo>
                  <a:lnTo>
                    <a:pt x="304" y="87"/>
                  </a:lnTo>
                  <a:lnTo>
                    <a:pt x="304" y="87"/>
                  </a:lnTo>
                  <a:lnTo>
                    <a:pt x="306" y="87"/>
                  </a:lnTo>
                  <a:lnTo>
                    <a:pt x="306" y="89"/>
                  </a:lnTo>
                  <a:lnTo>
                    <a:pt x="309" y="87"/>
                  </a:lnTo>
                  <a:lnTo>
                    <a:pt x="311" y="89"/>
                  </a:lnTo>
                  <a:lnTo>
                    <a:pt x="313" y="87"/>
                  </a:lnTo>
                  <a:lnTo>
                    <a:pt x="316" y="91"/>
                  </a:lnTo>
                  <a:lnTo>
                    <a:pt x="318" y="91"/>
                  </a:lnTo>
                  <a:lnTo>
                    <a:pt x="319" y="87"/>
                  </a:lnTo>
                  <a:lnTo>
                    <a:pt x="321" y="89"/>
                  </a:lnTo>
                  <a:lnTo>
                    <a:pt x="323" y="87"/>
                  </a:lnTo>
                  <a:lnTo>
                    <a:pt x="325" y="87"/>
                  </a:lnTo>
                  <a:lnTo>
                    <a:pt x="326" y="87"/>
                  </a:lnTo>
                  <a:lnTo>
                    <a:pt x="328" y="89"/>
                  </a:lnTo>
                  <a:lnTo>
                    <a:pt x="330" y="89"/>
                  </a:lnTo>
                  <a:lnTo>
                    <a:pt x="333" y="91"/>
                  </a:lnTo>
                  <a:lnTo>
                    <a:pt x="337" y="89"/>
                  </a:lnTo>
                  <a:lnTo>
                    <a:pt x="340" y="93"/>
                  </a:lnTo>
                  <a:lnTo>
                    <a:pt x="342" y="93"/>
                  </a:lnTo>
                  <a:lnTo>
                    <a:pt x="345" y="91"/>
                  </a:lnTo>
                  <a:lnTo>
                    <a:pt x="348" y="93"/>
                  </a:lnTo>
                  <a:lnTo>
                    <a:pt x="350" y="93"/>
                  </a:lnTo>
                  <a:lnTo>
                    <a:pt x="354" y="94"/>
                  </a:lnTo>
                  <a:lnTo>
                    <a:pt x="355" y="94"/>
                  </a:lnTo>
                  <a:lnTo>
                    <a:pt x="357" y="96"/>
                  </a:lnTo>
                  <a:lnTo>
                    <a:pt x="357" y="98"/>
                  </a:lnTo>
                  <a:lnTo>
                    <a:pt x="360" y="99"/>
                  </a:lnTo>
                  <a:lnTo>
                    <a:pt x="355" y="104"/>
                  </a:lnTo>
                  <a:lnTo>
                    <a:pt x="355" y="106"/>
                  </a:lnTo>
                  <a:lnTo>
                    <a:pt x="359" y="110"/>
                  </a:lnTo>
                  <a:lnTo>
                    <a:pt x="362" y="110"/>
                  </a:lnTo>
                  <a:lnTo>
                    <a:pt x="366" y="108"/>
                  </a:lnTo>
                  <a:lnTo>
                    <a:pt x="367" y="111"/>
                  </a:lnTo>
                  <a:lnTo>
                    <a:pt x="376" y="111"/>
                  </a:lnTo>
                  <a:lnTo>
                    <a:pt x="378" y="115"/>
                  </a:lnTo>
                  <a:lnTo>
                    <a:pt x="381" y="116"/>
                  </a:lnTo>
                  <a:lnTo>
                    <a:pt x="381" y="116"/>
                  </a:lnTo>
                  <a:lnTo>
                    <a:pt x="383" y="118"/>
                  </a:lnTo>
                  <a:lnTo>
                    <a:pt x="383" y="120"/>
                  </a:lnTo>
                  <a:lnTo>
                    <a:pt x="381" y="122"/>
                  </a:lnTo>
                  <a:lnTo>
                    <a:pt x="381" y="122"/>
                  </a:lnTo>
                  <a:lnTo>
                    <a:pt x="384" y="127"/>
                  </a:lnTo>
                  <a:lnTo>
                    <a:pt x="384" y="127"/>
                  </a:lnTo>
                  <a:lnTo>
                    <a:pt x="383" y="130"/>
                  </a:lnTo>
                  <a:lnTo>
                    <a:pt x="381" y="132"/>
                  </a:lnTo>
                  <a:lnTo>
                    <a:pt x="383" y="134"/>
                  </a:lnTo>
                  <a:lnTo>
                    <a:pt x="384" y="139"/>
                  </a:lnTo>
                  <a:lnTo>
                    <a:pt x="383" y="142"/>
                  </a:lnTo>
                  <a:lnTo>
                    <a:pt x="379" y="144"/>
                  </a:lnTo>
                  <a:lnTo>
                    <a:pt x="381" y="149"/>
                  </a:lnTo>
                  <a:lnTo>
                    <a:pt x="378" y="154"/>
                  </a:lnTo>
                  <a:lnTo>
                    <a:pt x="379" y="154"/>
                  </a:lnTo>
                  <a:lnTo>
                    <a:pt x="379" y="152"/>
                  </a:lnTo>
                  <a:lnTo>
                    <a:pt x="379" y="152"/>
                  </a:lnTo>
                  <a:lnTo>
                    <a:pt x="381" y="156"/>
                  </a:lnTo>
                  <a:lnTo>
                    <a:pt x="383" y="154"/>
                  </a:lnTo>
                  <a:lnTo>
                    <a:pt x="388" y="154"/>
                  </a:lnTo>
                  <a:lnTo>
                    <a:pt x="393" y="149"/>
                  </a:lnTo>
                  <a:lnTo>
                    <a:pt x="396" y="152"/>
                  </a:lnTo>
                  <a:lnTo>
                    <a:pt x="396" y="154"/>
                  </a:lnTo>
                  <a:lnTo>
                    <a:pt x="393" y="163"/>
                  </a:lnTo>
                  <a:lnTo>
                    <a:pt x="393" y="164"/>
                  </a:lnTo>
                  <a:lnTo>
                    <a:pt x="391" y="166"/>
                  </a:lnTo>
                  <a:lnTo>
                    <a:pt x="391" y="169"/>
                  </a:lnTo>
                  <a:lnTo>
                    <a:pt x="391" y="169"/>
                  </a:lnTo>
                  <a:lnTo>
                    <a:pt x="391" y="173"/>
                  </a:lnTo>
                  <a:lnTo>
                    <a:pt x="396" y="176"/>
                  </a:lnTo>
                  <a:lnTo>
                    <a:pt x="396" y="180"/>
                  </a:lnTo>
                  <a:lnTo>
                    <a:pt x="403" y="180"/>
                  </a:lnTo>
                  <a:lnTo>
                    <a:pt x="401" y="185"/>
                  </a:lnTo>
                  <a:lnTo>
                    <a:pt x="401" y="192"/>
                  </a:lnTo>
                  <a:lnTo>
                    <a:pt x="391" y="195"/>
                  </a:lnTo>
                  <a:close/>
                  <a:moveTo>
                    <a:pt x="442" y="156"/>
                  </a:moveTo>
                  <a:lnTo>
                    <a:pt x="446" y="154"/>
                  </a:lnTo>
                  <a:lnTo>
                    <a:pt x="448" y="161"/>
                  </a:lnTo>
                  <a:lnTo>
                    <a:pt x="446" y="163"/>
                  </a:lnTo>
                  <a:lnTo>
                    <a:pt x="442" y="159"/>
                  </a:lnTo>
                  <a:lnTo>
                    <a:pt x="444" y="171"/>
                  </a:lnTo>
                  <a:lnTo>
                    <a:pt x="441" y="171"/>
                  </a:lnTo>
                  <a:lnTo>
                    <a:pt x="444" y="176"/>
                  </a:lnTo>
                  <a:lnTo>
                    <a:pt x="441" y="176"/>
                  </a:lnTo>
                  <a:lnTo>
                    <a:pt x="441" y="181"/>
                  </a:lnTo>
                  <a:lnTo>
                    <a:pt x="439" y="180"/>
                  </a:lnTo>
                  <a:lnTo>
                    <a:pt x="436" y="190"/>
                  </a:lnTo>
                  <a:lnTo>
                    <a:pt x="436" y="195"/>
                  </a:lnTo>
                  <a:lnTo>
                    <a:pt x="434" y="202"/>
                  </a:lnTo>
                  <a:lnTo>
                    <a:pt x="427" y="210"/>
                  </a:lnTo>
                  <a:lnTo>
                    <a:pt x="422" y="207"/>
                  </a:lnTo>
                  <a:lnTo>
                    <a:pt x="419" y="198"/>
                  </a:lnTo>
                  <a:lnTo>
                    <a:pt x="422" y="187"/>
                  </a:lnTo>
                  <a:lnTo>
                    <a:pt x="427" y="183"/>
                  </a:lnTo>
                  <a:lnTo>
                    <a:pt x="429" y="169"/>
                  </a:lnTo>
                  <a:lnTo>
                    <a:pt x="434" y="171"/>
                  </a:lnTo>
                  <a:lnTo>
                    <a:pt x="441" y="156"/>
                  </a:lnTo>
                  <a:lnTo>
                    <a:pt x="442" y="15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5" name="Freeform 134"/>
            <p:cNvSpPr>
              <a:spLocks/>
            </p:cNvSpPr>
            <p:nvPr/>
          </p:nvSpPr>
          <p:spPr bwMode="gray">
            <a:xfrm>
              <a:off x="2600031" y="1764263"/>
              <a:ext cx="818013" cy="1323635"/>
            </a:xfrm>
            <a:custGeom>
              <a:avLst/>
              <a:gdLst/>
              <a:ahLst/>
              <a:cxnLst>
                <a:cxn ang="0">
                  <a:pos x="45" y="537"/>
                </a:cxn>
                <a:cxn ang="0">
                  <a:pos x="55" y="521"/>
                </a:cxn>
                <a:cxn ang="0">
                  <a:pos x="57" y="501"/>
                </a:cxn>
                <a:cxn ang="0">
                  <a:pos x="48" y="492"/>
                </a:cxn>
                <a:cxn ang="0">
                  <a:pos x="43" y="484"/>
                </a:cxn>
                <a:cxn ang="0">
                  <a:pos x="52" y="463"/>
                </a:cxn>
                <a:cxn ang="0">
                  <a:pos x="72" y="441"/>
                </a:cxn>
                <a:cxn ang="0">
                  <a:pos x="86" y="422"/>
                </a:cxn>
                <a:cxn ang="0">
                  <a:pos x="91" y="414"/>
                </a:cxn>
                <a:cxn ang="0">
                  <a:pos x="116" y="376"/>
                </a:cxn>
                <a:cxn ang="0">
                  <a:pos x="123" y="347"/>
                </a:cxn>
                <a:cxn ang="0">
                  <a:pos x="105" y="316"/>
                </a:cxn>
                <a:cxn ang="0">
                  <a:pos x="105" y="292"/>
                </a:cxn>
                <a:cxn ang="0">
                  <a:pos x="105" y="267"/>
                </a:cxn>
                <a:cxn ang="0">
                  <a:pos x="142" y="99"/>
                </a:cxn>
                <a:cxn ang="0">
                  <a:pos x="210" y="121"/>
                </a:cxn>
                <a:cxn ang="0">
                  <a:pos x="221" y="142"/>
                </a:cxn>
                <a:cxn ang="0">
                  <a:pos x="228" y="164"/>
                </a:cxn>
                <a:cxn ang="0">
                  <a:pos x="228" y="181"/>
                </a:cxn>
                <a:cxn ang="0">
                  <a:pos x="226" y="190"/>
                </a:cxn>
                <a:cxn ang="0">
                  <a:pos x="241" y="205"/>
                </a:cxn>
                <a:cxn ang="0">
                  <a:pos x="255" y="227"/>
                </a:cxn>
                <a:cxn ang="0">
                  <a:pos x="265" y="248"/>
                </a:cxn>
                <a:cxn ang="0">
                  <a:pos x="272" y="265"/>
                </a:cxn>
                <a:cxn ang="0">
                  <a:pos x="282" y="272"/>
                </a:cxn>
                <a:cxn ang="0">
                  <a:pos x="294" y="285"/>
                </a:cxn>
                <a:cxn ang="0">
                  <a:pos x="301" y="299"/>
                </a:cxn>
                <a:cxn ang="0">
                  <a:pos x="291" y="323"/>
                </a:cxn>
                <a:cxn ang="0">
                  <a:pos x="282" y="335"/>
                </a:cxn>
                <a:cxn ang="0">
                  <a:pos x="281" y="349"/>
                </a:cxn>
                <a:cxn ang="0">
                  <a:pos x="284" y="362"/>
                </a:cxn>
                <a:cxn ang="0">
                  <a:pos x="275" y="371"/>
                </a:cxn>
                <a:cxn ang="0">
                  <a:pos x="272" y="388"/>
                </a:cxn>
                <a:cxn ang="0">
                  <a:pos x="274" y="400"/>
                </a:cxn>
                <a:cxn ang="0">
                  <a:pos x="287" y="408"/>
                </a:cxn>
                <a:cxn ang="0">
                  <a:pos x="299" y="402"/>
                </a:cxn>
                <a:cxn ang="0">
                  <a:pos x="310" y="391"/>
                </a:cxn>
                <a:cxn ang="0">
                  <a:pos x="316" y="400"/>
                </a:cxn>
                <a:cxn ang="0">
                  <a:pos x="323" y="414"/>
                </a:cxn>
                <a:cxn ang="0">
                  <a:pos x="325" y="439"/>
                </a:cxn>
                <a:cxn ang="0">
                  <a:pos x="330" y="458"/>
                </a:cxn>
                <a:cxn ang="0">
                  <a:pos x="339" y="467"/>
                </a:cxn>
                <a:cxn ang="0">
                  <a:pos x="332" y="478"/>
                </a:cxn>
                <a:cxn ang="0">
                  <a:pos x="349" y="494"/>
                </a:cxn>
                <a:cxn ang="0">
                  <a:pos x="359" y="511"/>
                </a:cxn>
                <a:cxn ang="0">
                  <a:pos x="359" y="531"/>
                </a:cxn>
                <a:cxn ang="0">
                  <a:pos x="369" y="545"/>
                </a:cxn>
                <a:cxn ang="0">
                  <a:pos x="378" y="537"/>
                </a:cxn>
                <a:cxn ang="0">
                  <a:pos x="402" y="540"/>
                </a:cxn>
                <a:cxn ang="0">
                  <a:pos x="419" y="533"/>
                </a:cxn>
                <a:cxn ang="0">
                  <a:pos x="433" y="540"/>
                </a:cxn>
                <a:cxn ang="0">
                  <a:pos x="451" y="545"/>
                </a:cxn>
                <a:cxn ang="0">
                  <a:pos x="470" y="543"/>
                </a:cxn>
                <a:cxn ang="0">
                  <a:pos x="475" y="540"/>
                </a:cxn>
                <a:cxn ang="0">
                  <a:pos x="479" y="530"/>
                </a:cxn>
                <a:cxn ang="0">
                  <a:pos x="489" y="528"/>
                </a:cxn>
                <a:cxn ang="0">
                  <a:pos x="498" y="540"/>
                </a:cxn>
                <a:cxn ang="0">
                  <a:pos x="503" y="552"/>
                </a:cxn>
                <a:cxn ang="0">
                  <a:pos x="487" y="684"/>
                </a:cxn>
                <a:cxn ang="0">
                  <a:pos x="380" y="807"/>
                </a:cxn>
                <a:cxn ang="0">
                  <a:pos x="4" y="733"/>
                </a:cxn>
              </a:cxnLst>
              <a:rect l="0" t="0" r="r" b="b"/>
              <a:pathLst>
                <a:path w="508" h="822">
                  <a:moveTo>
                    <a:pt x="40" y="555"/>
                  </a:moveTo>
                  <a:lnTo>
                    <a:pt x="43" y="547"/>
                  </a:lnTo>
                  <a:lnTo>
                    <a:pt x="43" y="542"/>
                  </a:lnTo>
                  <a:lnTo>
                    <a:pt x="43" y="540"/>
                  </a:lnTo>
                  <a:lnTo>
                    <a:pt x="45" y="538"/>
                  </a:lnTo>
                  <a:lnTo>
                    <a:pt x="45" y="537"/>
                  </a:lnTo>
                  <a:lnTo>
                    <a:pt x="48" y="537"/>
                  </a:lnTo>
                  <a:lnTo>
                    <a:pt x="48" y="535"/>
                  </a:lnTo>
                  <a:lnTo>
                    <a:pt x="50" y="533"/>
                  </a:lnTo>
                  <a:lnTo>
                    <a:pt x="52" y="530"/>
                  </a:lnTo>
                  <a:lnTo>
                    <a:pt x="52" y="526"/>
                  </a:lnTo>
                  <a:lnTo>
                    <a:pt x="55" y="521"/>
                  </a:lnTo>
                  <a:lnTo>
                    <a:pt x="53" y="514"/>
                  </a:lnTo>
                  <a:lnTo>
                    <a:pt x="55" y="513"/>
                  </a:lnTo>
                  <a:lnTo>
                    <a:pt x="57" y="513"/>
                  </a:lnTo>
                  <a:lnTo>
                    <a:pt x="60" y="508"/>
                  </a:lnTo>
                  <a:lnTo>
                    <a:pt x="60" y="504"/>
                  </a:lnTo>
                  <a:lnTo>
                    <a:pt x="57" y="501"/>
                  </a:lnTo>
                  <a:lnTo>
                    <a:pt x="57" y="499"/>
                  </a:lnTo>
                  <a:lnTo>
                    <a:pt x="57" y="496"/>
                  </a:lnTo>
                  <a:lnTo>
                    <a:pt x="53" y="496"/>
                  </a:lnTo>
                  <a:lnTo>
                    <a:pt x="52" y="497"/>
                  </a:lnTo>
                  <a:lnTo>
                    <a:pt x="50" y="496"/>
                  </a:lnTo>
                  <a:lnTo>
                    <a:pt x="48" y="492"/>
                  </a:lnTo>
                  <a:lnTo>
                    <a:pt x="48" y="492"/>
                  </a:lnTo>
                  <a:lnTo>
                    <a:pt x="45" y="494"/>
                  </a:lnTo>
                  <a:lnTo>
                    <a:pt x="43" y="492"/>
                  </a:lnTo>
                  <a:lnTo>
                    <a:pt x="41" y="489"/>
                  </a:lnTo>
                  <a:lnTo>
                    <a:pt x="41" y="487"/>
                  </a:lnTo>
                  <a:lnTo>
                    <a:pt x="43" y="484"/>
                  </a:lnTo>
                  <a:lnTo>
                    <a:pt x="41" y="477"/>
                  </a:lnTo>
                  <a:lnTo>
                    <a:pt x="43" y="473"/>
                  </a:lnTo>
                  <a:lnTo>
                    <a:pt x="45" y="468"/>
                  </a:lnTo>
                  <a:lnTo>
                    <a:pt x="46" y="468"/>
                  </a:lnTo>
                  <a:lnTo>
                    <a:pt x="48" y="465"/>
                  </a:lnTo>
                  <a:lnTo>
                    <a:pt x="52" y="463"/>
                  </a:lnTo>
                  <a:lnTo>
                    <a:pt x="52" y="461"/>
                  </a:lnTo>
                  <a:lnTo>
                    <a:pt x="53" y="460"/>
                  </a:lnTo>
                  <a:lnTo>
                    <a:pt x="60" y="448"/>
                  </a:lnTo>
                  <a:lnTo>
                    <a:pt x="62" y="448"/>
                  </a:lnTo>
                  <a:lnTo>
                    <a:pt x="65" y="443"/>
                  </a:lnTo>
                  <a:lnTo>
                    <a:pt x="72" y="441"/>
                  </a:lnTo>
                  <a:lnTo>
                    <a:pt x="75" y="436"/>
                  </a:lnTo>
                  <a:lnTo>
                    <a:pt x="77" y="434"/>
                  </a:lnTo>
                  <a:lnTo>
                    <a:pt x="81" y="432"/>
                  </a:lnTo>
                  <a:lnTo>
                    <a:pt x="84" y="429"/>
                  </a:lnTo>
                  <a:lnTo>
                    <a:pt x="84" y="424"/>
                  </a:lnTo>
                  <a:lnTo>
                    <a:pt x="86" y="422"/>
                  </a:lnTo>
                  <a:lnTo>
                    <a:pt x="84" y="422"/>
                  </a:lnTo>
                  <a:lnTo>
                    <a:pt x="84" y="422"/>
                  </a:lnTo>
                  <a:lnTo>
                    <a:pt x="84" y="420"/>
                  </a:lnTo>
                  <a:lnTo>
                    <a:pt x="84" y="417"/>
                  </a:lnTo>
                  <a:lnTo>
                    <a:pt x="89" y="415"/>
                  </a:lnTo>
                  <a:lnTo>
                    <a:pt x="91" y="414"/>
                  </a:lnTo>
                  <a:lnTo>
                    <a:pt x="93" y="410"/>
                  </a:lnTo>
                  <a:lnTo>
                    <a:pt x="94" y="410"/>
                  </a:lnTo>
                  <a:lnTo>
                    <a:pt x="96" y="407"/>
                  </a:lnTo>
                  <a:lnTo>
                    <a:pt x="103" y="395"/>
                  </a:lnTo>
                  <a:lnTo>
                    <a:pt x="106" y="388"/>
                  </a:lnTo>
                  <a:lnTo>
                    <a:pt x="116" y="376"/>
                  </a:lnTo>
                  <a:lnTo>
                    <a:pt x="118" y="373"/>
                  </a:lnTo>
                  <a:lnTo>
                    <a:pt x="125" y="366"/>
                  </a:lnTo>
                  <a:lnTo>
                    <a:pt x="127" y="362"/>
                  </a:lnTo>
                  <a:lnTo>
                    <a:pt x="125" y="355"/>
                  </a:lnTo>
                  <a:lnTo>
                    <a:pt x="125" y="350"/>
                  </a:lnTo>
                  <a:lnTo>
                    <a:pt x="123" y="347"/>
                  </a:lnTo>
                  <a:lnTo>
                    <a:pt x="116" y="342"/>
                  </a:lnTo>
                  <a:lnTo>
                    <a:pt x="115" y="337"/>
                  </a:lnTo>
                  <a:lnTo>
                    <a:pt x="110" y="335"/>
                  </a:lnTo>
                  <a:lnTo>
                    <a:pt x="108" y="332"/>
                  </a:lnTo>
                  <a:lnTo>
                    <a:pt x="105" y="325"/>
                  </a:lnTo>
                  <a:lnTo>
                    <a:pt x="105" y="316"/>
                  </a:lnTo>
                  <a:lnTo>
                    <a:pt x="103" y="314"/>
                  </a:lnTo>
                  <a:lnTo>
                    <a:pt x="101" y="306"/>
                  </a:lnTo>
                  <a:lnTo>
                    <a:pt x="99" y="304"/>
                  </a:lnTo>
                  <a:lnTo>
                    <a:pt x="101" y="302"/>
                  </a:lnTo>
                  <a:lnTo>
                    <a:pt x="106" y="297"/>
                  </a:lnTo>
                  <a:lnTo>
                    <a:pt x="105" y="292"/>
                  </a:lnTo>
                  <a:lnTo>
                    <a:pt x="105" y="287"/>
                  </a:lnTo>
                  <a:lnTo>
                    <a:pt x="105" y="280"/>
                  </a:lnTo>
                  <a:lnTo>
                    <a:pt x="103" y="277"/>
                  </a:lnTo>
                  <a:lnTo>
                    <a:pt x="101" y="275"/>
                  </a:lnTo>
                  <a:lnTo>
                    <a:pt x="103" y="272"/>
                  </a:lnTo>
                  <a:lnTo>
                    <a:pt x="105" y="267"/>
                  </a:lnTo>
                  <a:lnTo>
                    <a:pt x="106" y="256"/>
                  </a:lnTo>
                  <a:lnTo>
                    <a:pt x="120" y="195"/>
                  </a:lnTo>
                  <a:lnTo>
                    <a:pt x="123" y="181"/>
                  </a:lnTo>
                  <a:lnTo>
                    <a:pt x="125" y="171"/>
                  </a:lnTo>
                  <a:lnTo>
                    <a:pt x="140" y="108"/>
                  </a:lnTo>
                  <a:lnTo>
                    <a:pt x="142" y="99"/>
                  </a:lnTo>
                  <a:lnTo>
                    <a:pt x="161" y="17"/>
                  </a:lnTo>
                  <a:lnTo>
                    <a:pt x="164" y="0"/>
                  </a:lnTo>
                  <a:lnTo>
                    <a:pt x="233" y="15"/>
                  </a:lnTo>
                  <a:lnTo>
                    <a:pt x="222" y="67"/>
                  </a:lnTo>
                  <a:lnTo>
                    <a:pt x="216" y="97"/>
                  </a:lnTo>
                  <a:lnTo>
                    <a:pt x="210" y="121"/>
                  </a:lnTo>
                  <a:lnTo>
                    <a:pt x="212" y="123"/>
                  </a:lnTo>
                  <a:lnTo>
                    <a:pt x="212" y="128"/>
                  </a:lnTo>
                  <a:lnTo>
                    <a:pt x="216" y="135"/>
                  </a:lnTo>
                  <a:lnTo>
                    <a:pt x="217" y="138"/>
                  </a:lnTo>
                  <a:lnTo>
                    <a:pt x="221" y="140"/>
                  </a:lnTo>
                  <a:lnTo>
                    <a:pt x="221" y="142"/>
                  </a:lnTo>
                  <a:lnTo>
                    <a:pt x="221" y="147"/>
                  </a:lnTo>
                  <a:lnTo>
                    <a:pt x="224" y="150"/>
                  </a:lnTo>
                  <a:lnTo>
                    <a:pt x="224" y="154"/>
                  </a:lnTo>
                  <a:lnTo>
                    <a:pt x="228" y="156"/>
                  </a:lnTo>
                  <a:lnTo>
                    <a:pt x="226" y="161"/>
                  </a:lnTo>
                  <a:lnTo>
                    <a:pt x="228" y="164"/>
                  </a:lnTo>
                  <a:lnTo>
                    <a:pt x="228" y="167"/>
                  </a:lnTo>
                  <a:lnTo>
                    <a:pt x="222" y="173"/>
                  </a:lnTo>
                  <a:lnTo>
                    <a:pt x="226" y="174"/>
                  </a:lnTo>
                  <a:lnTo>
                    <a:pt x="226" y="178"/>
                  </a:lnTo>
                  <a:lnTo>
                    <a:pt x="229" y="179"/>
                  </a:lnTo>
                  <a:lnTo>
                    <a:pt x="228" y="181"/>
                  </a:lnTo>
                  <a:lnTo>
                    <a:pt x="228" y="183"/>
                  </a:lnTo>
                  <a:lnTo>
                    <a:pt x="221" y="181"/>
                  </a:lnTo>
                  <a:lnTo>
                    <a:pt x="219" y="183"/>
                  </a:lnTo>
                  <a:lnTo>
                    <a:pt x="219" y="185"/>
                  </a:lnTo>
                  <a:lnTo>
                    <a:pt x="226" y="188"/>
                  </a:lnTo>
                  <a:lnTo>
                    <a:pt x="226" y="190"/>
                  </a:lnTo>
                  <a:lnTo>
                    <a:pt x="229" y="191"/>
                  </a:lnTo>
                  <a:lnTo>
                    <a:pt x="231" y="197"/>
                  </a:lnTo>
                  <a:lnTo>
                    <a:pt x="233" y="202"/>
                  </a:lnTo>
                  <a:lnTo>
                    <a:pt x="234" y="202"/>
                  </a:lnTo>
                  <a:lnTo>
                    <a:pt x="240" y="203"/>
                  </a:lnTo>
                  <a:lnTo>
                    <a:pt x="241" y="205"/>
                  </a:lnTo>
                  <a:lnTo>
                    <a:pt x="245" y="207"/>
                  </a:lnTo>
                  <a:lnTo>
                    <a:pt x="246" y="208"/>
                  </a:lnTo>
                  <a:lnTo>
                    <a:pt x="246" y="215"/>
                  </a:lnTo>
                  <a:lnTo>
                    <a:pt x="253" y="224"/>
                  </a:lnTo>
                  <a:lnTo>
                    <a:pt x="253" y="226"/>
                  </a:lnTo>
                  <a:lnTo>
                    <a:pt x="255" y="227"/>
                  </a:lnTo>
                  <a:lnTo>
                    <a:pt x="257" y="231"/>
                  </a:lnTo>
                  <a:lnTo>
                    <a:pt x="258" y="236"/>
                  </a:lnTo>
                  <a:lnTo>
                    <a:pt x="260" y="241"/>
                  </a:lnTo>
                  <a:lnTo>
                    <a:pt x="262" y="243"/>
                  </a:lnTo>
                  <a:lnTo>
                    <a:pt x="263" y="243"/>
                  </a:lnTo>
                  <a:lnTo>
                    <a:pt x="265" y="248"/>
                  </a:lnTo>
                  <a:lnTo>
                    <a:pt x="269" y="249"/>
                  </a:lnTo>
                  <a:lnTo>
                    <a:pt x="267" y="251"/>
                  </a:lnTo>
                  <a:lnTo>
                    <a:pt x="265" y="255"/>
                  </a:lnTo>
                  <a:lnTo>
                    <a:pt x="267" y="261"/>
                  </a:lnTo>
                  <a:lnTo>
                    <a:pt x="270" y="263"/>
                  </a:lnTo>
                  <a:lnTo>
                    <a:pt x="272" y="265"/>
                  </a:lnTo>
                  <a:lnTo>
                    <a:pt x="274" y="267"/>
                  </a:lnTo>
                  <a:lnTo>
                    <a:pt x="275" y="268"/>
                  </a:lnTo>
                  <a:lnTo>
                    <a:pt x="274" y="273"/>
                  </a:lnTo>
                  <a:lnTo>
                    <a:pt x="275" y="275"/>
                  </a:lnTo>
                  <a:lnTo>
                    <a:pt x="281" y="272"/>
                  </a:lnTo>
                  <a:lnTo>
                    <a:pt x="282" y="272"/>
                  </a:lnTo>
                  <a:lnTo>
                    <a:pt x="286" y="277"/>
                  </a:lnTo>
                  <a:lnTo>
                    <a:pt x="284" y="279"/>
                  </a:lnTo>
                  <a:lnTo>
                    <a:pt x="282" y="280"/>
                  </a:lnTo>
                  <a:lnTo>
                    <a:pt x="284" y="284"/>
                  </a:lnTo>
                  <a:lnTo>
                    <a:pt x="291" y="284"/>
                  </a:lnTo>
                  <a:lnTo>
                    <a:pt x="294" y="285"/>
                  </a:lnTo>
                  <a:lnTo>
                    <a:pt x="298" y="284"/>
                  </a:lnTo>
                  <a:lnTo>
                    <a:pt x="303" y="284"/>
                  </a:lnTo>
                  <a:lnTo>
                    <a:pt x="306" y="285"/>
                  </a:lnTo>
                  <a:lnTo>
                    <a:pt x="306" y="289"/>
                  </a:lnTo>
                  <a:lnTo>
                    <a:pt x="303" y="292"/>
                  </a:lnTo>
                  <a:lnTo>
                    <a:pt x="301" y="299"/>
                  </a:lnTo>
                  <a:lnTo>
                    <a:pt x="301" y="301"/>
                  </a:lnTo>
                  <a:lnTo>
                    <a:pt x="296" y="301"/>
                  </a:lnTo>
                  <a:lnTo>
                    <a:pt x="298" y="308"/>
                  </a:lnTo>
                  <a:lnTo>
                    <a:pt x="296" y="311"/>
                  </a:lnTo>
                  <a:lnTo>
                    <a:pt x="294" y="311"/>
                  </a:lnTo>
                  <a:lnTo>
                    <a:pt x="291" y="323"/>
                  </a:lnTo>
                  <a:lnTo>
                    <a:pt x="287" y="325"/>
                  </a:lnTo>
                  <a:lnTo>
                    <a:pt x="287" y="326"/>
                  </a:lnTo>
                  <a:lnTo>
                    <a:pt x="289" y="328"/>
                  </a:lnTo>
                  <a:lnTo>
                    <a:pt x="287" y="335"/>
                  </a:lnTo>
                  <a:lnTo>
                    <a:pt x="286" y="335"/>
                  </a:lnTo>
                  <a:lnTo>
                    <a:pt x="282" y="335"/>
                  </a:lnTo>
                  <a:lnTo>
                    <a:pt x="281" y="337"/>
                  </a:lnTo>
                  <a:lnTo>
                    <a:pt x="282" y="338"/>
                  </a:lnTo>
                  <a:lnTo>
                    <a:pt x="284" y="340"/>
                  </a:lnTo>
                  <a:lnTo>
                    <a:pt x="284" y="343"/>
                  </a:lnTo>
                  <a:lnTo>
                    <a:pt x="284" y="347"/>
                  </a:lnTo>
                  <a:lnTo>
                    <a:pt x="281" y="349"/>
                  </a:lnTo>
                  <a:lnTo>
                    <a:pt x="282" y="350"/>
                  </a:lnTo>
                  <a:lnTo>
                    <a:pt x="281" y="352"/>
                  </a:lnTo>
                  <a:lnTo>
                    <a:pt x="286" y="355"/>
                  </a:lnTo>
                  <a:lnTo>
                    <a:pt x="286" y="357"/>
                  </a:lnTo>
                  <a:lnTo>
                    <a:pt x="284" y="361"/>
                  </a:lnTo>
                  <a:lnTo>
                    <a:pt x="284" y="362"/>
                  </a:lnTo>
                  <a:lnTo>
                    <a:pt x="286" y="366"/>
                  </a:lnTo>
                  <a:lnTo>
                    <a:pt x="284" y="369"/>
                  </a:lnTo>
                  <a:lnTo>
                    <a:pt x="281" y="367"/>
                  </a:lnTo>
                  <a:lnTo>
                    <a:pt x="279" y="369"/>
                  </a:lnTo>
                  <a:lnTo>
                    <a:pt x="277" y="367"/>
                  </a:lnTo>
                  <a:lnTo>
                    <a:pt x="275" y="371"/>
                  </a:lnTo>
                  <a:lnTo>
                    <a:pt x="270" y="376"/>
                  </a:lnTo>
                  <a:lnTo>
                    <a:pt x="272" y="378"/>
                  </a:lnTo>
                  <a:lnTo>
                    <a:pt x="272" y="379"/>
                  </a:lnTo>
                  <a:lnTo>
                    <a:pt x="274" y="383"/>
                  </a:lnTo>
                  <a:lnTo>
                    <a:pt x="272" y="384"/>
                  </a:lnTo>
                  <a:lnTo>
                    <a:pt x="272" y="388"/>
                  </a:lnTo>
                  <a:lnTo>
                    <a:pt x="267" y="390"/>
                  </a:lnTo>
                  <a:lnTo>
                    <a:pt x="269" y="393"/>
                  </a:lnTo>
                  <a:lnTo>
                    <a:pt x="265" y="398"/>
                  </a:lnTo>
                  <a:lnTo>
                    <a:pt x="269" y="396"/>
                  </a:lnTo>
                  <a:lnTo>
                    <a:pt x="270" y="398"/>
                  </a:lnTo>
                  <a:lnTo>
                    <a:pt x="274" y="400"/>
                  </a:lnTo>
                  <a:lnTo>
                    <a:pt x="275" y="402"/>
                  </a:lnTo>
                  <a:lnTo>
                    <a:pt x="275" y="405"/>
                  </a:lnTo>
                  <a:lnTo>
                    <a:pt x="279" y="407"/>
                  </a:lnTo>
                  <a:lnTo>
                    <a:pt x="281" y="410"/>
                  </a:lnTo>
                  <a:lnTo>
                    <a:pt x="282" y="410"/>
                  </a:lnTo>
                  <a:lnTo>
                    <a:pt x="287" y="408"/>
                  </a:lnTo>
                  <a:lnTo>
                    <a:pt x="287" y="407"/>
                  </a:lnTo>
                  <a:lnTo>
                    <a:pt x="289" y="403"/>
                  </a:lnTo>
                  <a:lnTo>
                    <a:pt x="293" y="405"/>
                  </a:lnTo>
                  <a:lnTo>
                    <a:pt x="294" y="403"/>
                  </a:lnTo>
                  <a:lnTo>
                    <a:pt x="298" y="403"/>
                  </a:lnTo>
                  <a:lnTo>
                    <a:pt x="299" y="402"/>
                  </a:lnTo>
                  <a:lnTo>
                    <a:pt x="303" y="400"/>
                  </a:lnTo>
                  <a:lnTo>
                    <a:pt x="304" y="396"/>
                  </a:lnTo>
                  <a:lnTo>
                    <a:pt x="308" y="396"/>
                  </a:lnTo>
                  <a:lnTo>
                    <a:pt x="308" y="395"/>
                  </a:lnTo>
                  <a:lnTo>
                    <a:pt x="308" y="393"/>
                  </a:lnTo>
                  <a:lnTo>
                    <a:pt x="310" y="391"/>
                  </a:lnTo>
                  <a:lnTo>
                    <a:pt x="313" y="391"/>
                  </a:lnTo>
                  <a:lnTo>
                    <a:pt x="313" y="393"/>
                  </a:lnTo>
                  <a:lnTo>
                    <a:pt x="315" y="395"/>
                  </a:lnTo>
                  <a:lnTo>
                    <a:pt x="315" y="396"/>
                  </a:lnTo>
                  <a:lnTo>
                    <a:pt x="316" y="398"/>
                  </a:lnTo>
                  <a:lnTo>
                    <a:pt x="316" y="400"/>
                  </a:lnTo>
                  <a:lnTo>
                    <a:pt x="320" y="402"/>
                  </a:lnTo>
                  <a:lnTo>
                    <a:pt x="322" y="403"/>
                  </a:lnTo>
                  <a:lnTo>
                    <a:pt x="323" y="405"/>
                  </a:lnTo>
                  <a:lnTo>
                    <a:pt x="320" y="412"/>
                  </a:lnTo>
                  <a:lnTo>
                    <a:pt x="323" y="412"/>
                  </a:lnTo>
                  <a:lnTo>
                    <a:pt x="323" y="414"/>
                  </a:lnTo>
                  <a:lnTo>
                    <a:pt x="323" y="417"/>
                  </a:lnTo>
                  <a:lnTo>
                    <a:pt x="322" y="420"/>
                  </a:lnTo>
                  <a:lnTo>
                    <a:pt x="322" y="424"/>
                  </a:lnTo>
                  <a:lnTo>
                    <a:pt x="323" y="427"/>
                  </a:lnTo>
                  <a:lnTo>
                    <a:pt x="322" y="434"/>
                  </a:lnTo>
                  <a:lnTo>
                    <a:pt x="325" y="439"/>
                  </a:lnTo>
                  <a:lnTo>
                    <a:pt x="325" y="441"/>
                  </a:lnTo>
                  <a:lnTo>
                    <a:pt x="327" y="446"/>
                  </a:lnTo>
                  <a:lnTo>
                    <a:pt x="330" y="449"/>
                  </a:lnTo>
                  <a:lnTo>
                    <a:pt x="330" y="453"/>
                  </a:lnTo>
                  <a:lnTo>
                    <a:pt x="332" y="456"/>
                  </a:lnTo>
                  <a:lnTo>
                    <a:pt x="330" y="458"/>
                  </a:lnTo>
                  <a:lnTo>
                    <a:pt x="332" y="458"/>
                  </a:lnTo>
                  <a:lnTo>
                    <a:pt x="335" y="460"/>
                  </a:lnTo>
                  <a:lnTo>
                    <a:pt x="334" y="461"/>
                  </a:lnTo>
                  <a:lnTo>
                    <a:pt x="335" y="463"/>
                  </a:lnTo>
                  <a:lnTo>
                    <a:pt x="335" y="465"/>
                  </a:lnTo>
                  <a:lnTo>
                    <a:pt x="339" y="467"/>
                  </a:lnTo>
                  <a:lnTo>
                    <a:pt x="337" y="468"/>
                  </a:lnTo>
                  <a:lnTo>
                    <a:pt x="339" y="472"/>
                  </a:lnTo>
                  <a:lnTo>
                    <a:pt x="337" y="477"/>
                  </a:lnTo>
                  <a:lnTo>
                    <a:pt x="335" y="477"/>
                  </a:lnTo>
                  <a:lnTo>
                    <a:pt x="334" y="477"/>
                  </a:lnTo>
                  <a:lnTo>
                    <a:pt x="332" y="478"/>
                  </a:lnTo>
                  <a:lnTo>
                    <a:pt x="335" y="487"/>
                  </a:lnTo>
                  <a:lnTo>
                    <a:pt x="337" y="489"/>
                  </a:lnTo>
                  <a:lnTo>
                    <a:pt x="340" y="492"/>
                  </a:lnTo>
                  <a:lnTo>
                    <a:pt x="342" y="496"/>
                  </a:lnTo>
                  <a:lnTo>
                    <a:pt x="344" y="496"/>
                  </a:lnTo>
                  <a:lnTo>
                    <a:pt x="349" y="494"/>
                  </a:lnTo>
                  <a:lnTo>
                    <a:pt x="349" y="494"/>
                  </a:lnTo>
                  <a:lnTo>
                    <a:pt x="356" y="501"/>
                  </a:lnTo>
                  <a:lnTo>
                    <a:pt x="356" y="504"/>
                  </a:lnTo>
                  <a:lnTo>
                    <a:pt x="357" y="506"/>
                  </a:lnTo>
                  <a:lnTo>
                    <a:pt x="357" y="508"/>
                  </a:lnTo>
                  <a:lnTo>
                    <a:pt x="359" y="511"/>
                  </a:lnTo>
                  <a:lnTo>
                    <a:pt x="359" y="516"/>
                  </a:lnTo>
                  <a:lnTo>
                    <a:pt x="357" y="521"/>
                  </a:lnTo>
                  <a:lnTo>
                    <a:pt x="359" y="525"/>
                  </a:lnTo>
                  <a:lnTo>
                    <a:pt x="359" y="526"/>
                  </a:lnTo>
                  <a:lnTo>
                    <a:pt x="361" y="530"/>
                  </a:lnTo>
                  <a:lnTo>
                    <a:pt x="359" y="531"/>
                  </a:lnTo>
                  <a:lnTo>
                    <a:pt x="361" y="535"/>
                  </a:lnTo>
                  <a:lnTo>
                    <a:pt x="359" y="537"/>
                  </a:lnTo>
                  <a:lnTo>
                    <a:pt x="361" y="537"/>
                  </a:lnTo>
                  <a:lnTo>
                    <a:pt x="364" y="542"/>
                  </a:lnTo>
                  <a:lnTo>
                    <a:pt x="368" y="543"/>
                  </a:lnTo>
                  <a:lnTo>
                    <a:pt x="369" y="545"/>
                  </a:lnTo>
                  <a:lnTo>
                    <a:pt x="371" y="549"/>
                  </a:lnTo>
                  <a:lnTo>
                    <a:pt x="373" y="547"/>
                  </a:lnTo>
                  <a:lnTo>
                    <a:pt x="373" y="543"/>
                  </a:lnTo>
                  <a:lnTo>
                    <a:pt x="373" y="542"/>
                  </a:lnTo>
                  <a:lnTo>
                    <a:pt x="376" y="538"/>
                  </a:lnTo>
                  <a:lnTo>
                    <a:pt x="378" y="537"/>
                  </a:lnTo>
                  <a:lnTo>
                    <a:pt x="381" y="535"/>
                  </a:lnTo>
                  <a:lnTo>
                    <a:pt x="383" y="535"/>
                  </a:lnTo>
                  <a:lnTo>
                    <a:pt x="387" y="537"/>
                  </a:lnTo>
                  <a:lnTo>
                    <a:pt x="395" y="538"/>
                  </a:lnTo>
                  <a:lnTo>
                    <a:pt x="398" y="542"/>
                  </a:lnTo>
                  <a:lnTo>
                    <a:pt x="402" y="540"/>
                  </a:lnTo>
                  <a:lnTo>
                    <a:pt x="404" y="543"/>
                  </a:lnTo>
                  <a:lnTo>
                    <a:pt x="409" y="543"/>
                  </a:lnTo>
                  <a:lnTo>
                    <a:pt x="410" y="540"/>
                  </a:lnTo>
                  <a:lnTo>
                    <a:pt x="412" y="537"/>
                  </a:lnTo>
                  <a:lnTo>
                    <a:pt x="416" y="535"/>
                  </a:lnTo>
                  <a:lnTo>
                    <a:pt x="419" y="533"/>
                  </a:lnTo>
                  <a:lnTo>
                    <a:pt x="421" y="535"/>
                  </a:lnTo>
                  <a:lnTo>
                    <a:pt x="421" y="537"/>
                  </a:lnTo>
                  <a:lnTo>
                    <a:pt x="422" y="538"/>
                  </a:lnTo>
                  <a:lnTo>
                    <a:pt x="428" y="538"/>
                  </a:lnTo>
                  <a:lnTo>
                    <a:pt x="429" y="540"/>
                  </a:lnTo>
                  <a:lnTo>
                    <a:pt x="433" y="540"/>
                  </a:lnTo>
                  <a:lnTo>
                    <a:pt x="434" y="540"/>
                  </a:lnTo>
                  <a:lnTo>
                    <a:pt x="436" y="540"/>
                  </a:lnTo>
                  <a:lnTo>
                    <a:pt x="439" y="540"/>
                  </a:lnTo>
                  <a:lnTo>
                    <a:pt x="443" y="538"/>
                  </a:lnTo>
                  <a:lnTo>
                    <a:pt x="448" y="540"/>
                  </a:lnTo>
                  <a:lnTo>
                    <a:pt x="451" y="545"/>
                  </a:lnTo>
                  <a:lnTo>
                    <a:pt x="453" y="543"/>
                  </a:lnTo>
                  <a:lnTo>
                    <a:pt x="455" y="545"/>
                  </a:lnTo>
                  <a:lnTo>
                    <a:pt x="458" y="543"/>
                  </a:lnTo>
                  <a:lnTo>
                    <a:pt x="462" y="542"/>
                  </a:lnTo>
                  <a:lnTo>
                    <a:pt x="467" y="543"/>
                  </a:lnTo>
                  <a:lnTo>
                    <a:pt x="470" y="543"/>
                  </a:lnTo>
                  <a:lnTo>
                    <a:pt x="475" y="547"/>
                  </a:lnTo>
                  <a:lnTo>
                    <a:pt x="477" y="547"/>
                  </a:lnTo>
                  <a:lnTo>
                    <a:pt x="479" y="547"/>
                  </a:lnTo>
                  <a:lnTo>
                    <a:pt x="479" y="545"/>
                  </a:lnTo>
                  <a:lnTo>
                    <a:pt x="475" y="545"/>
                  </a:lnTo>
                  <a:lnTo>
                    <a:pt x="475" y="540"/>
                  </a:lnTo>
                  <a:lnTo>
                    <a:pt x="477" y="538"/>
                  </a:lnTo>
                  <a:lnTo>
                    <a:pt x="477" y="535"/>
                  </a:lnTo>
                  <a:lnTo>
                    <a:pt x="479" y="535"/>
                  </a:lnTo>
                  <a:lnTo>
                    <a:pt x="481" y="535"/>
                  </a:lnTo>
                  <a:lnTo>
                    <a:pt x="481" y="531"/>
                  </a:lnTo>
                  <a:lnTo>
                    <a:pt x="479" y="530"/>
                  </a:lnTo>
                  <a:lnTo>
                    <a:pt x="481" y="528"/>
                  </a:lnTo>
                  <a:lnTo>
                    <a:pt x="482" y="528"/>
                  </a:lnTo>
                  <a:lnTo>
                    <a:pt x="486" y="530"/>
                  </a:lnTo>
                  <a:lnTo>
                    <a:pt x="487" y="526"/>
                  </a:lnTo>
                  <a:lnTo>
                    <a:pt x="489" y="525"/>
                  </a:lnTo>
                  <a:lnTo>
                    <a:pt x="489" y="528"/>
                  </a:lnTo>
                  <a:lnTo>
                    <a:pt x="492" y="528"/>
                  </a:lnTo>
                  <a:lnTo>
                    <a:pt x="492" y="530"/>
                  </a:lnTo>
                  <a:lnTo>
                    <a:pt x="492" y="533"/>
                  </a:lnTo>
                  <a:lnTo>
                    <a:pt x="494" y="535"/>
                  </a:lnTo>
                  <a:lnTo>
                    <a:pt x="494" y="538"/>
                  </a:lnTo>
                  <a:lnTo>
                    <a:pt x="498" y="540"/>
                  </a:lnTo>
                  <a:lnTo>
                    <a:pt x="498" y="540"/>
                  </a:lnTo>
                  <a:lnTo>
                    <a:pt x="496" y="542"/>
                  </a:lnTo>
                  <a:lnTo>
                    <a:pt x="498" y="545"/>
                  </a:lnTo>
                  <a:lnTo>
                    <a:pt x="499" y="547"/>
                  </a:lnTo>
                  <a:lnTo>
                    <a:pt x="501" y="549"/>
                  </a:lnTo>
                  <a:lnTo>
                    <a:pt x="503" y="552"/>
                  </a:lnTo>
                  <a:lnTo>
                    <a:pt x="503" y="554"/>
                  </a:lnTo>
                  <a:lnTo>
                    <a:pt x="504" y="557"/>
                  </a:lnTo>
                  <a:lnTo>
                    <a:pt x="508" y="559"/>
                  </a:lnTo>
                  <a:lnTo>
                    <a:pt x="499" y="610"/>
                  </a:lnTo>
                  <a:lnTo>
                    <a:pt x="492" y="660"/>
                  </a:lnTo>
                  <a:lnTo>
                    <a:pt x="487" y="684"/>
                  </a:lnTo>
                  <a:lnTo>
                    <a:pt x="484" y="713"/>
                  </a:lnTo>
                  <a:lnTo>
                    <a:pt x="475" y="767"/>
                  </a:lnTo>
                  <a:lnTo>
                    <a:pt x="467" y="822"/>
                  </a:lnTo>
                  <a:lnTo>
                    <a:pt x="431" y="815"/>
                  </a:lnTo>
                  <a:lnTo>
                    <a:pt x="383" y="807"/>
                  </a:lnTo>
                  <a:lnTo>
                    <a:pt x="380" y="807"/>
                  </a:lnTo>
                  <a:lnTo>
                    <a:pt x="315" y="795"/>
                  </a:lnTo>
                  <a:lnTo>
                    <a:pt x="233" y="781"/>
                  </a:lnTo>
                  <a:lnTo>
                    <a:pt x="214" y="778"/>
                  </a:lnTo>
                  <a:lnTo>
                    <a:pt x="156" y="766"/>
                  </a:lnTo>
                  <a:lnTo>
                    <a:pt x="84" y="750"/>
                  </a:lnTo>
                  <a:lnTo>
                    <a:pt x="4" y="733"/>
                  </a:lnTo>
                  <a:lnTo>
                    <a:pt x="0" y="733"/>
                  </a:lnTo>
                  <a:lnTo>
                    <a:pt x="40" y="55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6" name="Freeform 135"/>
            <p:cNvSpPr>
              <a:spLocks/>
            </p:cNvSpPr>
            <p:nvPr/>
          </p:nvSpPr>
          <p:spPr bwMode="gray">
            <a:xfrm>
              <a:off x="8008900" y="2334296"/>
              <a:ext cx="233488" cy="431550"/>
            </a:xfrm>
            <a:custGeom>
              <a:avLst/>
              <a:gdLst/>
              <a:ahLst/>
              <a:cxnLst>
                <a:cxn ang="0">
                  <a:pos x="59" y="263"/>
                </a:cxn>
                <a:cxn ang="0">
                  <a:pos x="49" y="210"/>
                </a:cxn>
                <a:cxn ang="0">
                  <a:pos x="41" y="183"/>
                </a:cxn>
                <a:cxn ang="0">
                  <a:pos x="37" y="177"/>
                </a:cxn>
                <a:cxn ang="0">
                  <a:pos x="30" y="184"/>
                </a:cxn>
                <a:cxn ang="0">
                  <a:pos x="30" y="164"/>
                </a:cxn>
                <a:cxn ang="0">
                  <a:pos x="25" y="152"/>
                </a:cxn>
                <a:cxn ang="0">
                  <a:pos x="20" y="138"/>
                </a:cxn>
                <a:cxn ang="0">
                  <a:pos x="18" y="130"/>
                </a:cxn>
                <a:cxn ang="0">
                  <a:pos x="18" y="118"/>
                </a:cxn>
                <a:cxn ang="0">
                  <a:pos x="18" y="95"/>
                </a:cxn>
                <a:cxn ang="0">
                  <a:pos x="12" y="82"/>
                </a:cxn>
                <a:cxn ang="0">
                  <a:pos x="6" y="73"/>
                </a:cxn>
                <a:cxn ang="0">
                  <a:pos x="5" y="65"/>
                </a:cxn>
                <a:cxn ang="0">
                  <a:pos x="1" y="51"/>
                </a:cxn>
                <a:cxn ang="0">
                  <a:pos x="0" y="34"/>
                </a:cxn>
                <a:cxn ang="0">
                  <a:pos x="106" y="7"/>
                </a:cxn>
                <a:cxn ang="0">
                  <a:pos x="136" y="7"/>
                </a:cxn>
                <a:cxn ang="0">
                  <a:pos x="135" y="25"/>
                </a:cxn>
                <a:cxn ang="0">
                  <a:pos x="138" y="37"/>
                </a:cxn>
                <a:cxn ang="0">
                  <a:pos x="145" y="44"/>
                </a:cxn>
                <a:cxn ang="0">
                  <a:pos x="143" y="51"/>
                </a:cxn>
                <a:cxn ang="0">
                  <a:pos x="140" y="58"/>
                </a:cxn>
                <a:cxn ang="0">
                  <a:pos x="138" y="63"/>
                </a:cxn>
                <a:cxn ang="0">
                  <a:pos x="130" y="73"/>
                </a:cxn>
                <a:cxn ang="0">
                  <a:pos x="121" y="78"/>
                </a:cxn>
                <a:cxn ang="0">
                  <a:pos x="114" y="87"/>
                </a:cxn>
                <a:cxn ang="0">
                  <a:pos x="118" y="99"/>
                </a:cxn>
                <a:cxn ang="0">
                  <a:pos x="121" y="104"/>
                </a:cxn>
                <a:cxn ang="0">
                  <a:pos x="119" y="114"/>
                </a:cxn>
                <a:cxn ang="0">
                  <a:pos x="119" y="119"/>
                </a:cxn>
                <a:cxn ang="0">
                  <a:pos x="116" y="130"/>
                </a:cxn>
                <a:cxn ang="0">
                  <a:pos x="116" y="143"/>
                </a:cxn>
                <a:cxn ang="0">
                  <a:pos x="111" y="162"/>
                </a:cxn>
                <a:cxn ang="0">
                  <a:pos x="111" y="174"/>
                </a:cxn>
                <a:cxn ang="0">
                  <a:pos x="112" y="189"/>
                </a:cxn>
                <a:cxn ang="0">
                  <a:pos x="114" y="201"/>
                </a:cxn>
                <a:cxn ang="0">
                  <a:pos x="118" y="218"/>
                </a:cxn>
                <a:cxn ang="0">
                  <a:pos x="118" y="230"/>
                </a:cxn>
                <a:cxn ang="0">
                  <a:pos x="116" y="237"/>
                </a:cxn>
                <a:cxn ang="0">
                  <a:pos x="119" y="249"/>
                </a:cxn>
                <a:cxn ang="0">
                  <a:pos x="124" y="253"/>
                </a:cxn>
                <a:cxn ang="0">
                  <a:pos x="82" y="265"/>
                </a:cxn>
              </a:cxnLst>
              <a:rect l="0" t="0" r="r" b="b"/>
              <a:pathLst>
                <a:path w="145" h="268">
                  <a:moveTo>
                    <a:pt x="63" y="268"/>
                  </a:moveTo>
                  <a:lnTo>
                    <a:pt x="63" y="268"/>
                  </a:lnTo>
                  <a:lnTo>
                    <a:pt x="59" y="263"/>
                  </a:lnTo>
                  <a:lnTo>
                    <a:pt x="59" y="259"/>
                  </a:lnTo>
                  <a:lnTo>
                    <a:pt x="58" y="249"/>
                  </a:lnTo>
                  <a:lnTo>
                    <a:pt x="49" y="210"/>
                  </a:lnTo>
                  <a:lnTo>
                    <a:pt x="46" y="188"/>
                  </a:lnTo>
                  <a:lnTo>
                    <a:pt x="42" y="183"/>
                  </a:lnTo>
                  <a:lnTo>
                    <a:pt x="41" y="183"/>
                  </a:lnTo>
                  <a:lnTo>
                    <a:pt x="41" y="181"/>
                  </a:lnTo>
                  <a:lnTo>
                    <a:pt x="39" y="177"/>
                  </a:lnTo>
                  <a:lnTo>
                    <a:pt x="37" y="177"/>
                  </a:lnTo>
                  <a:lnTo>
                    <a:pt x="34" y="179"/>
                  </a:lnTo>
                  <a:lnTo>
                    <a:pt x="32" y="184"/>
                  </a:lnTo>
                  <a:lnTo>
                    <a:pt x="30" y="184"/>
                  </a:lnTo>
                  <a:lnTo>
                    <a:pt x="29" y="179"/>
                  </a:lnTo>
                  <a:lnTo>
                    <a:pt x="30" y="169"/>
                  </a:lnTo>
                  <a:lnTo>
                    <a:pt x="30" y="164"/>
                  </a:lnTo>
                  <a:lnTo>
                    <a:pt x="30" y="162"/>
                  </a:lnTo>
                  <a:lnTo>
                    <a:pt x="27" y="160"/>
                  </a:lnTo>
                  <a:lnTo>
                    <a:pt x="25" y="152"/>
                  </a:lnTo>
                  <a:lnTo>
                    <a:pt x="24" y="148"/>
                  </a:lnTo>
                  <a:lnTo>
                    <a:pt x="20" y="142"/>
                  </a:lnTo>
                  <a:lnTo>
                    <a:pt x="20" y="138"/>
                  </a:lnTo>
                  <a:lnTo>
                    <a:pt x="17" y="136"/>
                  </a:lnTo>
                  <a:lnTo>
                    <a:pt x="17" y="135"/>
                  </a:lnTo>
                  <a:lnTo>
                    <a:pt x="18" y="130"/>
                  </a:lnTo>
                  <a:lnTo>
                    <a:pt x="17" y="126"/>
                  </a:lnTo>
                  <a:lnTo>
                    <a:pt x="18" y="121"/>
                  </a:lnTo>
                  <a:lnTo>
                    <a:pt x="18" y="118"/>
                  </a:lnTo>
                  <a:lnTo>
                    <a:pt x="22" y="111"/>
                  </a:lnTo>
                  <a:lnTo>
                    <a:pt x="17" y="101"/>
                  </a:lnTo>
                  <a:lnTo>
                    <a:pt x="18" y="95"/>
                  </a:lnTo>
                  <a:lnTo>
                    <a:pt x="18" y="92"/>
                  </a:lnTo>
                  <a:lnTo>
                    <a:pt x="12" y="82"/>
                  </a:lnTo>
                  <a:lnTo>
                    <a:pt x="12" y="82"/>
                  </a:lnTo>
                  <a:lnTo>
                    <a:pt x="8" y="78"/>
                  </a:lnTo>
                  <a:lnTo>
                    <a:pt x="6" y="75"/>
                  </a:lnTo>
                  <a:lnTo>
                    <a:pt x="6" y="73"/>
                  </a:lnTo>
                  <a:lnTo>
                    <a:pt x="6" y="70"/>
                  </a:lnTo>
                  <a:lnTo>
                    <a:pt x="6" y="68"/>
                  </a:lnTo>
                  <a:lnTo>
                    <a:pt x="5" y="65"/>
                  </a:lnTo>
                  <a:lnTo>
                    <a:pt x="6" y="54"/>
                  </a:lnTo>
                  <a:lnTo>
                    <a:pt x="3" y="54"/>
                  </a:lnTo>
                  <a:lnTo>
                    <a:pt x="1" y="51"/>
                  </a:lnTo>
                  <a:lnTo>
                    <a:pt x="1" y="41"/>
                  </a:lnTo>
                  <a:lnTo>
                    <a:pt x="0" y="37"/>
                  </a:lnTo>
                  <a:lnTo>
                    <a:pt x="0" y="34"/>
                  </a:lnTo>
                  <a:lnTo>
                    <a:pt x="12" y="30"/>
                  </a:lnTo>
                  <a:lnTo>
                    <a:pt x="58" y="20"/>
                  </a:lnTo>
                  <a:lnTo>
                    <a:pt x="106" y="7"/>
                  </a:lnTo>
                  <a:lnTo>
                    <a:pt x="135" y="0"/>
                  </a:lnTo>
                  <a:lnTo>
                    <a:pt x="133" y="3"/>
                  </a:lnTo>
                  <a:lnTo>
                    <a:pt x="136" y="7"/>
                  </a:lnTo>
                  <a:lnTo>
                    <a:pt x="138" y="10"/>
                  </a:lnTo>
                  <a:lnTo>
                    <a:pt x="135" y="20"/>
                  </a:lnTo>
                  <a:lnTo>
                    <a:pt x="135" y="25"/>
                  </a:lnTo>
                  <a:lnTo>
                    <a:pt x="133" y="29"/>
                  </a:lnTo>
                  <a:lnTo>
                    <a:pt x="136" y="36"/>
                  </a:lnTo>
                  <a:lnTo>
                    <a:pt x="138" y="37"/>
                  </a:lnTo>
                  <a:lnTo>
                    <a:pt x="140" y="39"/>
                  </a:lnTo>
                  <a:lnTo>
                    <a:pt x="143" y="42"/>
                  </a:lnTo>
                  <a:lnTo>
                    <a:pt x="145" y="44"/>
                  </a:lnTo>
                  <a:lnTo>
                    <a:pt x="141" y="49"/>
                  </a:lnTo>
                  <a:lnTo>
                    <a:pt x="141" y="49"/>
                  </a:lnTo>
                  <a:lnTo>
                    <a:pt x="143" y="51"/>
                  </a:lnTo>
                  <a:lnTo>
                    <a:pt x="143" y="54"/>
                  </a:lnTo>
                  <a:lnTo>
                    <a:pt x="141" y="56"/>
                  </a:lnTo>
                  <a:lnTo>
                    <a:pt x="140" y="58"/>
                  </a:lnTo>
                  <a:lnTo>
                    <a:pt x="140" y="58"/>
                  </a:lnTo>
                  <a:lnTo>
                    <a:pt x="140" y="61"/>
                  </a:lnTo>
                  <a:lnTo>
                    <a:pt x="138" y="63"/>
                  </a:lnTo>
                  <a:lnTo>
                    <a:pt x="133" y="68"/>
                  </a:lnTo>
                  <a:lnTo>
                    <a:pt x="130" y="70"/>
                  </a:lnTo>
                  <a:lnTo>
                    <a:pt x="130" y="73"/>
                  </a:lnTo>
                  <a:lnTo>
                    <a:pt x="130" y="75"/>
                  </a:lnTo>
                  <a:lnTo>
                    <a:pt x="123" y="77"/>
                  </a:lnTo>
                  <a:lnTo>
                    <a:pt x="121" y="78"/>
                  </a:lnTo>
                  <a:lnTo>
                    <a:pt x="118" y="80"/>
                  </a:lnTo>
                  <a:lnTo>
                    <a:pt x="114" y="83"/>
                  </a:lnTo>
                  <a:lnTo>
                    <a:pt x="114" y="87"/>
                  </a:lnTo>
                  <a:lnTo>
                    <a:pt x="116" y="90"/>
                  </a:lnTo>
                  <a:lnTo>
                    <a:pt x="116" y="95"/>
                  </a:lnTo>
                  <a:lnTo>
                    <a:pt x="118" y="99"/>
                  </a:lnTo>
                  <a:lnTo>
                    <a:pt x="119" y="102"/>
                  </a:lnTo>
                  <a:lnTo>
                    <a:pt x="119" y="104"/>
                  </a:lnTo>
                  <a:lnTo>
                    <a:pt x="121" y="104"/>
                  </a:lnTo>
                  <a:lnTo>
                    <a:pt x="121" y="106"/>
                  </a:lnTo>
                  <a:lnTo>
                    <a:pt x="119" y="113"/>
                  </a:lnTo>
                  <a:lnTo>
                    <a:pt x="119" y="114"/>
                  </a:lnTo>
                  <a:lnTo>
                    <a:pt x="118" y="118"/>
                  </a:lnTo>
                  <a:lnTo>
                    <a:pt x="118" y="118"/>
                  </a:lnTo>
                  <a:lnTo>
                    <a:pt x="119" y="119"/>
                  </a:lnTo>
                  <a:lnTo>
                    <a:pt x="119" y="123"/>
                  </a:lnTo>
                  <a:lnTo>
                    <a:pt x="119" y="126"/>
                  </a:lnTo>
                  <a:lnTo>
                    <a:pt x="116" y="130"/>
                  </a:lnTo>
                  <a:lnTo>
                    <a:pt x="118" y="138"/>
                  </a:lnTo>
                  <a:lnTo>
                    <a:pt x="116" y="142"/>
                  </a:lnTo>
                  <a:lnTo>
                    <a:pt x="116" y="143"/>
                  </a:lnTo>
                  <a:lnTo>
                    <a:pt x="114" y="147"/>
                  </a:lnTo>
                  <a:lnTo>
                    <a:pt x="111" y="152"/>
                  </a:lnTo>
                  <a:lnTo>
                    <a:pt x="111" y="162"/>
                  </a:lnTo>
                  <a:lnTo>
                    <a:pt x="109" y="166"/>
                  </a:lnTo>
                  <a:lnTo>
                    <a:pt x="109" y="172"/>
                  </a:lnTo>
                  <a:lnTo>
                    <a:pt x="111" y="174"/>
                  </a:lnTo>
                  <a:lnTo>
                    <a:pt x="112" y="183"/>
                  </a:lnTo>
                  <a:lnTo>
                    <a:pt x="111" y="186"/>
                  </a:lnTo>
                  <a:lnTo>
                    <a:pt x="112" y="189"/>
                  </a:lnTo>
                  <a:lnTo>
                    <a:pt x="112" y="193"/>
                  </a:lnTo>
                  <a:lnTo>
                    <a:pt x="114" y="193"/>
                  </a:lnTo>
                  <a:lnTo>
                    <a:pt x="114" y="201"/>
                  </a:lnTo>
                  <a:lnTo>
                    <a:pt x="114" y="210"/>
                  </a:lnTo>
                  <a:lnTo>
                    <a:pt x="116" y="215"/>
                  </a:lnTo>
                  <a:lnTo>
                    <a:pt x="118" y="218"/>
                  </a:lnTo>
                  <a:lnTo>
                    <a:pt x="116" y="222"/>
                  </a:lnTo>
                  <a:lnTo>
                    <a:pt x="118" y="227"/>
                  </a:lnTo>
                  <a:lnTo>
                    <a:pt x="118" y="230"/>
                  </a:lnTo>
                  <a:lnTo>
                    <a:pt x="116" y="232"/>
                  </a:lnTo>
                  <a:lnTo>
                    <a:pt x="114" y="234"/>
                  </a:lnTo>
                  <a:lnTo>
                    <a:pt x="116" y="237"/>
                  </a:lnTo>
                  <a:lnTo>
                    <a:pt x="114" y="242"/>
                  </a:lnTo>
                  <a:lnTo>
                    <a:pt x="118" y="249"/>
                  </a:lnTo>
                  <a:lnTo>
                    <a:pt x="119" y="249"/>
                  </a:lnTo>
                  <a:lnTo>
                    <a:pt x="121" y="253"/>
                  </a:lnTo>
                  <a:lnTo>
                    <a:pt x="123" y="253"/>
                  </a:lnTo>
                  <a:lnTo>
                    <a:pt x="124" y="253"/>
                  </a:lnTo>
                  <a:lnTo>
                    <a:pt x="126" y="256"/>
                  </a:lnTo>
                  <a:lnTo>
                    <a:pt x="90" y="263"/>
                  </a:lnTo>
                  <a:lnTo>
                    <a:pt x="82" y="265"/>
                  </a:lnTo>
                  <a:lnTo>
                    <a:pt x="63" y="26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7" name="Freeform 136"/>
            <p:cNvSpPr>
              <a:spLocks/>
            </p:cNvSpPr>
            <p:nvPr/>
          </p:nvSpPr>
          <p:spPr bwMode="gray">
            <a:xfrm>
              <a:off x="5123311" y="1967156"/>
              <a:ext cx="898527" cy="1011243"/>
            </a:xfrm>
            <a:custGeom>
              <a:avLst/>
              <a:gdLst/>
              <a:ahLst/>
              <a:cxnLst>
                <a:cxn ang="0">
                  <a:pos x="318" y="624"/>
                </a:cxn>
                <a:cxn ang="0">
                  <a:pos x="224" y="626"/>
                </a:cxn>
                <a:cxn ang="0">
                  <a:pos x="129" y="628"/>
                </a:cxn>
                <a:cxn ang="0">
                  <a:pos x="53" y="552"/>
                </a:cxn>
                <a:cxn ang="0">
                  <a:pos x="53" y="436"/>
                </a:cxn>
                <a:cxn ang="0">
                  <a:pos x="36" y="423"/>
                </a:cxn>
                <a:cxn ang="0">
                  <a:pos x="24" y="397"/>
                </a:cxn>
                <a:cxn ang="0">
                  <a:pos x="47" y="364"/>
                </a:cxn>
                <a:cxn ang="0">
                  <a:pos x="45" y="337"/>
                </a:cxn>
                <a:cxn ang="0">
                  <a:pos x="36" y="315"/>
                </a:cxn>
                <a:cxn ang="0">
                  <a:pos x="31" y="294"/>
                </a:cxn>
                <a:cxn ang="0">
                  <a:pos x="30" y="277"/>
                </a:cxn>
                <a:cxn ang="0">
                  <a:pos x="31" y="258"/>
                </a:cxn>
                <a:cxn ang="0">
                  <a:pos x="28" y="255"/>
                </a:cxn>
                <a:cxn ang="0">
                  <a:pos x="28" y="243"/>
                </a:cxn>
                <a:cxn ang="0">
                  <a:pos x="26" y="221"/>
                </a:cxn>
                <a:cxn ang="0">
                  <a:pos x="26" y="209"/>
                </a:cxn>
                <a:cxn ang="0">
                  <a:pos x="24" y="197"/>
                </a:cxn>
                <a:cxn ang="0">
                  <a:pos x="23" y="180"/>
                </a:cxn>
                <a:cxn ang="0">
                  <a:pos x="18" y="165"/>
                </a:cxn>
                <a:cxn ang="0">
                  <a:pos x="11" y="141"/>
                </a:cxn>
                <a:cxn ang="0">
                  <a:pos x="6" y="130"/>
                </a:cxn>
                <a:cxn ang="0">
                  <a:pos x="6" y="123"/>
                </a:cxn>
                <a:cxn ang="0">
                  <a:pos x="7" y="118"/>
                </a:cxn>
                <a:cxn ang="0">
                  <a:pos x="7" y="115"/>
                </a:cxn>
                <a:cxn ang="0">
                  <a:pos x="6" y="106"/>
                </a:cxn>
                <a:cxn ang="0">
                  <a:pos x="7" y="103"/>
                </a:cxn>
                <a:cxn ang="0">
                  <a:pos x="6" y="100"/>
                </a:cxn>
                <a:cxn ang="0">
                  <a:pos x="4" y="88"/>
                </a:cxn>
                <a:cxn ang="0">
                  <a:pos x="6" y="82"/>
                </a:cxn>
                <a:cxn ang="0">
                  <a:pos x="9" y="74"/>
                </a:cxn>
                <a:cxn ang="0">
                  <a:pos x="6" y="65"/>
                </a:cxn>
                <a:cxn ang="0">
                  <a:pos x="4" y="59"/>
                </a:cxn>
                <a:cxn ang="0">
                  <a:pos x="59" y="40"/>
                </a:cxn>
                <a:cxn ang="0">
                  <a:pos x="182" y="52"/>
                </a:cxn>
                <a:cxn ang="0">
                  <a:pos x="214" y="76"/>
                </a:cxn>
                <a:cxn ang="0">
                  <a:pos x="271" y="86"/>
                </a:cxn>
                <a:cxn ang="0">
                  <a:pos x="324" y="84"/>
                </a:cxn>
                <a:cxn ang="0">
                  <a:pos x="341" y="94"/>
                </a:cxn>
                <a:cxn ang="0">
                  <a:pos x="354" y="110"/>
                </a:cxn>
                <a:cxn ang="0">
                  <a:pos x="392" y="117"/>
                </a:cxn>
                <a:cxn ang="0">
                  <a:pos x="433" y="129"/>
                </a:cxn>
                <a:cxn ang="0">
                  <a:pos x="482" y="125"/>
                </a:cxn>
                <a:cxn ang="0">
                  <a:pos x="541" y="129"/>
                </a:cxn>
                <a:cxn ang="0">
                  <a:pos x="488" y="166"/>
                </a:cxn>
                <a:cxn ang="0">
                  <a:pos x="368" y="282"/>
                </a:cxn>
                <a:cxn ang="0">
                  <a:pos x="365" y="346"/>
                </a:cxn>
                <a:cxn ang="0">
                  <a:pos x="353" y="356"/>
                </a:cxn>
                <a:cxn ang="0">
                  <a:pos x="332" y="371"/>
                </a:cxn>
                <a:cxn ang="0">
                  <a:pos x="322" y="394"/>
                </a:cxn>
                <a:cxn ang="0">
                  <a:pos x="337" y="412"/>
                </a:cxn>
                <a:cxn ang="0">
                  <a:pos x="337" y="428"/>
                </a:cxn>
                <a:cxn ang="0">
                  <a:pos x="334" y="450"/>
                </a:cxn>
                <a:cxn ang="0">
                  <a:pos x="334" y="472"/>
                </a:cxn>
                <a:cxn ang="0">
                  <a:pos x="337" y="493"/>
                </a:cxn>
                <a:cxn ang="0">
                  <a:pos x="370" y="510"/>
                </a:cxn>
                <a:cxn ang="0">
                  <a:pos x="397" y="529"/>
                </a:cxn>
                <a:cxn ang="0">
                  <a:pos x="407" y="547"/>
                </a:cxn>
                <a:cxn ang="0">
                  <a:pos x="433" y="563"/>
                </a:cxn>
                <a:cxn ang="0">
                  <a:pos x="455" y="595"/>
                </a:cxn>
                <a:cxn ang="0">
                  <a:pos x="428" y="619"/>
                </a:cxn>
              </a:cxnLst>
              <a:rect l="0" t="0" r="r" b="b"/>
              <a:pathLst>
                <a:path w="558" h="628">
                  <a:moveTo>
                    <a:pt x="419" y="621"/>
                  </a:moveTo>
                  <a:lnTo>
                    <a:pt x="392" y="621"/>
                  </a:lnTo>
                  <a:lnTo>
                    <a:pt x="363" y="622"/>
                  </a:lnTo>
                  <a:lnTo>
                    <a:pt x="354" y="622"/>
                  </a:lnTo>
                  <a:lnTo>
                    <a:pt x="318" y="624"/>
                  </a:lnTo>
                  <a:lnTo>
                    <a:pt x="317" y="624"/>
                  </a:lnTo>
                  <a:lnTo>
                    <a:pt x="283" y="626"/>
                  </a:lnTo>
                  <a:lnTo>
                    <a:pt x="271" y="626"/>
                  </a:lnTo>
                  <a:lnTo>
                    <a:pt x="245" y="626"/>
                  </a:lnTo>
                  <a:lnTo>
                    <a:pt x="224" y="626"/>
                  </a:lnTo>
                  <a:lnTo>
                    <a:pt x="207" y="628"/>
                  </a:lnTo>
                  <a:lnTo>
                    <a:pt x="177" y="628"/>
                  </a:lnTo>
                  <a:lnTo>
                    <a:pt x="171" y="628"/>
                  </a:lnTo>
                  <a:lnTo>
                    <a:pt x="136" y="628"/>
                  </a:lnTo>
                  <a:lnTo>
                    <a:pt x="129" y="628"/>
                  </a:lnTo>
                  <a:lnTo>
                    <a:pt x="98" y="628"/>
                  </a:lnTo>
                  <a:lnTo>
                    <a:pt x="83" y="628"/>
                  </a:lnTo>
                  <a:lnTo>
                    <a:pt x="52" y="628"/>
                  </a:lnTo>
                  <a:lnTo>
                    <a:pt x="53" y="590"/>
                  </a:lnTo>
                  <a:lnTo>
                    <a:pt x="53" y="552"/>
                  </a:lnTo>
                  <a:lnTo>
                    <a:pt x="53" y="517"/>
                  </a:lnTo>
                  <a:lnTo>
                    <a:pt x="53" y="506"/>
                  </a:lnTo>
                  <a:lnTo>
                    <a:pt x="53" y="487"/>
                  </a:lnTo>
                  <a:lnTo>
                    <a:pt x="53" y="469"/>
                  </a:lnTo>
                  <a:lnTo>
                    <a:pt x="53" y="436"/>
                  </a:lnTo>
                  <a:lnTo>
                    <a:pt x="53" y="435"/>
                  </a:lnTo>
                  <a:lnTo>
                    <a:pt x="52" y="431"/>
                  </a:lnTo>
                  <a:lnTo>
                    <a:pt x="48" y="426"/>
                  </a:lnTo>
                  <a:lnTo>
                    <a:pt x="42" y="424"/>
                  </a:lnTo>
                  <a:lnTo>
                    <a:pt x="36" y="423"/>
                  </a:lnTo>
                  <a:lnTo>
                    <a:pt x="33" y="417"/>
                  </a:lnTo>
                  <a:lnTo>
                    <a:pt x="30" y="411"/>
                  </a:lnTo>
                  <a:lnTo>
                    <a:pt x="24" y="404"/>
                  </a:lnTo>
                  <a:lnTo>
                    <a:pt x="23" y="400"/>
                  </a:lnTo>
                  <a:lnTo>
                    <a:pt x="24" y="397"/>
                  </a:lnTo>
                  <a:lnTo>
                    <a:pt x="38" y="387"/>
                  </a:lnTo>
                  <a:lnTo>
                    <a:pt x="43" y="380"/>
                  </a:lnTo>
                  <a:lnTo>
                    <a:pt x="43" y="378"/>
                  </a:lnTo>
                  <a:lnTo>
                    <a:pt x="45" y="366"/>
                  </a:lnTo>
                  <a:lnTo>
                    <a:pt x="47" y="364"/>
                  </a:lnTo>
                  <a:lnTo>
                    <a:pt x="45" y="358"/>
                  </a:lnTo>
                  <a:lnTo>
                    <a:pt x="47" y="349"/>
                  </a:lnTo>
                  <a:lnTo>
                    <a:pt x="45" y="341"/>
                  </a:lnTo>
                  <a:lnTo>
                    <a:pt x="43" y="339"/>
                  </a:lnTo>
                  <a:lnTo>
                    <a:pt x="45" y="337"/>
                  </a:lnTo>
                  <a:lnTo>
                    <a:pt x="43" y="334"/>
                  </a:lnTo>
                  <a:lnTo>
                    <a:pt x="43" y="323"/>
                  </a:lnTo>
                  <a:lnTo>
                    <a:pt x="42" y="322"/>
                  </a:lnTo>
                  <a:lnTo>
                    <a:pt x="40" y="320"/>
                  </a:lnTo>
                  <a:lnTo>
                    <a:pt x="36" y="315"/>
                  </a:lnTo>
                  <a:lnTo>
                    <a:pt x="35" y="313"/>
                  </a:lnTo>
                  <a:lnTo>
                    <a:pt x="35" y="310"/>
                  </a:lnTo>
                  <a:lnTo>
                    <a:pt x="33" y="306"/>
                  </a:lnTo>
                  <a:lnTo>
                    <a:pt x="33" y="296"/>
                  </a:lnTo>
                  <a:lnTo>
                    <a:pt x="31" y="294"/>
                  </a:lnTo>
                  <a:lnTo>
                    <a:pt x="30" y="293"/>
                  </a:lnTo>
                  <a:lnTo>
                    <a:pt x="30" y="293"/>
                  </a:lnTo>
                  <a:lnTo>
                    <a:pt x="30" y="286"/>
                  </a:lnTo>
                  <a:lnTo>
                    <a:pt x="30" y="284"/>
                  </a:lnTo>
                  <a:lnTo>
                    <a:pt x="30" y="277"/>
                  </a:lnTo>
                  <a:lnTo>
                    <a:pt x="30" y="272"/>
                  </a:lnTo>
                  <a:lnTo>
                    <a:pt x="31" y="269"/>
                  </a:lnTo>
                  <a:lnTo>
                    <a:pt x="31" y="267"/>
                  </a:lnTo>
                  <a:lnTo>
                    <a:pt x="31" y="260"/>
                  </a:lnTo>
                  <a:lnTo>
                    <a:pt x="31" y="258"/>
                  </a:lnTo>
                  <a:lnTo>
                    <a:pt x="30" y="260"/>
                  </a:lnTo>
                  <a:lnTo>
                    <a:pt x="30" y="258"/>
                  </a:lnTo>
                  <a:lnTo>
                    <a:pt x="30" y="257"/>
                  </a:lnTo>
                  <a:lnTo>
                    <a:pt x="30" y="255"/>
                  </a:lnTo>
                  <a:lnTo>
                    <a:pt x="28" y="255"/>
                  </a:lnTo>
                  <a:lnTo>
                    <a:pt x="28" y="252"/>
                  </a:lnTo>
                  <a:lnTo>
                    <a:pt x="26" y="252"/>
                  </a:lnTo>
                  <a:lnTo>
                    <a:pt x="28" y="248"/>
                  </a:lnTo>
                  <a:lnTo>
                    <a:pt x="28" y="243"/>
                  </a:lnTo>
                  <a:lnTo>
                    <a:pt x="28" y="243"/>
                  </a:lnTo>
                  <a:lnTo>
                    <a:pt x="26" y="236"/>
                  </a:lnTo>
                  <a:lnTo>
                    <a:pt x="28" y="235"/>
                  </a:lnTo>
                  <a:lnTo>
                    <a:pt x="26" y="226"/>
                  </a:lnTo>
                  <a:lnTo>
                    <a:pt x="26" y="224"/>
                  </a:lnTo>
                  <a:lnTo>
                    <a:pt x="26" y="221"/>
                  </a:lnTo>
                  <a:lnTo>
                    <a:pt x="26" y="219"/>
                  </a:lnTo>
                  <a:lnTo>
                    <a:pt x="26" y="216"/>
                  </a:lnTo>
                  <a:lnTo>
                    <a:pt x="26" y="214"/>
                  </a:lnTo>
                  <a:lnTo>
                    <a:pt x="26" y="211"/>
                  </a:lnTo>
                  <a:lnTo>
                    <a:pt x="26" y="209"/>
                  </a:lnTo>
                  <a:lnTo>
                    <a:pt x="24" y="209"/>
                  </a:lnTo>
                  <a:lnTo>
                    <a:pt x="24" y="206"/>
                  </a:lnTo>
                  <a:lnTo>
                    <a:pt x="24" y="204"/>
                  </a:lnTo>
                  <a:lnTo>
                    <a:pt x="26" y="199"/>
                  </a:lnTo>
                  <a:lnTo>
                    <a:pt x="24" y="197"/>
                  </a:lnTo>
                  <a:lnTo>
                    <a:pt x="26" y="194"/>
                  </a:lnTo>
                  <a:lnTo>
                    <a:pt x="24" y="192"/>
                  </a:lnTo>
                  <a:lnTo>
                    <a:pt x="26" y="188"/>
                  </a:lnTo>
                  <a:lnTo>
                    <a:pt x="24" y="187"/>
                  </a:lnTo>
                  <a:lnTo>
                    <a:pt x="23" y="180"/>
                  </a:lnTo>
                  <a:lnTo>
                    <a:pt x="21" y="176"/>
                  </a:lnTo>
                  <a:lnTo>
                    <a:pt x="19" y="171"/>
                  </a:lnTo>
                  <a:lnTo>
                    <a:pt x="18" y="168"/>
                  </a:lnTo>
                  <a:lnTo>
                    <a:pt x="16" y="166"/>
                  </a:lnTo>
                  <a:lnTo>
                    <a:pt x="18" y="165"/>
                  </a:lnTo>
                  <a:lnTo>
                    <a:pt x="16" y="159"/>
                  </a:lnTo>
                  <a:lnTo>
                    <a:pt x="14" y="159"/>
                  </a:lnTo>
                  <a:lnTo>
                    <a:pt x="14" y="154"/>
                  </a:lnTo>
                  <a:lnTo>
                    <a:pt x="12" y="151"/>
                  </a:lnTo>
                  <a:lnTo>
                    <a:pt x="11" y="141"/>
                  </a:lnTo>
                  <a:lnTo>
                    <a:pt x="9" y="139"/>
                  </a:lnTo>
                  <a:lnTo>
                    <a:pt x="9" y="135"/>
                  </a:lnTo>
                  <a:lnTo>
                    <a:pt x="7" y="134"/>
                  </a:lnTo>
                  <a:lnTo>
                    <a:pt x="7" y="130"/>
                  </a:lnTo>
                  <a:lnTo>
                    <a:pt x="6" y="130"/>
                  </a:lnTo>
                  <a:lnTo>
                    <a:pt x="7" y="129"/>
                  </a:lnTo>
                  <a:lnTo>
                    <a:pt x="6" y="129"/>
                  </a:lnTo>
                  <a:lnTo>
                    <a:pt x="6" y="127"/>
                  </a:lnTo>
                  <a:lnTo>
                    <a:pt x="6" y="125"/>
                  </a:lnTo>
                  <a:lnTo>
                    <a:pt x="6" y="123"/>
                  </a:lnTo>
                  <a:lnTo>
                    <a:pt x="7" y="123"/>
                  </a:lnTo>
                  <a:lnTo>
                    <a:pt x="6" y="122"/>
                  </a:lnTo>
                  <a:lnTo>
                    <a:pt x="7" y="122"/>
                  </a:lnTo>
                  <a:lnTo>
                    <a:pt x="6" y="120"/>
                  </a:lnTo>
                  <a:lnTo>
                    <a:pt x="7" y="118"/>
                  </a:lnTo>
                  <a:lnTo>
                    <a:pt x="6" y="117"/>
                  </a:lnTo>
                  <a:lnTo>
                    <a:pt x="7" y="117"/>
                  </a:lnTo>
                  <a:lnTo>
                    <a:pt x="7" y="115"/>
                  </a:lnTo>
                  <a:lnTo>
                    <a:pt x="6" y="115"/>
                  </a:lnTo>
                  <a:lnTo>
                    <a:pt x="7" y="115"/>
                  </a:lnTo>
                  <a:lnTo>
                    <a:pt x="7" y="113"/>
                  </a:lnTo>
                  <a:lnTo>
                    <a:pt x="6" y="113"/>
                  </a:lnTo>
                  <a:lnTo>
                    <a:pt x="7" y="112"/>
                  </a:lnTo>
                  <a:lnTo>
                    <a:pt x="6" y="112"/>
                  </a:lnTo>
                  <a:lnTo>
                    <a:pt x="6" y="106"/>
                  </a:lnTo>
                  <a:lnTo>
                    <a:pt x="6" y="106"/>
                  </a:lnTo>
                  <a:lnTo>
                    <a:pt x="6" y="106"/>
                  </a:lnTo>
                  <a:lnTo>
                    <a:pt x="6" y="105"/>
                  </a:lnTo>
                  <a:lnTo>
                    <a:pt x="4" y="105"/>
                  </a:lnTo>
                  <a:lnTo>
                    <a:pt x="7" y="103"/>
                  </a:lnTo>
                  <a:lnTo>
                    <a:pt x="6" y="101"/>
                  </a:lnTo>
                  <a:lnTo>
                    <a:pt x="6" y="101"/>
                  </a:lnTo>
                  <a:lnTo>
                    <a:pt x="7" y="101"/>
                  </a:lnTo>
                  <a:lnTo>
                    <a:pt x="7" y="100"/>
                  </a:lnTo>
                  <a:lnTo>
                    <a:pt x="6" y="100"/>
                  </a:lnTo>
                  <a:lnTo>
                    <a:pt x="6" y="91"/>
                  </a:lnTo>
                  <a:lnTo>
                    <a:pt x="6" y="91"/>
                  </a:lnTo>
                  <a:lnTo>
                    <a:pt x="6" y="89"/>
                  </a:lnTo>
                  <a:lnTo>
                    <a:pt x="4" y="88"/>
                  </a:lnTo>
                  <a:lnTo>
                    <a:pt x="4" y="88"/>
                  </a:lnTo>
                  <a:lnTo>
                    <a:pt x="6" y="88"/>
                  </a:lnTo>
                  <a:lnTo>
                    <a:pt x="4" y="86"/>
                  </a:lnTo>
                  <a:lnTo>
                    <a:pt x="6" y="84"/>
                  </a:lnTo>
                  <a:lnTo>
                    <a:pt x="4" y="84"/>
                  </a:lnTo>
                  <a:lnTo>
                    <a:pt x="6" y="82"/>
                  </a:lnTo>
                  <a:lnTo>
                    <a:pt x="6" y="81"/>
                  </a:lnTo>
                  <a:lnTo>
                    <a:pt x="7" y="79"/>
                  </a:lnTo>
                  <a:lnTo>
                    <a:pt x="7" y="79"/>
                  </a:lnTo>
                  <a:lnTo>
                    <a:pt x="9" y="79"/>
                  </a:lnTo>
                  <a:lnTo>
                    <a:pt x="9" y="74"/>
                  </a:lnTo>
                  <a:lnTo>
                    <a:pt x="7" y="72"/>
                  </a:lnTo>
                  <a:lnTo>
                    <a:pt x="9" y="71"/>
                  </a:lnTo>
                  <a:lnTo>
                    <a:pt x="7" y="69"/>
                  </a:lnTo>
                  <a:lnTo>
                    <a:pt x="7" y="67"/>
                  </a:lnTo>
                  <a:lnTo>
                    <a:pt x="6" y="65"/>
                  </a:lnTo>
                  <a:lnTo>
                    <a:pt x="6" y="65"/>
                  </a:lnTo>
                  <a:lnTo>
                    <a:pt x="6" y="62"/>
                  </a:lnTo>
                  <a:lnTo>
                    <a:pt x="4" y="60"/>
                  </a:lnTo>
                  <a:lnTo>
                    <a:pt x="4" y="60"/>
                  </a:lnTo>
                  <a:lnTo>
                    <a:pt x="4" y="59"/>
                  </a:lnTo>
                  <a:lnTo>
                    <a:pt x="4" y="57"/>
                  </a:lnTo>
                  <a:lnTo>
                    <a:pt x="4" y="53"/>
                  </a:lnTo>
                  <a:lnTo>
                    <a:pt x="0" y="47"/>
                  </a:lnTo>
                  <a:lnTo>
                    <a:pt x="0" y="40"/>
                  </a:lnTo>
                  <a:lnTo>
                    <a:pt x="59" y="40"/>
                  </a:lnTo>
                  <a:lnTo>
                    <a:pt x="139" y="40"/>
                  </a:lnTo>
                  <a:lnTo>
                    <a:pt x="147" y="40"/>
                  </a:lnTo>
                  <a:lnTo>
                    <a:pt x="147" y="0"/>
                  </a:lnTo>
                  <a:lnTo>
                    <a:pt x="171" y="4"/>
                  </a:lnTo>
                  <a:lnTo>
                    <a:pt x="182" y="52"/>
                  </a:lnTo>
                  <a:lnTo>
                    <a:pt x="182" y="64"/>
                  </a:lnTo>
                  <a:lnTo>
                    <a:pt x="190" y="69"/>
                  </a:lnTo>
                  <a:lnTo>
                    <a:pt x="200" y="71"/>
                  </a:lnTo>
                  <a:lnTo>
                    <a:pt x="211" y="71"/>
                  </a:lnTo>
                  <a:lnTo>
                    <a:pt x="214" y="76"/>
                  </a:lnTo>
                  <a:lnTo>
                    <a:pt x="243" y="77"/>
                  </a:lnTo>
                  <a:lnTo>
                    <a:pt x="245" y="89"/>
                  </a:lnTo>
                  <a:lnTo>
                    <a:pt x="248" y="89"/>
                  </a:lnTo>
                  <a:lnTo>
                    <a:pt x="267" y="88"/>
                  </a:lnTo>
                  <a:lnTo>
                    <a:pt x="271" y="86"/>
                  </a:lnTo>
                  <a:lnTo>
                    <a:pt x="271" y="81"/>
                  </a:lnTo>
                  <a:lnTo>
                    <a:pt x="281" y="76"/>
                  </a:lnTo>
                  <a:lnTo>
                    <a:pt x="296" y="76"/>
                  </a:lnTo>
                  <a:lnTo>
                    <a:pt x="306" y="76"/>
                  </a:lnTo>
                  <a:lnTo>
                    <a:pt x="324" y="84"/>
                  </a:lnTo>
                  <a:lnTo>
                    <a:pt x="329" y="84"/>
                  </a:lnTo>
                  <a:lnTo>
                    <a:pt x="330" y="88"/>
                  </a:lnTo>
                  <a:lnTo>
                    <a:pt x="325" y="89"/>
                  </a:lnTo>
                  <a:lnTo>
                    <a:pt x="325" y="93"/>
                  </a:lnTo>
                  <a:lnTo>
                    <a:pt x="341" y="94"/>
                  </a:lnTo>
                  <a:lnTo>
                    <a:pt x="344" y="98"/>
                  </a:lnTo>
                  <a:lnTo>
                    <a:pt x="342" y="103"/>
                  </a:lnTo>
                  <a:lnTo>
                    <a:pt x="351" y="118"/>
                  </a:lnTo>
                  <a:lnTo>
                    <a:pt x="358" y="115"/>
                  </a:lnTo>
                  <a:lnTo>
                    <a:pt x="354" y="110"/>
                  </a:lnTo>
                  <a:lnTo>
                    <a:pt x="356" y="103"/>
                  </a:lnTo>
                  <a:lnTo>
                    <a:pt x="368" y="101"/>
                  </a:lnTo>
                  <a:lnTo>
                    <a:pt x="373" y="103"/>
                  </a:lnTo>
                  <a:lnTo>
                    <a:pt x="378" y="113"/>
                  </a:lnTo>
                  <a:lnTo>
                    <a:pt x="392" y="117"/>
                  </a:lnTo>
                  <a:lnTo>
                    <a:pt x="399" y="118"/>
                  </a:lnTo>
                  <a:lnTo>
                    <a:pt x="399" y="127"/>
                  </a:lnTo>
                  <a:lnTo>
                    <a:pt x="409" y="127"/>
                  </a:lnTo>
                  <a:lnTo>
                    <a:pt x="409" y="134"/>
                  </a:lnTo>
                  <a:lnTo>
                    <a:pt x="433" y="129"/>
                  </a:lnTo>
                  <a:lnTo>
                    <a:pt x="448" y="117"/>
                  </a:lnTo>
                  <a:lnTo>
                    <a:pt x="459" y="110"/>
                  </a:lnTo>
                  <a:lnTo>
                    <a:pt x="469" y="127"/>
                  </a:lnTo>
                  <a:lnTo>
                    <a:pt x="481" y="122"/>
                  </a:lnTo>
                  <a:lnTo>
                    <a:pt x="482" y="125"/>
                  </a:lnTo>
                  <a:lnTo>
                    <a:pt x="512" y="122"/>
                  </a:lnTo>
                  <a:lnTo>
                    <a:pt x="520" y="123"/>
                  </a:lnTo>
                  <a:lnTo>
                    <a:pt x="523" y="130"/>
                  </a:lnTo>
                  <a:lnTo>
                    <a:pt x="530" y="132"/>
                  </a:lnTo>
                  <a:lnTo>
                    <a:pt x="541" y="129"/>
                  </a:lnTo>
                  <a:lnTo>
                    <a:pt x="558" y="130"/>
                  </a:lnTo>
                  <a:lnTo>
                    <a:pt x="551" y="132"/>
                  </a:lnTo>
                  <a:lnTo>
                    <a:pt x="549" y="135"/>
                  </a:lnTo>
                  <a:lnTo>
                    <a:pt x="523" y="151"/>
                  </a:lnTo>
                  <a:lnTo>
                    <a:pt x="488" y="166"/>
                  </a:lnTo>
                  <a:lnTo>
                    <a:pt x="452" y="194"/>
                  </a:lnTo>
                  <a:lnTo>
                    <a:pt x="421" y="231"/>
                  </a:lnTo>
                  <a:lnTo>
                    <a:pt x="397" y="253"/>
                  </a:lnTo>
                  <a:lnTo>
                    <a:pt x="377" y="269"/>
                  </a:lnTo>
                  <a:lnTo>
                    <a:pt x="368" y="282"/>
                  </a:lnTo>
                  <a:lnTo>
                    <a:pt x="361" y="282"/>
                  </a:lnTo>
                  <a:lnTo>
                    <a:pt x="363" y="284"/>
                  </a:lnTo>
                  <a:lnTo>
                    <a:pt x="365" y="310"/>
                  </a:lnTo>
                  <a:lnTo>
                    <a:pt x="365" y="337"/>
                  </a:lnTo>
                  <a:lnTo>
                    <a:pt x="365" y="346"/>
                  </a:lnTo>
                  <a:lnTo>
                    <a:pt x="363" y="347"/>
                  </a:lnTo>
                  <a:lnTo>
                    <a:pt x="361" y="352"/>
                  </a:lnTo>
                  <a:lnTo>
                    <a:pt x="359" y="352"/>
                  </a:lnTo>
                  <a:lnTo>
                    <a:pt x="356" y="352"/>
                  </a:lnTo>
                  <a:lnTo>
                    <a:pt x="353" y="356"/>
                  </a:lnTo>
                  <a:lnTo>
                    <a:pt x="347" y="356"/>
                  </a:lnTo>
                  <a:lnTo>
                    <a:pt x="346" y="359"/>
                  </a:lnTo>
                  <a:lnTo>
                    <a:pt x="337" y="364"/>
                  </a:lnTo>
                  <a:lnTo>
                    <a:pt x="334" y="366"/>
                  </a:lnTo>
                  <a:lnTo>
                    <a:pt x="332" y="371"/>
                  </a:lnTo>
                  <a:lnTo>
                    <a:pt x="332" y="373"/>
                  </a:lnTo>
                  <a:lnTo>
                    <a:pt x="330" y="382"/>
                  </a:lnTo>
                  <a:lnTo>
                    <a:pt x="325" y="385"/>
                  </a:lnTo>
                  <a:lnTo>
                    <a:pt x="324" y="387"/>
                  </a:lnTo>
                  <a:lnTo>
                    <a:pt x="322" y="394"/>
                  </a:lnTo>
                  <a:lnTo>
                    <a:pt x="324" y="400"/>
                  </a:lnTo>
                  <a:lnTo>
                    <a:pt x="327" y="402"/>
                  </a:lnTo>
                  <a:lnTo>
                    <a:pt x="332" y="402"/>
                  </a:lnTo>
                  <a:lnTo>
                    <a:pt x="334" y="404"/>
                  </a:lnTo>
                  <a:lnTo>
                    <a:pt x="337" y="412"/>
                  </a:lnTo>
                  <a:lnTo>
                    <a:pt x="341" y="414"/>
                  </a:lnTo>
                  <a:lnTo>
                    <a:pt x="341" y="416"/>
                  </a:lnTo>
                  <a:lnTo>
                    <a:pt x="341" y="419"/>
                  </a:lnTo>
                  <a:lnTo>
                    <a:pt x="339" y="423"/>
                  </a:lnTo>
                  <a:lnTo>
                    <a:pt x="337" y="428"/>
                  </a:lnTo>
                  <a:lnTo>
                    <a:pt x="334" y="431"/>
                  </a:lnTo>
                  <a:lnTo>
                    <a:pt x="334" y="440"/>
                  </a:lnTo>
                  <a:lnTo>
                    <a:pt x="334" y="443"/>
                  </a:lnTo>
                  <a:lnTo>
                    <a:pt x="334" y="445"/>
                  </a:lnTo>
                  <a:lnTo>
                    <a:pt x="334" y="450"/>
                  </a:lnTo>
                  <a:lnTo>
                    <a:pt x="330" y="455"/>
                  </a:lnTo>
                  <a:lnTo>
                    <a:pt x="334" y="460"/>
                  </a:lnTo>
                  <a:lnTo>
                    <a:pt x="334" y="462"/>
                  </a:lnTo>
                  <a:lnTo>
                    <a:pt x="335" y="469"/>
                  </a:lnTo>
                  <a:lnTo>
                    <a:pt x="334" y="472"/>
                  </a:lnTo>
                  <a:lnTo>
                    <a:pt x="334" y="474"/>
                  </a:lnTo>
                  <a:lnTo>
                    <a:pt x="334" y="477"/>
                  </a:lnTo>
                  <a:lnTo>
                    <a:pt x="334" y="481"/>
                  </a:lnTo>
                  <a:lnTo>
                    <a:pt x="332" y="489"/>
                  </a:lnTo>
                  <a:lnTo>
                    <a:pt x="337" y="493"/>
                  </a:lnTo>
                  <a:lnTo>
                    <a:pt x="346" y="501"/>
                  </a:lnTo>
                  <a:lnTo>
                    <a:pt x="347" y="505"/>
                  </a:lnTo>
                  <a:lnTo>
                    <a:pt x="354" y="508"/>
                  </a:lnTo>
                  <a:lnTo>
                    <a:pt x="368" y="510"/>
                  </a:lnTo>
                  <a:lnTo>
                    <a:pt x="370" y="510"/>
                  </a:lnTo>
                  <a:lnTo>
                    <a:pt x="371" y="515"/>
                  </a:lnTo>
                  <a:lnTo>
                    <a:pt x="375" y="520"/>
                  </a:lnTo>
                  <a:lnTo>
                    <a:pt x="378" y="522"/>
                  </a:lnTo>
                  <a:lnTo>
                    <a:pt x="387" y="523"/>
                  </a:lnTo>
                  <a:lnTo>
                    <a:pt x="397" y="529"/>
                  </a:lnTo>
                  <a:lnTo>
                    <a:pt x="399" y="530"/>
                  </a:lnTo>
                  <a:lnTo>
                    <a:pt x="400" y="534"/>
                  </a:lnTo>
                  <a:lnTo>
                    <a:pt x="400" y="537"/>
                  </a:lnTo>
                  <a:lnTo>
                    <a:pt x="404" y="539"/>
                  </a:lnTo>
                  <a:lnTo>
                    <a:pt x="407" y="547"/>
                  </a:lnTo>
                  <a:lnTo>
                    <a:pt x="414" y="552"/>
                  </a:lnTo>
                  <a:lnTo>
                    <a:pt x="423" y="559"/>
                  </a:lnTo>
                  <a:lnTo>
                    <a:pt x="426" y="561"/>
                  </a:lnTo>
                  <a:lnTo>
                    <a:pt x="429" y="563"/>
                  </a:lnTo>
                  <a:lnTo>
                    <a:pt x="433" y="563"/>
                  </a:lnTo>
                  <a:lnTo>
                    <a:pt x="440" y="568"/>
                  </a:lnTo>
                  <a:lnTo>
                    <a:pt x="445" y="571"/>
                  </a:lnTo>
                  <a:lnTo>
                    <a:pt x="452" y="581"/>
                  </a:lnTo>
                  <a:lnTo>
                    <a:pt x="455" y="588"/>
                  </a:lnTo>
                  <a:lnTo>
                    <a:pt x="455" y="595"/>
                  </a:lnTo>
                  <a:lnTo>
                    <a:pt x="455" y="600"/>
                  </a:lnTo>
                  <a:lnTo>
                    <a:pt x="457" y="607"/>
                  </a:lnTo>
                  <a:lnTo>
                    <a:pt x="457" y="614"/>
                  </a:lnTo>
                  <a:lnTo>
                    <a:pt x="459" y="619"/>
                  </a:lnTo>
                  <a:lnTo>
                    <a:pt x="428" y="619"/>
                  </a:lnTo>
                  <a:lnTo>
                    <a:pt x="419" y="62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8" name="Freeform 137"/>
            <p:cNvSpPr>
              <a:spLocks/>
            </p:cNvSpPr>
            <p:nvPr/>
          </p:nvSpPr>
          <p:spPr bwMode="gray">
            <a:xfrm>
              <a:off x="1699895" y="2020295"/>
              <a:ext cx="1104639" cy="924290"/>
            </a:xfrm>
            <a:custGeom>
              <a:avLst/>
              <a:gdLst/>
              <a:ahLst/>
              <a:cxnLst>
                <a:cxn ang="0">
                  <a:pos x="62" y="443"/>
                </a:cxn>
                <a:cxn ang="0">
                  <a:pos x="0" y="396"/>
                </a:cxn>
                <a:cxn ang="0">
                  <a:pos x="9" y="333"/>
                </a:cxn>
                <a:cxn ang="0">
                  <a:pos x="50" y="275"/>
                </a:cxn>
                <a:cxn ang="0">
                  <a:pos x="105" y="155"/>
                </a:cxn>
                <a:cxn ang="0">
                  <a:pos x="135" y="73"/>
                </a:cxn>
                <a:cxn ang="0">
                  <a:pos x="139" y="65"/>
                </a:cxn>
                <a:cxn ang="0">
                  <a:pos x="147" y="26"/>
                </a:cxn>
                <a:cxn ang="0">
                  <a:pos x="170" y="10"/>
                </a:cxn>
                <a:cxn ang="0">
                  <a:pos x="178" y="10"/>
                </a:cxn>
                <a:cxn ang="0">
                  <a:pos x="207" y="22"/>
                </a:cxn>
                <a:cxn ang="0">
                  <a:pos x="223" y="24"/>
                </a:cxn>
                <a:cxn ang="0">
                  <a:pos x="233" y="51"/>
                </a:cxn>
                <a:cxn ang="0">
                  <a:pos x="231" y="67"/>
                </a:cxn>
                <a:cxn ang="0">
                  <a:pos x="233" y="85"/>
                </a:cxn>
                <a:cxn ang="0">
                  <a:pos x="255" y="99"/>
                </a:cxn>
                <a:cxn ang="0">
                  <a:pos x="282" y="101"/>
                </a:cxn>
                <a:cxn ang="0">
                  <a:pos x="298" y="97"/>
                </a:cxn>
                <a:cxn ang="0">
                  <a:pos x="325" y="104"/>
                </a:cxn>
                <a:cxn ang="0">
                  <a:pos x="337" y="109"/>
                </a:cxn>
                <a:cxn ang="0">
                  <a:pos x="342" y="120"/>
                </a:cxn>
                <a:cxn ang="0">
                  <a:pos x="358" y="120"/>
                </a:cxn>
                <a:cxn ang="0">
                  <a:pos x="380" y="118"/>
                </a:cxn>
                <a:cxn ang="0">
                  <a:pos x="393" y="123"/>
                </a:cxn>
                <a:cxn ang="0">
                  <a:pos x="421" y="123"/>
                </a:cxn>
                <a:cxn ang="0">
                  <a:pos x="445" y="121"/>
                </a:cxn>
                <a:cxn ang="0">
                  <a:pos x="470" y="121"/>
                </a:cxn>
                <a:cxn ang="0">
                  <a:pos x="496" y="125"/>
                </a:cxn>
                <a:cxn ang="0">
                  <a:pos x="583" y="137"/>
                </a:cxn>
                <a:cxn ang="0">
                  <a:pos x="662" y="155"/>
                </a:cxn>
                <a:cxn ang="0">
                  <a:pos x="669" y="176"/>
                </a:cxn>
                <a:cxn ang="0">
                  <a:pos x="684" y="191"/>
                </a:cxn>
                <a:cxn ang="0">
                  <a:pos x="677" y="214"/>
                </a:cxn>
                <a:cxn ang="0">
                  <a:pos x="655" y="248"/>
                </a:cxn>
                <a:cxn ang="0">
                  <a:pos x="648" y="256"/>
                </a:cxn>
                <a:cxn ang="0">
                  <a:pos x="643" y="263"/>
                </a:cxn>
                <a:cxn ang="0">
                  <a:pos x="640" y="273"/>
                </a:cxn>
                <a:cxn ang="0">
                  <a:pos x="624" y="284"/>
                </a:cxn>
                <a:cxn ang="0">
                  <a:pos x="611" y="302"/>
                </a:cxn>
                <a:cxn ang="0">
                  <a:pos x="604" y="309"/>
                </a:cxn>
                <a:cxn ang="0">
                  <a:pos x="600" y="328"/>
                </a:cxn>
                <a:cxn ang="0">
                  <a:pos x="607" y="333"/>
                </a:cxn>
                <a:cxn ang="0">
                  <a:pos x="612" y="337"/>
                </a:cxn>
                <a:cxn ang="0">
                  <a:pos x="619" y="345"/>
                </a:cxn>
                <a:cxn ang="0">
                  <a:pos x="612" y="355"/>
                </a:cxn>
                <a:cxn ang="0">
                  <a:pos x="609" y="374"/>
                </a:cxn>
                <a:cxn ang="0">
                  <a:pos x="604" y="379"/>
                </a:cxn>
                <a:cxn ang="0">
                  <a:pos x="599" y="396"/>
                </a:cxn>
                <a:cxn ang="0">
                  <a:pos x="380" y="531"/>
                </a:cxn>
              </a:cxnLst>
              <a:rect l="0" t="0" r="r" b="b"/>
              <a:pathLst>
                <a:path w="686" h="574">
                  <a:moveTo>
                    <a:pt x="219" y="489"/>
                  </a:moveTo>
                  <a:lnTo>
                    <a:pt x="156" y="470"/>
                  </a:lnTo>
                  <a:lnTo>
                    <a:pt x="84" y="449"/>
                  </a:lnTo>
                  <a:lnTo>
                    <a:pt x="62" y="443"/>
                  </a:lnTo>
                  <a:lnTo>
                    <a:pt x="38" y="436"/>
                  </a:lnTo>
                  <a:lnTo>
                    <a:pt x="9" y="427"/>
                  </a:lnTo>
                  <a:lnTo>
                    <a:pt x="0" y="413"/>
                  </a:lnTo>
                  <a:lnTo>
                    <a:pt x="0" y="396"/>
                  </a:lnTo>
                  <a:lnTo>
                    <a:pt x="6" y="378"/>
                  </a:lnTo>
                  <a:lnTo>
                    <a:pt x="12" y="366"/>
                  </a:lnTo>
                  <a:lnTo>
                    <a:pt x="14" y="359"/>
                  </a:lnTo>
                  <a:lnTo>
                    <a:pt x="9" y="333"/>
                  </a:lnTo>
                  <a:lnTo>
                    <a:pt x="19" y="321"/>
                  </a:lnTo>
                  <a:lnTo>
                    <a:pt x="36" y="292"/>
                  </a:lnTo>
                  <a:lnTo>
                    <a:pt x="35" y="289"/>
                  </a:lnTo>
                  <a:lnTo>
                    <a:pt x="50" y="275"/>
                  </a:lnTo>
                  <a:lnTo>
                    <a:pt x="58" y="261"/>
                  </a:lnTo>
                  <a:lnTo>
                    <a:pt x="70" y="237"/>
                  </a:lnTo>
                  <a:lnTo>
                    <a:pt x="88" y="195"/>
                  </a:lnTo>
                  <a:lnTo>
                    <a:pt x="105" y="155"/>
                  </a:lnTo>
                  <a:lnTo>
                    <a:pt x="108" y="140"/>
                  </a:lnTo>
                  <a:lnTo>
                    <a:pt x="118" y="120"/>
                  </a:lnTo>
                  <a:lnTo>
                    <a:pt x="130" y="94"/>
                  </a:lnTo>
                  <a:lnTo>
                    <a:pt x="135" y="73"/>
                  </a:lnTo>
                  <a:lnTo>
                    <a:pt x="139" y="72"/>
                  </a:lnTo>
                  <a:lnTo>
                    <a:pt x="141" y="77"/>
                  </a:lnTo>
                  <a:lnTo>
                    <a:pt x="144" y="75"/>
                  </a:lnTo>
                  <a:lnTo>
                    <a:pt x="139" y="65"/>
                  </a:lnTo>
                  <a:lnTo>
                    <a:pt x="146" y="51"/>
                  </a:lnTo>
                  <a:lnTo>
                    <a:pt x="144" y="44"/>
                  </a:lnTo>
                  <a:lnTo>
                    <a:pt x="149" y="34"/>
                  </a:lnTo>
                  <a:lnTo>
                    <a:pt x="147" y="26"/>
                  </a:lnTo>
                  <a:lnTo>
                    <a:pt x="156" y="20"/>
                  </a:lnTo>
                  <a:lnTo>
                    <a:pt x="158" y="0"/>
                  </a:lnTo>
                  <a:lnTo>
                    <a:pt x="168" y="14"/>
                  </a:lnTo>
                  <a:lnTo>
                    <a:pt x="170" y="10"/>
                  </a:lnTo>
                  <a:lnTo>
                    <a:pt x="168" y="5"/>
                  </a:lnTo>
                  <a:lnTo>
                    <a:pt x="173" y="3"/>
                  </a:lnTo>
                  <a:lnTo>
                    <a:pt x="175" y="8"/>
                  </a:lnTo>
                  <a:lnTo>
                    <a:pt x="178" y="10"/>
                  </a:lnTo>
                  <a:lnTo>
                    <a:pt x="192" y="7"/>
                  </a:lnTo>
                  <a:lnTo>
                    <a:pt x="200" y="19"/>
                  </a:lnTo>
                  <a:lnTo>
                    <a:pt x="204" y="20"/>
                  </a:lnTo>
                  <a:lnTo>
                    <a:pt x="207" y="22"/>
                  </a:lnTo>
                  <a:lnTo>
                    <a:pt x="211" y="20"/>
                  </a:lnTo>
                  <a:lnTo>
                    <a:pt x="214" y="19"/>
                  </a:lnTo>
                  <a:lnTo>
                    <a:pt x="217" y="20"/>
                  </a:lnTo>
                  <a:lnTo>
                    <a:pt x="223" y="24"/>
                  </a:lnTo>
                  <a:lnTo>
                    <a:pt x="226" y="31"/>
                  </a:lnTo>
                  <a:lnTo>
                    <a:pt x="231" y="36"/>
                  </a:lnTo>
                  <a:lnTo>
                    <a:pt x="231" y="41"/>
                  </a:lnTo>
                  <a:lnTo>
                    <a:pt x="233" y="51"/>
                  </a:lnTo>
                  <a:lnTo>
                    <a:pt x="233" y="55"/>
                  </a:lnTo>
                  <a:lnTo>
                    <a:pt x="233" y="60"/>
                  </a:lnTo>
                  <a:lnTo>
                    <a:pt x="233" y="61"/>
                  </a:lnTo>
                  <a:lnTo>
                    <a:pt x="231" y="67"/>
                  </a:lnTo>
                  <a:lnTo>
                    <a:pt x="231" y="72"/>
                  </a:lnTo>
                  <a:lnTo>
                    <a:pt x="229" y="75"/>
                  </a:lnTo>
                  <a:lnTo>
                    <a:pt x="228" y="82"/>
                  </a:lnTo>
                  <a:lnTo>
                    <a:pt x="233" y="85"/>
                  </a:lnTo>
                  <a:lnTo>
                    <a:pt x="235" y="89"/>
                  </a:lnTo>
                  <a:lnTo>
                    <a:pt x="241" y="92"/>
                  </a:lnTo>
                  <a:lnTo>
                    <a:pt x="248" y="97"/>
                  </a:lnTo>
                  <a:lnTo>
                    <a:pt x="255" y="99"/>
                  </a:lnTo>
                  <a:lnTo>
                    <a:pt x="258" y="102"/>
                  </a:lnTo>
                  <a:lnTo>
                    <a:pt x="262" y="104"/>
                  </a:lnTo>
                  <a:lnTo>
                    <a:pt x="276" y="102"/>
                  </a:lnTo>
                  <a:lnTo>
                    <a:pt x="282" y="101"/>
                  </a:lnTo>
                  <a:lnTo>
                    <a:pt x="284" y="101"/>
                  </a:lnTo>
                  <a:lnTo>
                    <a:pt x="288" y="101"/>
                  </a:lnTo>
                  <a:lnTo>
                    <a:pt x="293" y="97"/>
                  </a:lnTo>
                  <a:lnTo>
                    <a:pt x="298" y="97"/>
                  </a:lnTo>
                  <a:lnTo>
                    <a:pt x="301" y="99"/>
                  </a:lnTo>
                  <a:lnTo>
                    <a:pt x="306" y="101"/>
                  </a:lnTo>
                  <a:lnTo>
                    <a:pt x="320" y="101"/>
                  </a:lnTo>
                  <a:lnTo>
                    <a:pt x="325" y="104"/>
                  </a:lnTo>
                  <a:lnTo>
                    <a:pt x="327" y="106"/>
                  </a:lnTo>
                  <a:lnTo>
                    <a:pt x="330" y="106"/>
                  </a:lnTo>
                  <a:lnTo>
                    <a:pt x="334" y="108"/>
                  </a:lnTo>
                  <a:lnTo>
                    <a:pt x="337" y="109"/>
                  </a:lnTo>
                  <a:lnTo>
                    <a:pt x="340" y="113"/>
                  </a:lnTo>
                  <a:lnTo>
                    <a:pt x="340" y="113"/>
                  </a:lnTo>
                  <a:lnTo>
                    <a:pt x="340" y="118"/>
                  </a:lnTo>
                  <a:lnTo>
                    <a:pt x="342" y="120"/>
                  </a:lnTo>
                  <a:lnTo>
                    <a:pt x="346" y="120"/>
                  </a:lnTo>
                  <a:lnTo>
                    <a:pt x="351" y="118"/>
                  </a:lnTo>
                  <a:lnTo>
                    <a:pt x="354" y="118"/>
                  </a:lnTo>
                  <a:lnTo>
                    <a:pt x="358" y="120"/>
                  </a:lnTo>
                  <a:lnTo>
                    <a:pt x="359" y="120"/>
                  </a:lnTo>
                  <a:lnTo>
                    <a:pt x="363" y="121"/>
                  </a:lnTo>
                  <a:lnTo>
                    <a:pt x="366" y="120"/>
                  </a:lnTo>
                  <a:lnTo>
                    <a:pt x="380" y="118"/>
                  </a:lnTo>
                  <a:lnTo>
                    <a:pt x="383" y="116"/>
                  </a:lnTo>
                  <a:lnTo>
                    <a:pt x="385" y="116"/>
                  </a:lnTo>
                  <a:lnTo>
                    <a:pt x="390" y="118"/>
                  </a:lnTo>
                  <a:lnTo>
                    <a:pt x="393" y="123"/>
                  </a:lnTo>
                  <a:lnTo>
                    <a:pt x="397" y="125"/>
                  </a:lnTo>
                  <a:lnTo>
                    <a:pt x="409" y="125"/>
                  </a:lnTo>
                  <a:lnTo>
                    <a:pt x="416" y="126"/>
                  </a:lnTo>
                  <a:lnTo>
                    <a:pt x="421" y="123"/>
                  </a:lnTo>
                  <a:lnTo>
                    <a:pt x="428" y="123"/>
                  </a:lnTo>
                  <a:lnTo>
                    <a:pt x="433" y="121"/>
                  </a:lnTo>
                  <a:lnTo>
                    <a:pt x="443" y="121"/>
                  </a:lnTo>
                  <a:lnTo>
                    <a:pt x="445" y="121"/>
                  </a:lnTo>
                  <a:lnTo>
                    <a:pt x="457" y="123"/>
                  </a:lnTo>
                  <a:lnTo>
                    <a:pt x="462" y="118"/>
                  </a:lnTo>
                  <a:lnTo>
                    <a:pt x="465" y="118"/>
                  </a:lnTo>
                  <a:lnTo>
                    <a:pt x="470" y="121"/>
                  </a:lnTo>
                  <a:lnTo>
                    <a:pt x="476" y="120"/>
                  </a:lnTo>
                  <a:lnTo>
                    <a:pt x="481" y="121"/>
                  </a:lnTo>
                  <a:lnTo>
                    <a:pt x="486" y="121"/>
                  </a:lnTo>
                  <a:lnTo>
                    <a:pt x="496" y="125"/>
                  </a:lnTo>
                  <a:lnTo>
                    <a:pt x="498" y="125"/>
                  </a:lnTo>
                  <a:lnTo>
                    <a:pt x="506" y="123"/>
                  </a:lnTo>
                  <a:lnTo>
                    <a:pt x="511" y="120"/>
                  </a:lnTo>
                  <a:lnTo>
                    <a:pt x="583" y="137"/>
                  </a:lnTo>
                  <a:lnTo>
                    <a:pt x="585" y="137"/>
                  </a:lnTo>
                  <a:lnTo>
                    <a:pt x="612" y="143"/>
                  </a:lnTo>
                  <a:lnTo>
                    <a:pt x="621" y="145"/>
                  </a:lnTo>
                  <a:lnTo>
                    <a:pt x="662" y="155"/>
                  </a:lnTo>
                  <a:lnTo>
                    <a:pt x="664" y="157"/>
                  </a:lnTo>
                  <a:lnTo>
                    <a:pt x="664" y="166"/>
                  </a:lnTo>
                  <a:lnTo>
                    <a:pt x="667" y="173"/>
                  </a:lnTo>
                  <a:lnTo>
                    <a:pt x="669" y="176"/>
                  </a:lnTo>
                  <a:lnTo>
                    <a:pt x="674" y="178"/>
                  </a:lnTo>
                  <a:lnTo>
                    <a:pt x="675" y="183"/>
                  </a:lnTo>
                  <a:lnTo>
                    <a:pt x="682" y="188"/>
                  </a:lnTo>
                  <a:lnTo>
                    <a:pt x="684" y="191"/>
                  </a:lnTo>
                  <a:lnTo>
                    <a:pt x="684" y="196"/>
                  </a:lnTo>
                  <a:lnTo>
                    <a:pt x="686" y="203"/>
                  </a:lnTo>
                  <a:lnTo>
                    <a:pt x="684" y="207"/>
                  </a:lnTo>
                  <a:lnTo>
                    <a:pt x="677" y="214"/>
                  </a:lnTo>
                  <a:lnTo>
                    <a:pt x="675" y="217"/>
                  </a:lnTo>
                  <a:lnTo>
                    <a:pt x="665" y="229"/>
                  </a:lnTo>
                  <a:lnTo>
                    <a:pt x="662" y="236"/>
                  </a:lnTo>
                  <a:lnTo>
                    <a:pt x="655" y="248"/>
                  </a:lnTo>
                  <a:lnTo>
                    <a:pt x="653" y="251"/>
                  </a:lnTo>
                  <a:lnTo>
                    <a:pt x="652" y="251"/>
                  </a:lnTo>
                  <a:lnTo>
                    <a:pt x="650" y="255"/>
                  </a:lnTo>
                  <a:lnTo>
                    <a:pt x="648" y="256"/>
                  </a:lnTo>
                  <a:lnTo>
                    <a:pt x="643" y="258"/>
                  </a:lnTo>
                  <a:lnTo>
                    <a:pt x="643" y="261"/>
                  </a:lnTo>
                  <a:lnTo>
                    <a:pt x="643" y="263"/>
                  </a:lnTo>
                  <a:lnTo>
                    <a:pt x="643" y="263"/>
                  </a:lnTo>
                  <a:lnTo>
                    <a:pt x="645" y="263"/>
                  </a:lnTo>
                  <a:lnTo>
                    <a:pt x="643" y="265"/>
                  </a:lnTo>
                  <a:lnTo>
                    <a:pt x="643" y="270"/>
                  </a:lnTo>
                  <a:lnTo>
                    <a:pt x="640" y="273"/>
                  </a:lnTo>
                  <a:lnTo>
                    <a:pt x="636" y="275"/>
                  </a:lnTo>
                  <a:lnTo>
                    <a:pt x="634" y="277"/>
                  </a:lnTo>
                  <a:lnTo>
                    <a:pt x="631" y="282"/>
                  </a:lnTo>
                  <a:lnTo>
                    <a:pt x="624" y="284"/>
                  </a:lnTo>
                  <a:lnTo>
                    <a:pt x="621" y="289"/>
                  </a:lnTo>
                  <a:lnTo>
                    <a:pt x="619" y="289"/>
                  </a:lnTo>
                  <a:lnTo>
                    <a:pt x="612" y="301"/>
                  </a:lnTo>
                  <a:lnTo>
                    <a:pt x="611" y="302"/>
                  </a:lnTo>
                  <a:lnTo>
                    <a:pt x="611" y="304"/>
                  </a:lnTo>
                  <a:lnTo>
                    <a:pt x="607" y="306"/>
                  </a:lnTo>
                  <a:lnTo>
                    <a:pt x="605" y="309"/>
                  </a:lnTo>
                  <a:lnTo>
                    <a:pt x="604" y="309"/>
                  </a:lnTo>
                  <a:lnTo>
                    <a:pt x="602" y="314"/>
                  </a:lnTo>
                  <a:lnTo>
                    <a:pt x="600" y="318"/>
                  </a:lnTo>
                  <a:lnTo>
                    <a:pt x="602" y="325"/>
                  </a:lnTo>
                  <a:lnTo>
                    <a:pt x="600" y="328"/>
                  </a:lnTo>
                  <a:lnTo>
                    <a:pt x="600" y="330"/>
                  </a:lnTo>
                  <a:lnTo>
                    <a:pt x="602" y="333"/>
                  </a:lnTo>
                  <a:lnTo>
                    <a:pt x="604" y="335"/>
                  </a:lnTo>
                  <a:lnTo>
                    <a:pt x="607" y="333"/>
                  </a:lnTo>
                  <a:lnTo>
                    <a:pt x="607" y="333"/>
                  </a:lnTo>
                  <a:lnTo>
                    <a:pt x="609" y="337"/>
                  </a:lnTo>
                  <a:lnTo>
                    <a:pt x="611" y="338"/>
                  </a:lnTo>
                  <a:lnTo>
                    <a:pt x="612" y="337"/>
                  </a:lnTo>
                  <a:lnTo>
                    <a:pt x="616" y="337"/>
                  </a:lnTo>
                  <a:lnTo>
                    <a:pt x="616" y="340"/>
                  </a:lnTo>
                  <a:lnTo>
                    <a:pt x="616" y="342"/>
                  </a:lnTo>
                  <a:lnTo>
                    <a:pt x="619" y="345"/>
                  </a:lnTo>
                  <a:lnTo>
                    <a:pt x="619" y="349"/>
                  </a:lnTo>
                  <a:lnTo>
                    <a:pt x="616" y="354"/>
                  </a:lnTo>
                  <a:lnTo>
                    <a:pt x="614" y="354"/>
                  </a:lnTo>
                  <a:lnTo>
                    <a:pt x="612" y="355"/>
                  </a:lnTo>
                  <a:lnTo>
                    <a:pt x="614" y="362"/>
                  </a:lnTo>
                  <a:lnTo>
                    <a:pt x="611" y="367"/>
                  </a:lnTo>
                  <a:lnTo>
                    <a:pt x="611" y="371"/>
                  </a:lnTo>
                  <a:lnTo>
                    <a:pt x="609" y="374"/>
                  </a:lnTo>
                  <a:lnTo>
                    <a:pt x="607" y="376"/>
                  </a:lnTo>
                  <a:lnTo>
                    <a:pt x="607" y="378"/>
                  </a:lnTo>
                  <a:lnTo>
                    <a:pt x="604" y="378"/>
                  </a:lnTo>
                  <a:lnTo>
                    <a:pt x="604" y="379"/>
                  </a:lnTo>
                  <a:lnTo>
                    <a:pt x="602" y="381"/>
                  </a:lnTo>
                  <a:lnTo>
                    <a:pt x="602" y="383"/>
                  </a:lnTo>
                  <a:lnTo>
                    <a:pt x="602" y="388"/>
                  </a:lnTo>
                  <a:lnTo>
                    <a:pt x="599" y="396"/>
                  </a:lnTo>
                  <a:lnTo>
                    <a:pt x="559" y="574"/>
                  </a:lnTo>
                  <a:lnTo>
                    <a:pt x="470" y="552"/>
                  </a:lnTo>
                  <a:lnTo>
                    <a:pt x="383" y="531"/>
                  </a:lnTo>
                  <a:lnTo>
                    <a:pt x="380" y="531"/>
                  </a:lnTo>
                  <a:lnTo>
                    <a:pt x="330" y="518"/>
                  </a:lnTo>
                  <a:lnTo>
                    <a:pt x="264" y="501"/>
                  </a:lnTo>
                  <a:lnTo>
                    <a:pt x="219" y="489"/>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39" name="Freeform 138"/>
            <p:cNvSpPr>
              <a:spLocks/>
            </p:cNvSpPr>
            <p:nvPr/>
          </p:nvSpPr>
          <p:spPr bwMode="gray">
            <a:xfrm>
              <a:off x="8184418" y="2269886"/>
              <a:ext cx="220606" cy="476638"/>
            </a:xfrm>
            <a:custGeom>
              <a:avLst/>
              <a:gdLst/>
              <a:ahLst/>
              <a:cxnLst>
                <a:cxn ang="0">
                  <a:pos x="17" y="296"/>
                </a:cxn>
                <a:cxn ang="0">
                  <a:pos x="14" y="293"/>
                </a:cxn>
                <a:cxn ang="0">
                  <a:pos x="10" y="289"/>
                </a:cxn>
                <a:cxn ang="0">
                  <a:pos x="5" y="282"/>
                </a:cxn>
                <a:cxn ang="0">
                  <a:pos x="5" y="274"/>
                </a:cxn>
                <a:cxn ang="0">
                  <a:pos x="9" y="270"/>
                </a:cxn>
                <a:cxn ang="0">
                  <a:pos x="7" y="262"/>
                </a:cxn>
                <a:cxn ang="0">
                  <a:pos x="7" y="255"/>
                </a:cxn>
                <a:cxn ang="0">
                  <a:pos x="5" y="241"/>
                </a:cxn>
                <a:cxn ang="0">
                  <a:pos x="3" y="233"/>
                </a:cxn>
                <a:cxn ang="0">
                  <a:pos x="2" y="226"/>
                </a:cxn>
                <a:cxn ang="0">
                  <a:pos x="2" y="214"/>
                </a:cxn>
                <a:cxn ang="0">
                  <a:pos x="0" y="206"/>
                </a:cxn>
                <a:cxn ang="0">
                  <a:pos x="2" y="192"/>
                </a:cxn>
                <a:cxn ang="0">
                  <a:pos x="7" y="183"/>
                </a:cxn>
                <a:cxn ang="0">
                  <a:pos x="9" y="178"/>
                </a:cxn>
                <a:cxn ang="0">
                  <a:pos x="10" y="166"/>
                </a:cxn>
                <a:cxn ang="0">
                  <a:pos x="10" y="159"/>
                </a:cxn>
                <a:cxn ang="0">
                  <a:pos x="9" y="158"/>
                </a:cxn>
                <a:cxn ang="0">
                  <a:pos x="10" y="153"/>
                </a:cxn>
                <a:cxn ang="0">
                  <a:pos x="12" y="144"/>
                </a:cxn>
                <a:cxn ang="0">
                  <a:pos x="10" y="142"/>
                </a:cxn>
                <a:cxn ang="0">
                  <a:pos x="7" y="135"/>
                </a:cxn>
                <a:cxn ang="0">
                  <a:pos x="5" y="127"/>
                </a:cxn>
                <a:cxn ang="0">
                  <a:pos x="9" y="120"/>
                </a:cxn>
                <a:cxn ang="0">
                  <a:pos x="14" y="117"/>
                </a:cxn>
                <a:cxn ang="0">
                  <a:pos x="21" y="113"/>
                </a:cxn>
                <a:cxn ang="0">
                  <a:pos x="24" y="108"/>
                </a:cxn>
                <a:cxn ang="0">
                  <a:pos x="31" y="101"/>
                </a:cxn>
                <a:cxn ang="0">
                  <a:pos x="31" y="98"/>
                </a:cxn>
                <a:cxn ang="0">
                  <a:pos x="34" y="94"/>
                </a:cxn>
                <a:cxn ang="0">
                  <a:pos x="32" y="89"/>
                </a:cxn>
                <a:cxn ang="0">
                  <a:pos x="36" y="84"/>
                </a:cxn>
                <a:cxn ang="0">
                  <a:pos x="31" y="79"/>
                </a:cxn>
                <a:cxn ang="0">
                  <a:pos x="27" y="76"/>
                </a:cxn>
                <a:cxn ang="0">
                  <a:pos x="26" y="65"/>
                </a:cxn>
                <a:cxn ang="0">
                  <a:pos x="29" y="50"/>
                </a:cxn>
                <a:cxn ang="0">
                  <a:pos x="24" y="43"/>
                </a:cxn>
                <a:cxn ang="0">
                  <a:pos x="24" y="35"/>
                </a:cxn>
                <a:cxn ang="0">
                  <a:pos x="27" y="18"/>
                </a:cxn>
                <a:cxn ang="0">
                  <a:pos x="29" y="14"/>
                </a:cxn>
                <a:cxn ang="0">
                  <a:pos x="46" y="9"/>
                </a:cxn>
                <a:cxn ang="0">
                  <a:pos x="70" y="65"/>
                </a:cxn>
                <a:cxn ang="0">
                  <a:pos x="97" y="156"/>
                </a:cxn>
                <a:cxn ang="0">
                  <a:pos x="106" y="178"/>
                </a:cxn>
                <a:cxn ang="0">
                  <a:pos x="108" y="182"/>
                </a:cxn>
                <a:cxn ang="0">
                  <a:pos x="108" y="188"/>
                </a:cxn>
                <a:cxn ang="0">
                  <a:pos x="109" y="197"/>
                </a:cxn>
                <a:cxn ang="0">
                  <a:pos x="118" y="206"/>
                </a:cxn>
                <a:cxn ang="0">
                  <a:pos x="126" y="209"/>
                </a:cxn>
                <a:cxn ang="0">
                  <a:pos x="130" y="221"/>
                </a:cxn>
                <a:cxn ang="0">
                  <a:pos x="126" y="224"/>
                </a:cxn>
                <a:cxn ang="0">
                  <a:pos x="126" y="229"/>
                </a:cxn>
                <a:cxn ang="0">
                  <a:pos x="137" y="226"/>
                </a:cxn>
                <a:cxn ang="0">
                  <a:pos x="135" y="250"/>
                </a:cxn>
                <a:cxn ang="0">
                  <a:pos x="128" y="248"/>
                </a:cxn>
                <a:cxn ang="0">
                  <a:pos x="120" y="260"/>
                </a:cxn>
                <a:cxn ang="0">
                  <a:pos x="111" y="262"/>
                </a:cxn>
                <a:cxn ang="0">
                  <a:pos x="108" y="269"/>
                </a:cxn>
                <a:cxn ang="0">
                  <a:pos x="106" y="276"/>
                </a:cxn>
                <a:cxn ang="0">
                  <a:pos x="56" y="288"/>
                </a:cxn>
              </a:cxnLst>
              <a:rect l="0" t="0" r="r" b="b"/>
              <a:pathLst>
                <a:path w="137" h="296">
                  <a:moveTo>
                    <a:pt x="29" y="293"/>
                  </a:moveTo>
                  <a:lnTo>
                    <a:pt x="17" y="296"/>
                  </a:lnTo>
                  <a:lnTo>
                    <a:pt x="15" y="293"/>
                  </a:lnTo>
                  <a:lnTo>
                    <a:pt x="14" y="293"/>
                  </a:lnTo>
                  <a:lnTo>
                    <a:pt x="12" y="293"/>
                  </a:lnTo>
                  <a:lnTo>
                    <a:pt x="10" y="289"/>
                  </a:lnTo>
                  <a:lnTo>
                    <a:pt x="9" y="289"/>
                  </a:lnTo>
                  <a:lnTo>
                    <a:pt x="5" y="282"/>
                  </a:lnTo>
                  <a:lnTo>
                    <a:pt x="7" y="277"/>
                  </a:lnTo>
                  <a:lnTo>
                    <a:pt x="5" y="274"/>
                  </a:lnTo>
                  <a:lnTo>
                    <a:pt x="7" y="272"/>
                  </a:lnTo>
                  <a:lnTo>
                    <a:pt x="9" y="270"/>
                  </a:lnTo>
                  <a:lnTo>
                    <a:pt x="9" y="267"/>
                  </a:lnTo>
                  <a:lnTo>
                    <a:pt x="7" y="262"/>
                  </a:lnTo>
                  <a:lnTo>
                    <a:pt x="9" y="258"/>
                  </a:lnTo>
                  <a:lnTo>
                    <a:pt x="7" y="255"/>
                  </a:lnTo>
                  <a:lnTo>
                    <a:pt x="5" y="250"/>
                  </a:lnTo>
                  <a:lnTo>
                    <a:pt x="5" y="241"/>
                  </a:lnTo>
                  <a:lnTo>
                    <a:pt x="5" y="233"/>
                  </a:lnTo>
                  <a:lnTo>
                    <a:pt x="3" y="233"/>
                  </a:lnTo>
                  <a:lnTo>
                    <a:pt x="3" y="229"/>
                  </a:lnTo>
                  <a:lnTo>
                    <a:pt x="2" y="226"/>
                  </a:lnTo>
                  <a:lnTo>
                    <a:pt x="3" y="223"/>
                  </a:lnTo>
                  <a:lnTo>
                    <a:pt x="2" y="214"/>
                  </a:lnTo>
                  <a:lnTo>
                    <a:pt x="0" y="212"/>
                  </a:lnTo>
                  <a:lnTo>
                    <a:pt x="0" y="206"/>
                  </a:lnTo>
                  <a:lnTo>
                    <a:pt x="2" y="202"/>
                  </a:lnTo>
                  <a:lnTo>
                    <a:pt x="2" y="192"/>
                  </a:lnTo>
                  <a:lnTo>
                    <a:pt x="5" y="187"/>
                  </a:lnTo>
                  <a:lnTo>
                    <a:pt x="7" y="183"/>
                  </a:lnTo>
                  <a:lnTo>
                    <a:pt x="7" y="182"/>
                  </a:lnTo>
                  <a:lnTo>
                    <a:pt x="9" y="178"/>
                  </a:lnTo>
                  <a:lnTo>
                    <a:pt x="7" y="170"/>
                  </a:lnTo>
                  <a:lnTo>
                    <a:pt x="10" y="166"/>
                  </a:lnTo>
                  <a:lnTo>
                    <a:pt x="10" y="163"/>
                  </a:lnTo>
                  <a:lnTo>
                    <a:pt x="10" y="159"/>
                  </a:lnTo>
                  <a:lnTo>
                    <a:pt x="9" y="158"/>
                  </a:lnTo>
                  <a:lnTo>
                    <a:pt x="9" y="158"/>
                  </a:lnTo>
                  <a:lnTo>
                    <a:pt x="10" y="154"/>
                  </a:lnTo>
                  <a:lnTo>
                    <a:pt x="10" y="153"/>
                  </a:lnTo>
                  <a:lnTo>
                    <a:pt x="12" y="146"/>
                  </a:lnTo>
                  <a:lnTo>
                    <a:pt x="12" y="144"/>
                  </a:lnTo>
                  <a:lnTo>
                    <a:pt x="10" y="144"/>
                  </a:lnTo>
                  <a:lnTo>
                    <a:pt x="10" y="142"/>
                  </a:lnTo>
                  <a:lnTo>
                    <a:pt x="9" y="139"/>
                  </a:lnTo>
                  <a:lnTo>
                    <a:pt x="7" y="135"/>
                  </a:lnTo>
                  <a:lnTo>
                    <a:pt x="7" y="130"/>
                  </a:lnTo>
                  <a:lnTo>
                    <a:pt x="5" y="127"/>
                  </a:lnTo>
                  <a:lnTo>
                    <a:pt x="5" y="123"/>
                  </a:lnTo>
                  <a:lnTo>
                    <a:pt x="9" y="120"/>
                  </a:lnTo>
                  <a:lnTo>
                    <a:pt x="12" y="118"/>
                  </a:lnTo>
                  <a:lnTo>
                    <a:pt x="14" y="117"/>
                  </a:lnTo>
                  <a:lnTo>
                    <a:pt x="21" y="115"/>
                  </a:lnTo>
                  <a:lnTo>
                    <a:pt x="21" y="113"/>
                  </a:lnTo>
                  <a:lnTo>
                    <a:pt x="21" y="110"/>
                  </a:lnTo>
                  <a:lnTo>
                    <a:pt x="24" y="108"/>
                  </a:lnTo>
                  <a:lnTo>
                    <a:pt x="29" y="103"/>
                  </a:lnTo>
                  <a:lnTo>
                    <a:pt x="31" y="101"/>
                  </a:lnTo>
                  <a:lnTo>
                    <a:pt x="31" y="98"/>
                  </a:lnTo>
                  <a:lnTo>
                    <a:pt x="31" y="98"/>
                  </a:lnTo>
                  <a:lnTo>
                    <a:pt x="32" y="96"/>
                  </a:lnTo>
                  <a:lnTo>
                    <a:pt x="34" y="94"/>
                  </a:lnTo>
                  <a:lnTo>
                    <a:pt x="34" y="91"/>
                  </a:lnTo>
                  <a:lnTo>
                    <a:pt x="32" y="89"/>
                  </a:lnTo>
                  <a:lnTo>
                    <a:pt x="32" y="89"/>
                  </a:lnTo>
                  <a:lnTo>
                    <a:pt x="36" y="84"/>
                  </a:lnTo>
                  <a:lnTo>
                    <a:pt x="34" y="82"/>
                  </a:lnTo>
                  <a:lnTo>
                    <a:pt x="31" y="79"/>
                  </a:lnTo>
                  <a:lnTo>
                    <a:pt x="29" y="77"/>
                  </a:lnTo>
                  <a:lnTo>
                    <a:pt x="27" y="76"/>
                  </a:lnTo>
                  <a:lnTo>
                    <a:pt x="24" y="69"/>
                  </a:lnTo>
                  <a:lnTo>
                    <a:pt x="26" y="65"/>
                  </a:lnTo>
                  <a:lnTo>
                    <a:pt x="26" y="60"/>
                  </a:lnTo>
                  <a:lnTo>
                    <a:pt x="29" y="50"/>
                  </a:lnTo>
                  <a:lnTo>
                    <a:pt x="27" y="47"/>
                  </a:lnTo>
                  <a:lnTo>
                    <a:pt x="24" y="43"/>
                  </a:lnTo>
                  <a:lnTo>
                    <a:pt x="26" y="40"/>
                  </a:lnTo>
                  <a:lnTo>
                    <a:pt x="24" y="35"/>
                  </a:lnTo>
                  <a:lnTo>
                    <a:pt x="29" y="26"/>
                  </a:lnTo>
                  <a:lnTo>
                    <a:pt x="27" y="18"/>
                  </a:lnTo>
                  <a:lnTo>
                    <a:pt x="24" y="14"/>
                  </a:lnTo>
                  <a:lnTo>
                    <a:pt x="29" y="14"/>
                  </a:lnTo>
                  <a:lnTo>
                    <a:pt x="34" y="6"/>
                  </a:lnTo>
                  <a:lnTo>
                    <a:pt x="46" y="9"/>
                  </a:lnTo>
                  <a:lnTo>
                    <a:pt x="48" y="0"/>
                  </a:lnTo>
                  <a:lnTo>
                    <a:pt x="70" y="65"/>
                  </a:lnTo>
                  <a:lnTo>
                    <a:pt x="82" y="105"/>
                  </a:lnTo>
                  <a:lnTo>
                    <a:pt x="97" y="156"/>
                  </a:lnTo>
                  <a:lnTo>
                    <a:pt x="104" y="178"/>
                  </a:lnTo>
                  <a:lnTo>
                    <a:pt x="106" y="178"/>
                  </a:lnTo>
                  <a:lnTo>
                    <a:pt x="108" y="180"/>
                  </a:lnTo>
                  <a:lnTo>
                    <a:pt x="108" y="182"/>
                  </a:lnTo>
                  <a:lnTo>
                    <a:pt x="108" y="183"/>
                  </a:lnTo>
                  <a:lnTo>
                    <a:pt x="108" y="188"/>
                  </a:lnTo>
                  <a:lnTo>
                    <a:pt x="109" y="192"/>
                  </a:lnTo>
                  <a:lnTo>
                    <a:pt x="109" y="197"/>
                  </a:lnTo>
                  <a:lnTo>
                    <a:pt x="111" y="199"/>
                  </a:lnTo>
                  <a:lnTo>
                    <a:pt x="118" y="206"/>
                  </a:lnTo>
                  <a:lnTo>
                    <a:pt x="118" y="207"/>
                  </a:lnTo>
                  <a:lnTo>
                    <a:pt x="126" y="209"/>
                  </a:lnTo>
                  <a:lnTo>
                    <a:pt x="128" y="217"/>
                  </a:lnTo>
                  <a:lnTo>
                    <a:pt x="130" y="221"/>
                  </a:lnTo>
                  <a:lnTo>
                    <a:pt x="125" y="223"/>
                  </a:lnTo>
                  <a:lnTo>
                    <a:pt x="126" y="224"/>
                  </a:lnTo>
                  <a:lnTo>
                    <a:pt x="125" y="228"/>
                  </a:lnTo>
                  <a:lnTo>
                    <a:pt x="126" y="229"/>
                  </a:lnTo>
                  <a:lnTo>
                    <a:pt x="132" y="224"/>
                  </a:lnTo>
                  <a:lnTo>
                    <a:pt x="137" y="226"/>
                  </a:lnTo>
                  <a:lnTo>
                    <a:pt x="137" y="248"/>
                  </a:lnTo>
                  <a:lnTo>
                    <a:pt x="135" y="250"/>
                  </a:lnTo>
                  <a:lnTo>
                    <a:pt x="130" y="248"/>
                  </a:lnTo>
                  <a:lnTo>
                    <a:pt x="128" y="248"/>
                  </a:lnTo>
                  <a:lnTo>
                    <a:pt x="121" y="253"/>
                  </a:lnTo>
                  <a:lnTo>
                    <a:pt x="120" y="260"/>
                  </a:lnTo>
                  <a:lnTo>
                    <a:pt x="115" y="260"/>
                  </a:lnTo>
                  <a:lnTo>
                    <a:pt x="111" y="262"/>
                  </a:lnTo>
                  <a:lnTo>
                    <a:pt x="113" y="269"/>
                  </a:lnTo>
                  <a:lnTo>
                    <a:pt x="108" y="269"/>
                  </a:lnTo>
                  <a:lnTo>
                    <a:pt x="108" y="272"/>
                  </a:lnTo>
                  <a:lnTo>
                    <a:pt x="106" y="276"/>
                  </a:lnTo>
                  <a:lnTo>
                    <a:pt x="60" y="288"/>
                  </a:lnTo>
                  <a:lnTo>
                    <a:pt x="56" y="288"/>
                  </a:lnTo>
                  <a:lnTo>
                    <a:pt x="29" y="293"/>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0" name="Freeform 139"/>
            <p:cNvSpPr>
              <a:spLocks/>
            </p:cNvSpPr>
            <p:nvPr/>
          </p:nvSpPr>
          <p:spPr bwMode="gray">
            <a:xfrm>
              <a:off x="5184501" y="2963908"/>
              <a:ext cx="829285" cy="542659"/>
            </a:xfrm>
            <a:custGeom>
              <a:avLst/>
              <a:gdLst/>
              <a:ahLst/>
              <a:cxnLst>
                <a:cxn ang="0">
                  <a:pos x="436" y="308"/>
                </a:cxn>
                <a:cxn ang="0">
                  <a:pos x="421" y="318"/>
                </a:cxn>
                <a:cxn ang="0">
                  <a:pos x="426" y="333"/>
                </a:cxn>
                <a:cxn ang="0">
                  <a:pos x="417" y="335"/>
                </a:cxn>
                <a:cxn ang="0">
                  <a:pos x="412" y="332"/>
                </a:cxn>
                <a:cxn ang="0">
                  <a:pos x="407" y="326"/>
                </a:cxn>
                <a:cxn ang="0">
                  <a:pos x="398" y="316"/>
                </a:cxn>
                <a:cxn ang="0">
                  <a:pos x="357" y="315"/>
                </a:cxn>
                <a:cxn ang="0">
                  <a:pos x="284" y="320"/>
                </a:cxn>
                <a:cxn ang="0">
                  <a:pos x="210" y="323"/>
                </a:cxn>
                <a:cxn ang="0">
                  <a:pos x="137" y="323"/>
                </a:cxn>
                <a:cxn ang="0">
                  <a:pos x="70" y="320"/>
                </a:cxn>
                <a:cxn ang="0">
                  <a:pos x="62" y="294"/>
                </a:cxn>
                <a:cxn ang="0">
                  <a:pos x="62" y="279"/>
                </a:cxn>
                <a:cxn ang="0">
                  <a:pos x="60" y="260"/>
                </a:cxn>
                <a:cxn ang="0">
                  <a:pos x="57" y="256"/>
                </a:cxn>
                <a:cxn ang="0">
                  <a:pos x="58" y="248"/>
                </a:cxn>
                <a:cxn ang="0">
                  <a:pos x="55" y="229"/>
                </a:cxn>
                <a:cxn ang="0">
                  <a:pos x="50" y="224"/>
                </a:cxn>
                <a:cxn ang="0">
                  <a:pos x="43" y="221"/>
                </a:cxn>
                <a:cxn ang="0">
                  <a:pos x="43" y="207"/>
                </a:cxn>
                <a:cxn ang="0">
                  <a:pos x="41" y="200"/>
                </a:cxn>
                <a:cxn ang="0">
                  <a:pos x="38" y="181"/>
                </a:cxn>
                <a:cxn ang="0">
                  <a:pos x="34" y="171"/>
                </a:cxn>
                <a:cxn ang="0">
                  <a:pos x="27" y="157"/>
                </a:cxn>
                <a:cxn ang="0">
                  <a:pos x="24" y="142"/>
                </a:cxn>
                <a:cxn ang="0">
                  <a:pos x="17" y="133"/>
                </a:cxn>
                <a:cxn ang="0">
                  <a:pos x="19" y="120"/>
                </a:cxn>
                <a:cxn ang="0">
                  <a:pos x="10" y="108"/>
                </a:cxn>
                <a:cxn ang="0">
                  <a:pos x="5" y="97"/>
                </a:cxn>
                <a:cxn ang="0">
                  <a:pos x="4" y="84"/>
                </a:cxn>
                <a:cxn ang="0">
                  <a:pos x="9" y="74"/>
                </a:cxn>
                <a:cxn ang="0">
                  <a:pos x="10" y="62"/>
                </a:cxn>
                <a:cxn ang="0">
                  <a:pos x="14" y="53"/>
                </a:cxn>
                <a:cxn ang="0">
                  <a:pos x="7" y="38"/>
                </a:cxn>
                <a:cxn ang="0">
                  <a:pos x="5" y="31"/>
                </a:cxn>
                <a:cxn ang="0">
                  <a:pos x="7" y="19"/>
                </a:cxn>
                <a:cxn ang="0">
                  <a:pos x="14" y="9"/>
                </a:cxn>
                <a:cxn ang="0">
                  <a:pos x="98" y="9"/>
                </a:cxn>
                <a:cxn ang="0">
                  <a:pos x="186" y="7"/>
                </a:cxn>
                <a:cxn ang="0">
                  <a:pos x="279" y="5"/>
                </a:cxn>
                <a:cxn ang="0">
                  <a:pos x="354" y="2"/>
                </a:cxn>
                <a:cxn ang="0">
                  <a:pos x="421" y="3"/>
                </a:cxn>
                <a:cxn ang="0">
                  <a:pos x="433" y="19"/>
                </a:cxn>
                <a:cxn ang="0">
                  <a:pos x="427" y="45"/>
                </a:cxn>
                <a:cxn ang="0">
                  <a:pos x="434" y="67"/>
                </a:cxn>
                <a:cxn ang="0">
                  <a:pos x="450" y="86"/>
                </a:cxn>
                <a:cxn ang="0">
                  <a:pos x="470" y="97"/>
                </a:cxn>
                <a:cxn ang="0">
                  <a:pos x="470" y="106"/>
                </a:cxn>
                <a:cxn ang="0">
                  <a:pos x="484" y="116"/>
                </a:cxn>
                <a:cxn ang="0">
                  <a:pos x="492" y="132"/>
                </a:cxn>
                <a:cxn ang="0">
                  <a:pos x="509" y="144"/>
                </a:cxn>
                <a:cxn ang="0">
                  <a:pos x="513" y="152"/>
                </a:cxn>
                <a:cxn ang="0">
                  <a:pos x="506" y="180"/>
                </a:cxn>
                <a:cxn ang="0">
                  <a:pos x="501" y="200"/>
                </a:cxn>
                <a:cxn ang="0">
                  <a:pos x="492" y="209"/>
                </a:cxn>
                <a:cxn ang="0">
                  <a:pos x="474" y="217"/>
                </a:cxn>
                <a:cxn ang="0">
                  <a:pos x="450" y="221"/>
                </a:cxn>
                <a:cxn ang="0">
                  <a:pos x="443" y="239"/>
                </a:cxn>
                <a:cxn ang="0">
                  <a:pos x="451" y="251"/>
                </a:cxn>
                <a:cxn ang="0">
                  <a:pos x="453" y="275"/>
                </a:cxn>
                <a:cxn ang="0">
                  <a:pos x="444" y="301"/>
                </a:cxn>
              </a:cxnLst>
              <a:rect l="0" t="0" r="r" b="b"/>
              <a:pathLst>
                <a:path w="515" h="337">
                  <a:moveTo>
                    <a:pt x="444" y="301"/>
                  </a:moveTo>
                  <a:lnTo>
                    <a:pt x="443" y="303"/>
                  </a:lnTo>
                  <a:lnTo>
                    <a:pt x="441" y="306"/>
                  </a:lnTo>
                  <a:lnTo>
                    <a:pt x="436" y="308"/>
                  </a:lnTo>
                  <a:lnTo>
                    <a:pt x="433" y="308"/>
                  </a:lnTo>
                  <a:lnTo>
                    <a:pt x="424" y="313"/>
                  </a:lnTo>
                  <a:lnTo>
                    <a:pt x="421" y="316"/>
                  </a:lnTo>
                  <a:lnTo>
                    <a:pt x="421" y="318"/>
                  </a:lnTo>
                  <a:lnTo>
                    <a:pt x="424" y="320"/>
                  </a:lnTo>
                  <a:lnTo>
                    <a:pt x="424" y="323"/>
                  </a:lnTo>
                  <a:lnTo>
                    <a:pt x="424" y="328"/>
                  </a:lnTo>
                  <a:lnTo>
                    <a:pt x="426" y="333"/>
                  </a:lnTo>
                  <a:lnTo>
                    <a:pt x="424" y="335"/>
                  </a:lnTo>
                  <a:lnTo>
                    <a:pt x="422" y="335"/>
                  </a:lnTo>
                  <a:lnTo>
                    <a:pt x="419" y="337"/>
                  </a:lnTo>
                  <a:lnTo>
                    <a:pt x="417" y="335"/>
                  </a:lnTo>
                  <a:lnTo>
                    <a:pt x="415" y="335"/>
                  </a:lnTo>
                  <a:lnTo>
                    <a:pt x="415" y="333"/>
                  </a:lnTo>
                  <a:lnTo>
                    <a:pt x="412" y="333"/>
                  </a:lnTo>
                  <a:lnTo>
                    <a:pt x="412" y="332"/>
                  </a:lnTo>
                  <a:lnTo>
                    <a:pt x="412" y="330"/>
                  </a:lnTo>
                  <a:lnTo>
                    <a:pt x="412" y="328"/>
                  </a:lnTo>
                  <a:lnTo>
                    <a:pt x="409" y="328"/>
                  </a:lnTo>
                  <a:lnTo>
                    <a:pt x="407" y="326"/>
                  </a:lnTo>
                  <a:lnTo>
                    <a:pt x="405" y="323"/>
                  </a:lnTo>
                  <a:lnTo>
                    <a:pt x="405" y="321"/>
                  </a:lnTo>
                  <a:lnTo>
                    <a:pt x="398" y="320"/>
                  </a:lnTo>
                  <a:lnTo>
                    <a:pt x="398" y="316"/>
                  </a:lnTo>
                  <a:lnTo>
                    <a:pt x="397" y="315"/>
                  </a:lnTo>
                  <a:lnTo>
                    <a:pt x="395" y="313"/>
                  </a:lnTo>
                  <a:lnTo>
                    <a:pt x="378" y="313"/>
                  </a:lnTo>
                  <a:lnTo>
                    <a:pt x="357" y="315"/>
                  </a:lnTo>
                  <a:lnTo>
                    <a:pt x="344" y="316"/>
                  </a:lnTo>
                  <a:lnTo>
                    <a:pt x="321" y="318"/>
                  </a:lnTo>
                  <a:lnTo>
                    <a:pt x="316" y="318"/>
                  </a:lnTo>
                  <a:lnTo>
                    <a:pt x="284" y="320"/>
                  </a:lnTo>
                  <a:lnTo>
                    <a:pt x="263" y="321"/>
                  </a:lnTo>
                  <a:lnTo>
                    <a:pt x="248" y="321"/>
                  </a:lnTo>
                  <a:lnTo>
                    <a:pt x="229" y="321"/>
                  </a:lnTo>
                  <a:lnTo>
                    <a:pt x="210" y="323"/>
                  </a:lnTo>
                  <a:lnTo>
                    <a:pt x="193" y="323"/>
                  </a:lnTo>
                  <a:lnTo>
                    <a:pt x="173" y="323"/>
                  </a:lnTo>
                  <a:lnTo>
                    <a:pt x="161" y="323"/>
                  </a:lnTo>
                  <a:lnTo>
                    <a:pt x="137" y="323"/>
                  </a:lnTo>
                  <a:lnTo>
                    <a:pt x="113" y="323"/>
                  </a:lnTo>
                  <a:lnTo>
                    <a:pt x="99" y="323"/>
                  </a:lnTo>
                  <a:lnTo>
                    <a:pt x="68" y="323"/>
                  </a:lnTo>
                  <a:lnTo>
                    <a:pt x="70" y="320"/>
                  </a:lnTo>
                  <a:lnTo>
                    <a:pt x="68" y="316"/>
                  </a:lnTo>
                  <a:lnTo>
                    <a:pt x="60" y="308"/>
                  </a:lnTo>
                  <a:lnTo>
                    <a:pt x="62" y="301"/>
                  </a:lnTo>
                  <a:lnTo>
                    <a:pt x="62" y="294"/>
                  </a:lnTo>
                  <a:lnTo>
                    <a:pt x="63" y="292"/>
                  </a:lnTo>
                  <a:lnTo>
                    <a:pt x="63" y="289"/>
                  </a:lnTo>
                  <a:lnTo>
                    <a:pt x="63" y="280"/>
                  </a:lnTo>
                  <a:lnTo>
                    <a:pt x="62" y="279"/>
                  </a:lnTo>
                  <a:lnTo>
                    <a:pt x="62" y="275"/>
                  </a:lnTo>
                  <a:lnTo>
                    <a:pt x="60" y="272"/>
                  </a:lnTo>
                  <a:lnTo>
                    <a:pt x="62" y="267"/>
                  </a:lnTo>
                  <a:lnTo>
                    <a:pt x="60" y="260"/>
                  </a:lnTo>
                  <a:lnTo>
                    <a:pt x="62" y="260"/>
                  </a:lnTo>
                  <a:lnTo>
                    <a:pt x="62" y="258"/>
                  </a:lnTo>
                  <a:lnTo>
                    <a:pt x="57" y="258"/>
                  </a:lnTo>
                  <a:lnTo>
                    <a:pt x="57" y="256"/>
                  </a:lnTo>
                  <a:lnTo>
                    <a:pt x="57" y="255"/>
                  </a:lnTo>
                  <a:lnTo>
                    <a:pt x="55" y="246"/>
                  </a:lnTo>
                  <a:lnTo>
                    <a:pt x="57" y="244"/>
                  </a:lnTo>
                  <a:lnTo>
                    <a:pt x="58" y="248"/>
                  </a:lnTo>
                  <a:lnTo>
                    <a:pt x="58" y="246"/>
                  </a:lnTo>
                  <a:lnTo>
                    <a:pt x="55" y="241"/>
                  </a:lnTo>
                  <a:lnTo>
                    <a:pt x="55" y="236"/>
                  </a:lnTo>
                  <a:lnTo>
                    <a:pt x="55" y="229"/>
                  </a:lnTo>
                  <a:lnTo>
                    <a:pt x="53" y="227"/>
                  </a:lnTo>
                  <a:lnTo>
                    <a:pt x="50" y="226"/>
                  </a:lnTo>
                  <a:lnTo>
                    <a:pt x="50" y="226"/>
                  </a:lnTo>
                  <a:lnTo>
                    <a:pt x="50" y="224"/>
                  </a:lnTo>
                  <a:lnTo>
                    <a:pt x="50" y="221"/>
                  </a:lnTo>
                  <a:lnTo>
                    <a:pt x="50" y="221"/>
                  </a:lnTo>
                  <a:lnTo>
                    <a:pt x="46" y="222"/>
                  </a:lnTo>
                  <a:lnTo>
                    <a:pt x="43" y="221"/>
                  </a:lnTo>
                  <a:lnTo>
                    <a:pt x="43" y="217"/>
                  </a:lnTo>
                  <a:lnTo>
                    <a:pt x="43" y="215"/>
                  </a:lnTo>
                  <a:lnTo>
                    <a:pt x="41" y="214"/>
                  </a:lnTo>
                  <a:lnTo>
                    <a:pt x="43" y="207"/>
                  </a:lnTo>
                  <a:lnTo>
                    <a:pt x="41" y="205"/>
                  </a:lnTo>
                  <a:lnTo>
                    <a:pt x="39" y="203"/>
                  </a:lnTo>
                  <a:lnTo>
                    <a:pt x="43" y="202"/>
                  </a:lnTo>
                  <a:lnTo>
                    <a:pt x="41" y="200"/>
                  </a:lnTo>
                  <a:lnTo>
                    <a:pt x="43" y="197"/>
                  </a:lnTo>
                  <a:lnTo>
                    <a:pt x="45" y="193"/>
                  </a:lnTo>
                  <a:lnTo>
                    <a:pt x="39" y="185"/>
                  </a:lnTo>
                  <a:lnTo>
                    <a:pt x="38" y="181"/>
                  </a:lnTo>
                  <a:lnTo>
                    <a:pt x="38" y="178"/>
                  </a:lnTo>
                  <a:lnTo>
                    <a:pt x="38" y="174"/>
                  </a:lnTo>
                  <a:lnTo>
                    <a:pt x="36" y="173"/>
                  </a:lnTo>
                  <a:lnTo>
                    <a:pt x="34" y="171"/>
                  </a:lnTo>
                  <a:lnTo>
                    <a:pt x="31" y="171"/>
                  </a:lnTo>
                  <a:lnTo>
                    <a:pt x="31" y="168"/>
                  </a:lnTo>
                  <a:lnTo>
                    <a:pt x="29" y="166"/>
                  </a:lnTo>
                  <a:lnTo>
                    <a:pt x="27" y="157"/>
                  </a:lnTo>
                  <a:lnTo>
                    <a:pt x="22" y="152"/>
                  </a:lnTo>
                  <a:lnTo>
                    <a:pt x="21" y="147"/>
                  </a:lnTo>
                  <a:lnTo>
                    <a:pt x="24" y="145"/>
                  </a:lnTo>
                  <a:lnTo>
                    <a:pt x="24" y="142"/>
                  </a:lnTo>
                  <a:lnTo>
                    <a:pt x="22" y="140"/>
                  </a:lnTo>
                  <a:lnTo>
                    <a:pt x="21" y="139"/>
                  </a:lnTo>
                  <a:lnTo>
                    <a:pt x="19" y="135"/>
                  </a:lnTo>
                  <a:lnTo>
                    <a:pt x="17" y="133"/>
                  </a:lnTo>
                  <a:lnTo>
                    <a:pt x="17" y="130"/>
                  </a:lnTo>
                  <a:lnTo>
                    <a:pt x="17" y="125"/>
                  </a:lnTo>
                  <a:lnTo>
                    <a:pt x="19" y="123"/>
                  </a:lnTo>
                  <a:lnTo>
                    <a:pt x="19" y="120"/>
                  </a:lnTo>
                  <a:lnTo>
                    <a:pt x="15" y="118"/>
                  </a:lnTo>
                  <a:lnTo>
                    <a:pt x="12" y="115"/>
                  </a:lnTo>
                  <a:lnTo>
                    <a:pt x="12" y="109"/>
                  </a:lnTo>
                  <a:lnTo>
                    <a:pt x="10" y="108"/>
                  </a:lnTo>
                  <a:lnTo>
                    <a:pt x="12" y="108"/>
                  </a:lnTo>
                  <a:lnTo>
                    <a:pt x="10" y="103"/>
                  </a:lnTo>
                  <a:lnTo>
                    <a:pt x="7" y="99"/>
                  </a:lnTo>
                  <a:lnTo>
                    <a:pt x="5" y="97"/>
                  </a:lnTo>
                  <a:lnTo>
                    <a:pt x="0" y="94"/>
                  </a:lnTo>
                  <a:lnTo>
                    <a:pt x="0" y="89"/>
                  </a:lnTo>
                  <a:lnTo>
                    <a:pt x="0" y="87"/>
                  </a:lnTo>
                  <a:lnTo>
                    <a:pt x="4" y="84"/>
                  </a:lnTo>
                  <a:lnTo>
                    <a:pt x="4" y="80"/>
                  </a:lnTo>
                  <a:lnTo>
                    <a:pt x="5" y="80"/>
                  </a:lnTo>
                  <a:lnTo>
                    <a:pt x="7" y="79"/>
                  </a:lnTo>
                  <a:lnTo>
                    <a:pt x="9" y="74"/>
                  </a:lnTo>
                  <a:lnTo>
                    <a:pt x="7" y="72"/>
                  </a:lnTo>
                  <a:lnTo>
                    <a:pt x="10" y="68"/>
                  </a:lnTo>
                  <a:lnTo>
                    <a:pt x="9" y="63"/>
                  </a:lnTo>
                  <a:lnTo>
                    <a:pt x="10" y="62"/>
                  </a:lnTo>
                  <a:lnTo>
                    <a:pt x="9" y="56"/>
                  </a:lnTo>
                  <a:lnTo>
                    <a:pt x="12" y="56"/>
                  </a:lnTo>
                  <a:lnTo>
                    <a:pt x="14" y="55"/>
                  </a:lnTo>
                  <a:lnTo>
                    <a:pt x="14" y="53"/>
                  </a:lnTo>
                  <a:lnTo>
                    <a:pt x="15" y="50"/>
                  </a:lnTo>
                  <a:lnTo>
                    <a:pt x="14" y="39"/>
                  </a:lnTo>
                  <a:lnTo>
                    <a:pt x="12" y="39"/>
                  </a:lnTo>
                  <a:lnTo>
                    <a:pt x="7" y="38"/>
                  </a:lnTo>
                  <a:lnTo>
                    <a:pt x="5" y="36"/>
                  </a:lnTo>
                  <a:lnTo>
                    <a:pt x="7" y="36"/>
                  </a:lnTo>
                  <a:lnTo>
                    <a:pt x="5" y="34"/>
                  </a:lnTo>
                  <a:lnTo>
                    <a:pt x="5" y="31"/>
                  </a:lnTo>
                  <a:lnTo>
                    <a:pt x="9" y="29"/>
                  </a:lnTo>
                  <a:lnTo>
                    <a:pt x="9" y="24"/>
                  </a:lnTo>
                  <a:lnTo>
                    <a:pt x="9" y="21"/>
                  </a:lnTo>
                  <a:lnTo>
                    <a:pt x="7" y="19"/>
                  </a:lnTo>
                  <a:lnTo>
                    <a:pt x="4" y="15"/>
                  </a:lnTo>
                  <a:lnTo>
                    <a:pt x="5" y="10"/>
                  </a:lnTo>
                  <a:lnTo>
                    <a:pt x="4" y="9"/>
                  </a:lnTo>
                  <a:lnTo>
                    <a:pt x="14" y="9"/>
                  </a:lnTo>
                  <a:lnTo>
                    <a:pt x="45" y="9"/>
                  </a:lnTo>
                  <a:lnTo>
                    <a:pt x="60" y="9"/>
                  </a:lnTo>
                  <a:lnTo>
                    <a:pt x="91" y="9"/>
                  </a:lnTo>
                  <a:lnTo>
                    <a:pt x="98" y="9"/>
                  </a:lnTo>
                  <a:lnTo>
                    <a:pt x="133" y="9"/>
                  </a:lnTo>
                  <a:lnTo>
                    <a:pt x="139" y="9"/>
                  </a:lnTo>
                  <a:lnTo>
                    <a:pt x="169" y="9"/>
                  </a:lnTo>
                  <a:lnTo>
                    <a:pt x="186" y="7"/>
                  </a:lnTo>
                  <a:lnTo>
                    <a:pt x="207" y="7"/>
                  </a:lnTo>
                  <a:lnTo>
                    <a:pt x="233" y="7"/>
                  </a:lnTo>
                  <a:lnTo>
                    <a:pt x="245" y="7"/>
                  </a:lnTo>
                  <a:lnTo>
                    <a:pt x="279" y="5"/>
                  </a:lnTo>
                  <a:lnTo>
                    <a:pt x="280" y="5"/>
                  </a:lnTo>
                  <a:lnTo>
                    <a:pt x="316" y="3"/>
                  </a:lnTo>
                  <a:lnTo>
                    <a:pt x="325" y="3"/>
                  </a:lnTo>
                  <a:lnTo>
                    <a:pt x="354" y="2"/>
                  </a:lnTo>
                  <a:lnTo>
                    <a:pt x="381" y="2"/>
                  </a:lnTo>
                  <a:lnTo>
                    <a:pt x="390" y="0"/>
                  </a:lnTo>
                  <a:lnTo>
                    <a:pt x="421" y="0"/>
                  </a:lnTo>
                  <a:lnTo>
                    <a:pt x="421" y="3"/>
                  </a:lnTo>
                  <a:lnTo>
                    <a:pt x="422" y="7"/>
                  </a:lnTo>
                  <a:lnTo>
                    <a:pt x="424" y="14"/>
                  </a:lnTo>
                  <a:lnTo>
                    <a:pt x="426" y="15"/>
                  </a:lnTo>
                  <a:lnTo>
                    <a:pt x="433" y="19"/>
                  </a:lnTo>
                  <a:lnTo>
                    <a:pt x="434" y="22"/>
                  </a:lnTo>
                  <a:lnTo>
                    <a:pt x="434" y="26"/>
                  </a:lnTo>
                  <a:lnTo>
                    <a:pt x="427" y="38"/>
                  </a:lnTo>
                  <a:lnTo>
                    <a:pt x="427" y="45"/>
                  </a:lnTo>
                  <a:lnTo>
                    <a:pt x="427" y="45"/>
                  </a:lnTo>
                  <a:lnTo>
                    <a:pt x="429" y="53"/>
                  </a:lnTo>
                  <a:lnTo>
                    <a:pt x="431" y="62"/>
                  </a:lnTo>
                  <a:lnTo>
                    <a:pt x="434" y="67"/>
                  </a:lnTo>
                  <a:lnTo>
                    <a:pt x="436" y="75"/>
                  </a:lnTo>
                  <a:lnTo>
                    <a:pt x="438" y="80"/>
                  </a:lnTo>
                  <a:lnTo>
                    <a:pt x="443" y="84"/>
                  </a:lnTo>
                  <a:lnTo>
                    <a:pt x="450" y="86"/>
                  </a:lnTo>
                  <a:lnTo>
                    <a:pt x="451" y="87"/>
                  </a:lnTo>
                  <a:lnTo>
                    <a:pt x="463" y="89"/>
                  </a:lnTo>
                  <a:lnTo>
                    <a:pt x="467" y="91"/>
                  </a:lnTo>
                  <a:lnTo>
                    <a:pt x="470" y="97"/>
                  </a:lnTo>
                  <a:lnTo>
                    <a:pt x="472" y="99"/>
                  </a:lnTo>
                  <a:lnTo>
                    <a:pt x="474" y="101"/>
                  </a:lnTo>
                  <a:lnTo>
                    <a:pt x="472" y="104"/>
                  </a:lnTo>
                  <a:lnTo>
                    <a:pt x="470" y="106"/>
                  </a:lnTo>
                  <a:lnTo>
                    <a:pt x="472" y="108"/>
                  </a:lnTo>
                  <a:lnTo>
                    <a:pt x="475" y="109"/>
                  </a:lnTo>
                  <a:lnTo>
                    <a:pt x="479" y="113"/>
                  </a:lnTo>
                  <a:lnTo>
                    <a:pt x="484" y="116"/>
                  </a:lnTo>
                  <a:lnTo>
                    <a:pt x="489" y="118"/>
                  </a:lnTo>
                  <a:lnTo>
                    <a:pt x="489" y="121"/>
                  </a:lnTo>
                  <a:lnTo>
                    <a:pt x="491" y="128"/>
                  </a:lnTo>
                  <a:lnTo>
                    <a:pt x="492" y="132"/>
                  </a:lnTo>
                  <a:lnTo>
                    <a:pt x="496" y="135"/>
                  </a:lnTo>
                  <a:lnTo>
                    <a:pt x="499" y="135"/>
                  </a:lnTo>
                  <a:lnTo>
                    <a:pt x="506" y="139"/>
                  </a:lnTo>
                  <a:lnTo>
                    <a:pt x="509" y="144"/>
                  </a:lnTo>
                  <a:lnTo>
                    <a:pt x="511" y="144"/>
                  </a:lnTo>
                  <a:lnTo>
                    <a:pt x="511" y="145"/>
                  </a:lnTo>
                  <a:lnTo>
                    <a:pt x="511" y="150"/>
                  </a:lnTo>
                  <a:lnTo>
                    <a:pt x="513" y="152"/>
                  </a:lnTo>
                  <a:lnTo>
                    <a:pt x="515" y="157"/>
                  </a:lnTo>
                  <a:lnTo>
                    <a:pt x="515" y="164"/>
                  </a:lnTo>
                  <a:lnTo>
                    <a:pt x="511" y="178"/>
                  </a:lnTo>
                  <a:lnTo>
                    <a:pt x="506" y="180"/>
                  </a:lnTo>
                  <a:lnTo>
                    <a:pt x="503" y="183"/>
                  </a:lnTo>
                  <a:lnTo>
                    <a:pt x="501" y="186"/>
                  </a:lnTo>
                  <a:lnTo>
                    <a:pt x="501" y="195"/>
                  </a:lnTo>
                  <a:lnTo>
                    <a:pt x="501" y="200"/>
                  </a:lnTo>
                  <a:lnTo>
                    <a:pt x="501" y="202"/>
                  </a:lnTo>
                  <a:lnTo>
                    <a:pt x="494" y="203"/>
                  </a:lnTo>
                  <a:lnTo>
                    <a:pt x="494" y="207"/>
                  </a:lnTo>
                  <a:lnTo>
                    <a:pt x="492" y="209"/>
                  </a:lnTo>
                  <a:lnTo>
                    <a:pt x="485" y="209"/>
                  </a:lnTo>
                  <a:lnTo>
                    <a:pt x="480" y="210"/>
                  </a:lnTo>
                  <a:lnTo>
                    <a:pt x="477" y="217"/>
                  </a:lnTo>
                  <a:lnTo>
                    <a:pt x="474" y="217"/>
                  </a:lnTo>
                  <a:lnTo>
                    <a:pt x="467" y="219"/>
                  </a:lnTo>
                  <a:lnTo>
                    <a:pt x="462" y="219"/>
                  </a:lnTo>
                  <a:lnTo>
                    <a:pt x="453" y="222"/>
                  </a:lnTo>
                  <a:lnTo>
                    <a:pt x="450" y="221"/>
                  </a:lnTo>
                  <a:lnTo>
                    <a:pt x="448" y="222"/>
                  </a:lnTo>
                  <a:lnTo>
                    <a:pt x="444" y="224"/>
                  </a:lnTo>
                  <a:lnTo>
                    <a:pt x="444" y="232"/>
                  </a:lnTo>
                  <a:lnTo>
                    <a:pt x="443" y="239"/>
                  </a:lnTo>
                  <a:lnTo>
                    <a:pt x="443" y="243"/>
                  </a:lnTo>
                  <a:lnTo>
                    <a:pt x="446" y="250"/>
                  </a:lnTo>
                  <a:lnTo>
                    <a:pt x="450" y="250"/>
                  </a:lnTo>
                  <a:lnTo>
                    <a:pt x="451" y="251"/>
                  </a:lnTo>
                  <a:lnTo>
                    <a:pt x="455" y="256"/>
                  </a:lnTo>
                  <a:lnTo>
                    <a:pt x="455" y="260"/>
                  </a:lnTo>
                  <a:lnTo>
                    <a:pt x="455" y="274"/>
                  </a:lnTo>
                  <a:lnTo>
                    <a:pt x="453" y="275"/>
                  </a:lnTo>
                  <a:lnTo>
                    <a:pt x="448" y="280"/>
                  </a:lnTo>
                  <a:lnTo>
                    <a:pt x="446" y="285"/>
                  </a:lnTo>
                  <a:lnTo>
                    <a:pt x="446" y="294"/>
                  </a:lnTo>
                  <a:lnTo>
                    <a:pt x="444" y="30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1" name="Freeform 140"/>
            <p:cNvSpPr>
              <a:spLocks noEditPoints="1"/>
            </p:cNvSpPr>
            <p:nvPr/>
          </p:nvSpPr>
          <p:spPr bwMode="gray">
            <a:xfrm>
              <a:off x="8110346" y="2669231"/>
              <a:ext cx="473417" cy="262473"/>
            </a:xfrm>
            <a:custGeom>
              <a:avLst/>
              <a:gdLst/>
              <a:ahLst/>
              <a:cxnLst>
                <a:cxn ang="0">
                  <a:pos x="172" y="123"/>
                </a:cxn>
                <a:cxn ang="0">
                  <a:pos x="171" y="116"/>
                </a:cxn>
                <a:cxn ang="0">
                  <a:pos x="171" y="111"/>
                </a:cxn>
                <a:cxn ang="0">
                  <a:pos x="164" y="104"/>
                </a:cxn>
                <a:cxn ang="0">
                  <a:pos x="155" y="103"/>
                </a:cxn>
                <a:cxn ang="0">
                  <a:pos x="131" y="108"/>
                </a:cxn>
                <a:cxn ang="0">
                  <a:pos x="106" y="115"/>
                </a:cxn>
                <a:cxn ang="0">
                  <a:pos x="72" y="122"/>
                </a:cxn>
                <a:cxn ang="0">
                  <a:pos x="70" y="123"/>
                </a:cxn>
                <a:cxn ang="0">
                  <a:pos x="58" y="125"/>
                </a:cxn>
                <a:cxn ang="0">
                  <a:pos x="53" y="130"/>
                </a:cxn>
                <a:cxn ang="0">
                  <a:pos x="37" y="130"/>
                </a:cxn>
                <a:cxn ang="0">
                  <a:pos x="2" y="139"/>
                </a:cxn>
                <a:cxn ang="0">
                  <a:pos x="0" y="87"/>
                </a:cxn>
                <a:cxn ang="0">
                  <a:pos x="19" y="57"/>
                </a:cxn>
                <a:cxn ang="0">
                  <a:pos x="63" y="48"/>
                </a:cxn>
                <a:cxn ang="0">
                  <a:pos x="102" y="40"/>
                </a:cxn>
                <a:cxn ang="0">
                  <a:pos x="152" y="28"/>
                </a:cxn>
                <a:cxn ang="0">
                  <a:pos x="154" y="21"/>
                </a:cxn>
                <a:cxn ang="0">
                  <a:pos x="157" y="14"/>
                </a:cxn>
                <a:cxn ang="0">
                  <a:pos x="166" y="12"/>
                </a:cxn>
                <a:cxn ang="0">
                  <a:pos x="174" y="0"/>
                </a:cxn>
                <a:cxn ang="0">
                  <a:pos x="181" y="2"/>
                </a:cxn>
                <a:cxn ang="0">
                  <a:pos x="195" y="19"/>
                </a:cxn>
                <a:cxn ang="0">
                  <a:pos x="205" y="26"/>
                </a:cxn>
                <a:cxn ang="0">
                  <a:pos x="190" y="45"/>
                </a:cxn>
                <a:cxn ang="0">
                  <a:pos x="183" y="65"/>
                </a:cxn>
                <a:cxn ang="0">
                  <a:pos x="195" y="63"/>
                </a:cxn>
                <a:cxn ang="0">
                  <a:pos x="203" y="63"/>
                </a:cxn>
                <a:cxn ang="0">
                  <a:pos x="224" y="89"/>
                </a:cxn>
                <a:cxn ang="0">
                  <a:pos x="234" y="104"/>
                </a:cxn>
                <a:cxn ang="0">
                  <a:pos x="256" y="108"/>
                </a:cxn>
                <a:cxn ang="0">
                  <a:pos x="263" y="108"/>
                </a:cxn>
                <a:cxn ang="0">
                  <a:pos x="273" y="87"/>
                </a:cxn>
                <a:cxn ang="0">
                  <a:pos x="248" y="72"/>
                </a:cxn>
                <a:cxn ang="0">
                  <a:pos x="265" y="72"/>
                </a:cxn>
                <a:cxn ang="0">
                  <a:pos x="284" y="96"/>
                </a:cxn>
                <a:cxn ang="0">
                  <a:pos x="251" y="122"/>
                </a:cxn>
                <a:cxn ang="0">
                  <a:pos x="234" y="135"/>
                </a:cxn>
                <a:cxn ang="0">
                  <a:pos x="231" y="113"/>
                </a:cxn>
                <a:cxn ang="0">
                  <a:pos x="212" y="130"/>
                </a:cxn>
                <a:cxn ang="0">
                  <a:pos x="198" y="149"/>
                </a:cxn>
                <a:cxn ang="0">
                  <a:pos x="186" y="132"/>
                </a:cxn>
                <a:cxn ang="0">
                  <a:pos x="179" y="125"/>
                </a:cxn>
                <a:cxn ang="0">
                  <a:pos x="239" y="145"/>
                </a:cxn>
                <a:cxn ang="0">
                  <a:pos x="244" y="145"/>
                </a:cxn>
                <a:cxn ang="0">
                  <a:pos x="248" y="147"/>
                </a:cxn>
                <a:cxn ang="0">
                  <a:pos x="232" y="157"/>
                </a:cxn>
                <a:cxn ang="0">
                  <a:pos x="224" y="159"/>
                </a:cxn>
                <a:cxn ang="0">
                  <a:pos x="231" y="159"/>
                </a:cxn>
                <a:cxn ang="0">
                  <a:pos x="234" y="144"/>
                </a:cxn>
                <a:cxn ang="0">
                  <a:pos x="239" y="145"/>
                </a:cxn>
                <a:cxn ang="0">
                  <a:pos x="289" y="144"/>
                </a:cxn>
                <a:cxn ang="0">
                  <a:pos x="284" y="147"/>
                </a:cxn>
                <a:cxn ang="0">
                  <a:pos x="284" y="137"/>
                </a:cxn>
                <a:cxn ang="0">
                  <a:pos x="294" y="151"/>
                </a:cxn>
                <a:cxn ang="0">
                  <a:pos x="275" y="154"/>
                </a:cxn>
                <a:cxn ang="0">
                  <a:pos x="284" y="151"/>
                </a:cxn>
              </a:cxnLst>
              <a:rect l="0" t="0" r="r" b="b"/>
              <a:pathLst>
                <a:path w="294" h="163">
                  <a:moveTo>
                    <a:pt x="174" y="125"/>
                  </a:moveTo>
                  <a:lnTo>
                    <a:pt x="172" y="123"/>
                  </a:lnTo>
                  <a:lnTo>
                    <a:pt x="172" y="120"/>
                  </a:lnTo>
                  <a:lnTo>
                    <a:pt x="171" y="116"/>
                  </a:lnTo>
                  <a:lnTo>
                    <a:pt x="171" y="115"/>
                  </a:lnTo>
                  <a:lnTo>
                    <a:pt x="171" y="111"/>
                  </a:lnTo>
                  <a:lnTo>
                    <a:pt x="167" y="113"/>
                  </a:lnTo>
                  <a:lnTo>
                    <a:pt x="164" y="104"/>
                  </a:lnTo>
                  <a:lnTo>
                    <a:pt x="164" y="101"/>
                  </a:lnTo>
                  <a:lnTo>
                    <a:pt x="155" y="103"/>
                  </a:lnTo>
                  <a:lnTo>
                    <a:pt x="131" y="110"/>
                  </a:lnTo>
                  <a:lnTo>
                    <a:pt x="131" y="108"/>
                  </a:lnTo>
                  <a:lnTo>
                    <a:pt x="109" y="113"/>
                  </a:lnTo>
                  <a:lnTo>
                    <a:pt x="106" y="115"/>
                  </a:lnTo>
                  <a:lnTo>
                    <a:pt x="77" y="122"/>
                  </a:lnTo>
                  <a:lnTo>
                    <a:pt x="72" y="122"/>
                  </a:lnTo>
                  <a:lnTo>
                    <a:pt x="72" y="123"/>
                  </a:lnTo>
                  <a:lnTo>
                    <a:pt x="70" y="123"/>
                  </a:lnTo>
                  <a:lnTo>
                    <a:pt x="68" y="123"/>
                  </a:lnTo>
                  <a:lnTo>
                    <a:pt x="58" y="125"/>
                  </a:lnTo>
                  <a:lnTo>
                    <a:pt x="58" y="128"/>
                  </a:lnTo>
                  <a:lnTo>
                    <a:pt x="53" y="130"/>
                  </a:lnTo>
                  <a:lnTo>
                    <a:pt x="53" y="127"/>
                  </a:lnTo>
                  <a:lnTo>
                    <a:pt x="37" y="130"/>
                  </a:lnTo>
                  <a:lnTo>
                    <a:pt x="36" y="130"/>
                  </a:lnTo>
                  <a:lnTo>
                    <a:pt x="2" y="139"/>
                  </a:lnTo>
                  <a:lnTo>
                    <a:pt x="0" y="135"/>
                  </a:lnTo>
                  <a:lnTo>
                    <a:pt x="0" y="87"/>
                  </a:lnTo>
                  <a:lnTo>
                    <a:pt x="0" y="60"/>
                  </a:lnTo>
                  <a:lnTo>
                    <a:pt x="19" y="57"/>
                  </a:lnTo>
                  <a:lnTo>
                    <a:pt x="27" y="55"/>
                  </a:lnTo>
                  <a:lnTo>
                    <a:pt x="63" y="48"/>
                  </a:lnTo>
                  <a:lnTo>
                    <a:pt x="75" y="45"/>
                  </a:lnTo>
                  <a:lnTo>
                    <a:pt x="102" y="40"/>
                  </a:lnTo>
                  <a:lnTo>
                    <a:pt x="106" y="40"/>
                  </a:lnTo>
                  <a:lnTo>
                    <a:pt x="152" y="28"/>
                  </a:lnTo>
                  <a:lnTo>
                    <a:pt x="154" y="24"/>
                  </a:lnTo>
                  <a:lnTo>
                    <a:pt x="154" y="21"/>
                  </a:lnTo>
                  <a:lnTo>
                    <a:pt x="159" y="21"/>
                  </a:lnTo>
                  <a:lnTo>
                    <a:pt x="157" y="14"/>
                  </a:lnTo>
                  <a:lnTo>
                    <a:pt x="161" y="12"/>
                  </a:lnTo>
                  <a:lnTo>
                    <a:pt x="166" y="12"/>
                  </a:lnTo>
                  <a:lnTo>
                    <a:pt x="167" y="5"/>
                  </a:lnTo>
                  <a:lnTo>
                    <a:pt x="174" y="0"/>
                  </a:lnTo>
                  <a:lnTo>
                    <a:pt x="176" y="0"/>
                  </a:lnTo>
                  <a:lnTo>
                    <a:pt x="181" y="2"/>
                  </a:lnTo>
                  <a:lnTo>
                    <a:pt x="183" y="0"/>
                  </a:lnTo>
                  <a:lnTo>
                    <a:pt x="195" y="19"/>
                  </a:lnTo>
                  <a:lnTo>
                    <a:pt x="207" y="19"/>
                  </a:lnTo>
                  <a:lnTo>
                    <a:pt x="205" y="26"/>
                  </a:lnTo>
                  <a:lnTo>
                    <a:pt x="191" y="33"/>
                  </a:lnTo>
                  <a:lnTo>
                    <a:pt x="190" y="45"/>
                  </a:lnTo>
                  <a:lnTo>
                    <a:pt x="184" y="48"/>
                  </a:lnTo>
                  <a:lnTo>
                    <a:pt x="183" y="65"/>
                  </a:lnTo>
                  <a:lnTo>
                    <a:pt x="193" y="69"/>
                  </a:lnTo>
                  <a:lnTo>
                    <a:pt x="195" y="63"/>
                  </a:lnTo>
                  <a:lnTo>
                    <a:pt x="200" y="63"/>
                  </a:lnTo>
                  <a:lnTo>
                    <a:pt x="203" y="63"/>
                  </a:lnTo>
                  <a:lnTo>
                    <a:pt x="214" y="72"/>
                  </a:lnTo>
                  <a:lnTo>
                    <a:pt x="224" y="89"/>
                  </a:lnTo>
                  <a:lnTo>
                    <a:pt x="231" y="93"/>
                  </a:lnTo>
                  <a:lnTo>
                    <a:pt x="234" y="104"/>
                  </a:lnTo>
                  <a:lnTo>
                    <a:pt x="244" y="108"/>
                  </a:lnTo>
                  <a:lnTo>
                    <a:pt x="256" y="108"/>
                  </a:lnTo>
                  <a:lnTo>
                    <a:pt x="251" y="110"/>
                  </a:lnTo>
                  <a:lnTo>
                    <a:pt x="263" y="108"/>
                  </a:lnTo>
                  <a:lnTo>
                    <a:pt x="275" y="96"/>
                  </a:lnTo>
                  <a:lnTo>
                    <a:pt x="273" y="87"/>
                  </a:lnTo>
                  <a:lnTo>
                    <a:pt x="261" y="75"/>
                  </a:lnTo>
                  <a:lnTo>
                    <a:pt x="248" y="72"/>
                  </a:lnTo>
                  <a:lnTo>
                    <a:pt x="258" y="69"/>
                  </a:lnTo>
                  <a:lnTo>
                    <a:pt x="265" y="72"/>
                  </a:lnTo>
                  <a:lnTo>
                    <a:pt x="275" y="82"/>
                  </a:lnTo>
                  <a:lnTo>
                    <a:pt x="284" y="96"/>
                  </a:lnTo>
                  <a:lnTo>
                    <a:pt x="284" y="106"/>
                  </a:lnTo>
                  <a:lnTo>
                    <a:pt x="251" y="122"/>
                  </a:lnTo>
                  <a:lnTo>
                    <a:pt x="249" y="127"/>
                  </a:lnTo>
                  <a:lnTo>
                    <a:pt x="234" y="135"/>
                  </a:lnTo>
                  <a:lnTo>
                    <a:pt x="232" y="134"/>
                  </a:lnTo>
                  <a:lnTo>
                    <a:pt x="231" y="113"/>
                  </a:lnTo>
                  <a:lnTo>
                    <a:pt x="215" y="130"/>
                  </a:lnTo>
                  <a:lnTo>
                    <a:pt x="212" y="130"/>
                  </a:lnTo>
                  <a:lnTo>
                    <a:pt x="207" y="144"/>
                  </a:lnTo>
                  <a:lnTo>
                    <a:pt x="198" y="149"/>
                  </a:lnTo>
                  <a:lnTo>
                    <a:pt x="191" y="134"/>
                  </a:lnTo>
                  <a:lnTo>
                    <a:pt x="186" y="132"/>
                  </a:lnTo>
                  <a:lnTo>
                    <a:pt x="184" y="130"/>
                  </a:lnTo>
                  <a:lnTo>
                    <a:pt x="179" y="125"/>
                  </a:lnTo>
                  <a:lnTo>
                    <a:pt x="174" y="125"/>
                  </a:lnTo>
                  <a:close/>
                  <a:moveTo>
                    <a:pt x="239" y="145"/>
                  </a:moveTo>
                  <a:lnTo>
                    <a:pt x="241" y="140"/>
                  </a:lnTo>
                  <a:lnTo>
                    <a:pt x="244" y="145"/>
                  </a:lnTo>
                  <a:lnTo>
                    <a:pt x="243" y="147"/>
                  </a:lnTo>
                  <a:lnTo>
                    <a:pt x="248" y="147"/>
                  </a:lnTo>
                  <a:lnTo>
                    <a:pt x="251" y="152"/>
                  </a:lnTo>
                  <a:lnTo>
                    <a:pt x="232" y="157"/>
                  </a:lnTo>
                  <a:lnTo>
                    <a:pt x="231" y="163"/>
                  </a:lnTo>
                  <a:lnTo>
                    <a:pt x="224" y="159"/>
                  </a:lnTo>
                  <a:lnTo>
                    <a:pt x="229" y="157"/>
                  </a:lnTo>
                  <a:lnTo>
                    <a:pt x="231" y="159"/>
                  </a:lnTo>
                  <a:lnTo>
                    <a:pt x="229" y="154"/>
                  </a:lnTo>
                  <a:lnTo>
                    <a:pt x="234" y="144"/>
                  </a:lnTo>
                  <a:lnTo>
                    <a:pt x="239" y="140"/>
                  </a:lnTo>
                  <a:lnTo>
                    <a:pt x="239" y="145"/>
                  </a:lnTo>
                  <a:close/>
                  <a:moveTo>
                    <a:pt x="287" y="145"/>
                  </a:moveTo>
                  <a:lnTo>
                    <a:pt x="289" y="144"/>
                  </a:lnTo>
                  <a:lnTo>
                    <a:pt x="287" y="142"/>
                  </a:lnTo>
                  <a:lnTo>
                    <a:pt x="284" y="147"/>
                  </a:lnTo>
                  <a:lnTo>
                    <a:pt x="285" y="142"/>
                  </a:lnTo>
                  <a:lnTo>
                    <a:pt x="284" y="137"/>
                  </a:lnTo>
                  <a:lnTo>
                    <a:pt x="292" y="145"/>
                  </a:lnTo>
                  <a:lnTo>
                    <a:pt x="294" y="151"/>
                  </a:lnTo>
                  <a:lnTo>
                    <a:pt x="284" y="154"/>
                  </a:lnTo>
                  <a:lnTo>
                    <a:pt x="275" y="154"/>
                  </a:lnTo>
                  <a:lnTo>
                    <a:pt x="275" y="151"/>
                  </a:lnTo>
                  <a:lnTo>
                    <a:pt x="284" y="151"/>
                  </a:lnTo>
                  <a:lnTo>
                    <a:pt x="287" y="14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2" name="Freeform 141"/>
            <p:cNvSpPr>
              <a:spLocks/>
            </p:cNvSpPr>
            <p:nvPr/>
          </p:nvSpPr>
          <p:spPr bwMode="gray">
            <a:xfrm>
              <a:off x="4224784" y="3021878"/>
              <a:ext cx="1130403" cy="563592"/>
            </a:xfrm>
            <a:custGeom>
              <a:avLst/>
              <a:gdLst/>
              <a:ahLst/>
              <a:cxnLst>
                <a:cxn ang="0">
                  <a:pos x="155" y="289"/>
                </a:cxn>
                <a:cxn ang="0">
                  <a:pos x="114" y="224"/>
                </a:cxn>
                <a:cxn ang="0">
                  <a:pos x="0" y="215"/>
                </a:cxn>
                <a:cxn ang="0">
                  <a:pos x="8" y="108"/>
                </a:cxn>
                <a:cxn ang="0">
                  <a:pos x="99" y="7"/>
                </a:cxn>
                <a:cxn ang="0">
                  <a:pos x="318" y="20"/>
                </a:cxn>
                <a:cxn ang="0">
                  <a:pos x="454" y="31"/>
                </a:cxn>
                <a:cxn ang="0">
                  <a:pos x="478" y="43"/>
                </a:cxn>
                <a:cxn ang="0">
                  <a:pos x="490" y="50"/>
                </a:cxn>
                <a:cxn ang="0">
                  <a:pos x="499" y="41"/>
                </a:cxn>
                <a:cxn ang="0">
                  <a:pos x="511" y="41"/>
                </a:cxn>
                <a:cxn ang="0">
                  <a:pos x="528" y="41"/>
                </a:cxn>
                <a:cxn ang="0">
                  <a:pos x="543" y="41"/>
                </a:cxn>
                <a:cxn ang="0">
                  <a:pos x="552" y="46"/>
                </a:cxn>
                <a:cxn ang="0">
                  <a:pos x="569" y="53"/>
                </a:cxn>
                <a:cxn ang="0">
                  <a:pos x="574" y="55"/>
                </a:cxn>
                <a:cxn ang="0">
                  <a:pos x="589" y="61"/>
                </a:cxn>
                <a:cxn ang="0">
                  <a:pos x="589" y="68"/>
                </a:cxn>
                <a:cxn ang="0">
                  <a:pos x="600" y="79"/>
                </a:cxn>
                <a:cxn ang="0">
                  <a:pos x="615" y="84"/>
                </a:cxn>
                <a:cxn ang="0">
                  <a:pos x="613" y="97"/>
                </a:cxn>
                <a:cxn ang="0">
                  <a:pos x="620" y="106"/>
                </a:cxn>
                <a:cxn ang="0">
                  <a:pos x="623" y="121"/>
                </a:cxn>
                <a:cxn ang="0">
                  <a:pos x="630" y="135"/>
                </a:cxn>
                <a:cxn ang="0">
                  <a:pos x="634" y="145"/>
                </a:cxn>
                <a:cxn ang="0">
                  <a:pos x="637" y="164"/>
                </a:cxn>
                <a:cxn ang="0">
                  <a:pos x="639" y="171"/>
                </a:cxn>
                <a:cxn ang="0">
                  <a:pos x="639" y="185"/>
                </a:cxn>
                <a:cxn ang="0">
                  <a:pos x="646" y="188"/>
                </a:cxn>
                <a:cxn ang="0">
                  <a:pos x="651" y="193"/>
                </a:cxn>
                <a:cxn ang="0">
                  <a:pos x="654" y="212"/>
                </a:cxn>
                <a:cxn ang="0">
                  <a:pos x="653" y="220"/>
                </a:cxn>
                <a:cxn ang="0">
                  <a:pos x="656" y="224"/>
                </a:cxn>
                <a:cxn ang="0">
                  <a:pos x="658" y="243"/>
                </a:cxn>
                <a:cxn ang="0">
                  <a:pos x="658" y="258"/>
                </a:cxn>
                <a:cxn ang="0">
                  <a:pos x="666" y="284"/>
                </a:cxn>
                <a:cxn ang="0">
                  <a:pos x="671" y="294"/>
                </a:cxn>
                <a:cxn ang="0">
                  <a:pos x="673" y="292"/>
                </a:cxn>
                <a:cxn ang="0">
                  <a:pos x="676" y="311"/>
                </a:cxn>
                <a:cxn ang="0">
                  <a:pos x="675" y="316"/>
                </a:cxn>
                <a:cxn ang="0">
                  <a:pos x="690" y="326"/>
                </a:cxn>
                <a:cxn ang="0">
                  <a:pos x="695" y="340"/>
                </a:cxn>
                <a:cxn ang="0">
                  <a:pos x="697" y="347"/>
                </a:cxn>
                <a:cxn ang="0">
                  <a:pos x="664" y="350"/>
                </a:cxn>
                <a:cxn ang="0">
                  <a:pos x="581" y="350"/>
                </a:cxn>
                <a:cxn ang="0">
                  <a:pos x="488" y="349"/>
                </a:cxn>
                <a:cxn ang="0">
                  <a:pos x="396" y="347"/>
                </a:cxn>
                <a:cxn ang="0">
                  <a:pos x="304" y="343"/>
                </a:cxn>
                <a:cxn ang="0">
                  <a:pos x="205" y="338"/>
                </a:cxn>
              </a:cxnLst>
              <a:rect l="0" t="0" r="r" b="b"/>
              <a:pathLst>
                <a:path w="702" h="350">
                  <a:moveTo>
                    <a:pt x="205" y="338"/>
                  </a:moveTo>
                  <a:lnTo>
                    <a:pt x="152" y="335"/>
                  </a:lnTo>
                  <a:lnTo>
                    <a:pt x="155" y="297"/>
                  </a:lnTo>
                  <a:lnTo>
                    <a:pt x="155" y="289"/>
                  </a:lnTo>
                  <a:lnTo>
                    <a:pt x="157" y="260"/>
                  </a:lnTo>
                  <a:lnTo>
                    <a:pt x="159" y="255"/>
                  </a:lnTo>
                  <a:lnTo>
                    <a:pt x="160" y="227"/>
                  </a:lnTo>
                  <a:lnTo>
                    <a:pt x="114" y="224"/>
                  </a:lnTo>
                  <a:lnTo>
                    <a:pt x="111" y="224"/>
                  </a:lnTo>
                  <a:lnTo>
                    <a:pt x="53" y="219"/>
                  </a:lnTo>
                  <a:lnTo>
                    <a:pt x="37" y="219"/>
                  </a:lnTo>
                  <a:lnTo>
                    <a:pt x="0" y="215"/>
                  </a:lnTo>
                  <a:lnTo>
                    <a:pt x="3" y="173"/>
                  </a:lnTo>
                  <a:lnTo>
                    <a:pt x="3" y="154"/>
                  </a:lnTo>
                  <a:lnTo>
                    <a:pt x="5" y="140"/>
                  </a:lnTo>
                  <a:lnTo>
                    <a:pt x="8" y="108"/>
                  </a:lnTo>
                  <a:lnTo>
                    <a:pt x="13" y="41"/>
                  </a:lnTo>
                  <a:lnTo>
                    <a:pt x="17" y="0"/>
                  </a:lnTo>
                  <a:lnTo>
                    <a:pt x="59" y="3"/>
                  </a:lnTo>
                  <a:lnTo>
                    <a:pt x="99" y="7"/>
                  </a:lnTo>
                  <a:lnTo>
                    <a:pt x="116" y="9"/>
                  </a:lnTo>
                  <a:lnTo>
                    <a:pt x="171" y="12"/>
                  </a:lnTo>
                  <a:lnTo>
                    <a:pt x="237" y="17"/>
                  </a:lnTo>
                  <a:lnTo>
                    <a:pt x="318" y="20"/>
                  </a:lnTo>
                  <a:lnTo>
                    <a:pt x="370" y="22"/>
                  </a:lnTo>
                  <a:lnTo>
                    <a:pt x="391" y="24"/>
                  </a:lnTo>
                  <a:lnTo>
                    <a:pt x="451" y="26"/>
                  </a:lnTo>
                  <a:lnTo>
                    <a:pt x="454" y="31"/>
                  </a:lnTo>
                  <a:lnTo>
                    <a:pt x="459" y="32"/>
                  </a:lnTo>
                  <a:lnTo>
                    <a:pt x="464" y="38"/>
                  </a:lnTo>
                  <a:lnTo>
                    <a:pt x="476" y="43"/>
                  </a:lnTo>
                  <a:lnTo>
                    <a:pt x="478" y="43"/>
                  </a:lnTo>
                  <a:lnTo>
                    <a:pt x="480" y="44"/>
                  </a:lnTo>
                  <a:lnTo>
                    <a:pt x="480" y="46"/>
                  </a:lnTo>
                  <a:lnTo>
                    <a:pt x="487" y="50"/>
                  </a:lnTo>
                  <a:lnTo>
                    <a:pt x="490" y="50"/>
                  </a:lnTo>
                  <a:lnTo>
                    <a:pt x="492" y="50"/>
                  </a:lnTo>
                  <a:lnTo>
                    <a:pt x="495" y="48"/>
                  </a:lnTo>
                  <a:lnTo>
                    <a:pt x="497" y="43"/>
                  </a:lnTo>
                  <a:lnTo>
                    <a:pt x="499" y="41"/>
                  </a:lnTo>
                  <a:lnTo>
                    <a:pt x="504" y="39"/>
                  </a:lnTo>
                  <a:lnTo>
                    <a:pt x="506" y="41"/>
                  </a:lnTo>
                  <a:lnTo>
                    <a:pt x="507" y="43"/>
                  </a:lnTo>
                  <a:lnTo>
                    <a:pt x="511" y="41"/>
                  </a:lnTo>
                  <a:lnTo>
                    <a:pt x="514" y="43"/>
                  </a:lnTo>
                  <a:lnTo>
                    <a:pt x="517" y="41"/>
                  </a:lnTo>
                  <a:lnTo>
                    <a:pt x="523" y="43"/>
                  </a:lnTo>
                  <a:lnTo>
                    <a:pt x="528" y="41"/>
                  </a:lnTo>
                  <a:lnTo>
                    <a:pt x="529" y="41"/>
                  </a:lnTo>
                  <a:lnTo>
                    <a:pt x="531" y="43"/>
                  </a:lnTo>
                  <a:lnTo>
                    <a:pt x="536" y="39"/>
                  </a:lnTo>
                  <a:lnTo>
                    <a:pt x="543" y="41"/>
                  </a:lnTo>
                  <a:lnTo>
                    <a:pt x="547" y="43"/>
                  </a:lnTo>
                  <a:lnTo>
                    <a:pt x="548" y="43"/>
                  </a:lnTo>
                  <a:lnTo>
                    <a:pt x="550" y="43"/>
                  </a:lnTo>
                  <a:lnTo>
                    <a:pt x="552" y="46"/>
                  </a:lnTo>
                  <a:lnTo>
                    <a:pt x="555" y="48"/>
                  </a:lnTo>
                  <a:lnTo>
                    <a:pt x="557" y="51"/>
                  </a:lnTo>
                  <a:lnTo>
                    <a:pt x="567" y="53"/>
                  </a:lnTo>
                  <a:lnTo>
                    <a:pt x="569" y="53"/>
                  </a:lnTo>
                  <a:lnTo>
                    <a:pt x="570" y="53"/>
                  </a:lnTo>
                  <a:lnTo>
                    <a:pt x="569" y="56"/>
                  </a:lnTo>
                  <a:lnTo>
                    <a:pt x="570" y="56"/>
                  </a:lnTo>
                  <a:lnTo>
                    <a:pt x="574" y="55"/>
                  </a:lnTo>
                  <a:lnTo>
                    <a:pt x="582" y="58"/>
                  </a:lnTo>
                  <a:lnTo>
                    <a:pt x="582" y="61"/>
                  </a:lnTo>
                  <a:lnTo>
                    <a:pt x="582" y="61"/>
                  </a:lnTo>
                  <a:lnTo>
                    <a:pt x="589" y="61"/>
                  </a:lnTo>
                  <a:lnTo>
                    <a:pt x="591" y="63"/>
                  </a:lnTo>
                  <a:lnTo>
                    <a:pt x="591" y="65"/>
                  </a:lnTo>
                  <a:lnTo>
                    <a:pt x="589" y="67"/>
                  </a:lnTo>
                  <a:lnTo>
                    <a:pt x="589" y="68"/>
                  </a:lnTo>
                  <a:lnTo>
                    <a:pt x="596" y="75"/>
                  </a:lnTo>
                  <a:lnTo>
                    <a:pt x="596" y="79"/>
                  </a:lnTo>
                  <a:lnTo>
                    <a:pt x="598" y="80"/>
                  </a:lnTo>
                  <a:lnTo>
                    <a:pt x="600" y="79"/>
                  </a:lnTo>
                  <a:lnTo>
                    <a:pt x="603" y="79"/>
                  </a:lnTo>
                  <a:lnTo>
                    <a:pt x="606" y="82"/>
                  </a:lnTo>
                  <a:lnTo>
                    <a:pt x="611" y="82"/>
                  </a:lnTo>
                  <a:lnTo>
                    <a:pt x="615" y="84"/>
                  </a:lnTo>
                  <a:lnTo>
                    <a:pt x="615" y="87"/>
                  </a:lnTo>
                  <a:lnTo>
                    <a:pt x="613" y="89"/>
                  </a:lnTo>
                  <a:lnTo>
                    <a:pt x="613" y="94"/>
                  </a:lnTo>
                  <a:lnTo>
                    <a:pt x="613" y="97"/>
                  </a:lnTo>
                  <a:lnTo>
                    <a:pt x="615" y="99"/>
                  </a:lnTo>
                  <a:lnTo>
                    <a:pt x="617" y="103"/>
                  </a:lnTo>
                  <a:lnTo>
                    <a:pt x="618" y="104"/>
                  </a:lnTo>
                  <a:lnTo>
                    <a:pt x="620" y="106"/>
                  </a:lnTo>
                  <a:lnTo>
                    <a:pt x="620" y="109"/>
                  </a:lnTo>
                  <a:lnTo>
                    <a:pt x="617" y="111"/>
                  </a:lnTo>
                  <a:lnTo>
                    <a:pt x="618" y="116"/>
                  </a:lnTo>
                  <a:lnTo>
                    <a:pt x="623" y="121"/>
                  </a:lnTo>
                  <a:lnTo>
                    <a:pt x="625" y="130"/>
                  </a:lnTo>
                  <a:lnTo>
                    <a:pt x="627" y="132"/>
                  </a:lnTo>
                  <a:lnTo>
                    <a:pt x="627" y="135"/>
                  </a:lnTo>
                  <a:lnTo>
                    <a:pt x="630" y="135"/>
                  </a:lnTo>
                  <a:lnTo>
                    <a:pt x="632" y="137"/>
                  </a:lnTo>
                  <a:lnTo>
                    <a:pt x="634" y="138"/>
                  </a:lnTo>
                  <a:lnTo>
                    <a:pt x="634" y="142"/>
                  </a:lnTo>
                  <a:lnTo>
                    <a:pt x="634" y="145"/>
                  </a:lnTo>
                  <a:lnTo>
                    <a:pt x="635" y="149"/>
                  </a:lnTo>
                  <a:lnTo>
                    <a:pt x="641" y="157"/>
                  </a:lnTo>
                  <a:lnTo>
                    <a:pt x="639" y="161"/>
                  </a:lnTo>
                  <a:lnTo>
                    <a:pt x="637" y="164"/>
                  </a:lnTo>
                  <a:lnTo>
                    <a:pt x="639" y="166"/>
                  </a:lnTo>
                  <a:lnTo>
                    <a:pt x="635" y="167"/>
                  </a:lnTo>
                  <a:lnTo>
                    <a:pt x="637" y="169"/>
                  </a:lnTo>
                  <a:lnTo>
                    <a:pt x="639" y="171"/>
                  </a:lnTo>
                  <a:lnTo>
                    <a:pt x="637" y="178"/>
                  </a:lnTo>
                  <a:lnTo>
                    <a:pt x="639" y="179"/>
                  </a:lnTo>
                  <a:lnTo>
                    <a:pt x="639" y="181"/>
                  </a:lnTo>
                  <a:lnTo>
                    <a:pt x="639" y="185"/>
                  </a:lnTo>
                  <a:lnTo>
                    <a:pt x="642" y="186"/>
                  </a:lnTo>
                  <a:lnTo>
                    <a:pt x="646" y="185"/>
                  </a:lnTo>
                  <a:lnTo>
                    <a:pt x="646" y="185"/>
                  </a:lnTo>
                  <a:lnTo>
                    <a:pt x="646" y="188"/>
                  </a:lnTo>
                  <a:lnTo>
                    <a:pt x="646" y="190"/>
                  </a:lnTo>
                  <a:lnTo>
                    <a:pt x="646" y="190"/>
                  </a:lnTo>
                  <a:lnTo>
                    <a:pt x="649" y="191"/>
                  </a:lnTo>
                  <a:lnTo>
                    <a:pt x="651" y="193"/>
                  </a:lnTo>
                  <a:lnTo>
                    <a:pt x="651" y="200"/>
                  </a:lnTo>
                  <a:lnTo>
                    <a:pt x="651" y="205"/>
                  </a:lnTo>
                  <a:lnTo>
                    <a:pt x="654" y="210"/>
                  </a:lnTo>
                  <a:lnTo>
                    <a:pt x="654" y="212"/>
                  </a:lnTo>
                  <a:lnTo>
                    <a:pt x="653" y="208"/>
                  </a:lnTo>
                  <a:lnTo>
                    <a:pt x="651" y="210"/>
                  </a:lnTo>
                  <a:lnTo>
                    <a:pt x="653" y="219"/>
                  </a:lnTo>
                  <a:lnTo>
                    <a:pt x="653" y="220"/>
                  </a:lnTo>
                  <a:lnTo>
                    <a:pt x="653" y="222"/>
                  </a:lnTo>
                  <a:lnTo>
                    <a:pt x="658" y="222"/>
                  </a:lnTo>
                  <a:lnTo>
                    <a:pt x="658" y="224"/>
                  </a:lnTo>
                  <a:lnTo>
                    <a:pt x="656" y="224"/>
                  </a:lnTo>
                  <a:lnTo>
                    <a:pt x="658" y="231"/>
                  </a:lnTo>
                  <a:lnTo>
                    <a:pt x="656" y="236"/>
                  </a:lnTo>
                  <a:lnTo>
                    <a:pt x="658" y="239"/>
                  </a:lnTo>
                  <a:lnTo>
                    <a:pt x="658" y="243"/>
                  </a:lnTo>
                  <a:lnTo>
                    <a:pt x="659" y="244"/>
                  </a:lnTo>
                  <a:lnTo>
                    <a:pt x="659" y="253"/>
                  </a:lnTo>
                  <a:lnTo>
                    <a:pt x="659" y="256"/>
                  </a:lnTo>
                  <a:lnTo>
                    <a:pt x="658" y="258"/>
                  </a:lnTo>
                  <a:lnTo>
                    <a:pt x="658" y="265"/>
                  </a:lnTo>
                  <a:lnTo>
                    <a:pt x="656" y="272"/>
                  </a:lnTo>
                  <a:lnTo>
                    <a:pt x="664" y="280"/>
                  </a:lnTo>
                  <a:lnTo>
                    <a:pt x="666" y="284"/>
                  </a:lnTo>
                  <a:lnTo>
                    <a:pt x="664" y="287"/>
                  </a:lnTo>
                  <a:lnTo>
                    <a:pt x="664" y="290"/>
                  </a:lnTo>
                  <a:lnTo>
                    <a:pt x="668" y="292"/>
                  </a:lnTo>
                  <a:lnTo>
                    <a:pt x="671" y="294"/>
                  </a:lnTo>
                  <a:lnTo>
                    <a:pt x="671" y="290"/>
                  </a:lnTo>
                  <a:lnTo>
                    <a:pt x="671" y="289"/>
                  </a:lnTo>
                  <a:lnTo>
                    <a:pt x="673" y="290"/>
                  </a:lnTo>
                  <a:lnTo>
                    <a:pt x="673" y="292"/>
                  </a:lnTo>
                  <a:lnTo>
                    <a:pt x="671" y="296"/>
                  </a:lnTo>
                  <a:lnTo>
                    <a:pt x="671" y="297"/>
                  </a:lnTo>
                  <a:lnTo>
                    <a:pt x="675" y="308"/>
                  </a:lnTo>
                  <a:lnTo>
                    <a:pt x="676" y="311"/>
                  </a:lnTo>
                  <a:lnTo>
                    <a:pt x="676" y="313"/>
                  </a:lnTo>
                  <a:lnTo>
                    <a:pt x="676" y="314"/>
                  </a:lnTo>
                  <a:lnTo>
                    <a:pt x="675" y="316"/>
                  </a:lnTo>
                  <a:lnTo>
                    <a:pt x="675" y="316"/>
                  </a:lnTo>
                  <a:lnTo>
                    <a:pt x="678" y="316"/>
                  </a:lnTo>
                  <a:lnTo>
                    <a:pt x="683" y="321"/>
                  </a:lnTo>
                  <a:lnTo>
                    <a:pt x="688" y="326"/>
                  </a:lnTo>
                  <a:lnTo>
                    <a:pt x="690" y="326"/>
                  </a:lnTo>
                  <a:lnTo>
                    <a:pt x="690" y="331"/>
                  </a:lnTo>
                  <a:lnTo>
                    <a:pt x="694" y="337"/>
                  </a:lnTo>
                  <a:lnTo>
                    <a:pt x="695" y="338"/>
                  </a:lnTo>
                  <a:lnTo>
                    <a:pt x="695" y="340"/>
                  </a:lnTo>
                  <a:lnTo>
                    <a:pt x="695" y="342"/>
                  </a:lnTo>
                  <a:lnTo>
                    <a:pt x="694" y="345"/>
                  </a:lnTo>
                  <a:lnTo>
                    <a:pt x="695" y="345"/>
                  </a:lnTo>
                  <a:lnTo>
                    <a:pt x="697" y="347"/>
                  </a:lnTo>
                  <a:lnTo>
                    <a:pt x="699" y="347"/>
                  </a:lnTo>
                  <a:lnTo>
                    <a:pt x="702" y="350"/>
                  </a:lnTo>
                  <a:lnTo>
                    <a:pt x="700" y="350"/>
                  </a:lnTo>
                  <a:lnTo>
                    <a:pt x="664" y="350"/>
                  </a:lnTo>
                  <a:lnTo>
                    <a:pt x="646" y="350"/>
                  </a:lnTo>
                  <a:lnTo>
                    <a:pt x="627" y="350"/>
                  </a:lnTo>
                  <a:lnTo>
                    <a:pt x="608" y="350"/>
                  </a:lnTo>
                  <a:lnTo>
                    <a:pt x="581" y="350"/>
                  </a:lnTo>
                  <a:lnTo>
                    <a:pt x="572" y="350"/>
                  </a:lnTo>
                  <a:lnTo>
                    <a:pt x="535" y="350"/>
                  </a:lnTo>
                  <a:lnTo>
                    <a:pt x="497" y="349"/>
                  </a:lnTo>
                  <a:lnTo>
                    <a:pt x="488" y="349"/>
                  </a:lnTo>
                  <a:lnTo>
                    <a:pt x="461" y="349"/>
                  </a:lnTo>
                  <a:lnTo>
                    <a:pt x="442" y="349"/>
                  </a:lnTo>
                  <a:lnTo>
                    <a:pt x="423" y="347"/>
                  </a:lnTo>
                  <a:lnTo>
                    <a:pt x="396" y="347"/>
                  </a:lnTo>
                  <a:lnTo>
                    <a:pt x="386" y="345"/>
                  </a:lnTo>
                  <a:lnTo>
                    <a:pt x="350" y="345"/>
                  </a:lnTo>
                  <a:lnTo>
                    <a:pt x="306" y="343"/>
                  </a:lnTo>
                  <a:lnTo>
                    <a:pt x="304" y="343"/>
                  </a:lnTo>
                  <a:lnTo>
                    <a:pt x="259" y="340"/>
                  </a:lnTo>
                  <a:lnTo>
                    <a:pt x="258" y="340"/>
                  </a:lnTo>
                  <a:lnTo>
                    <a:pt x="212" y="338"/>
                  </a:lnTo>
                  <a:lnTo>
                    <a:pt x="205" y="33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3" name="Freeform 142"/>
            <p:cNvSpPr>
              <a:spLocks noEditPoints="1"/>
            </p:cNvSpPr>
            <p:nvPr/>
          </p:nvSpPr>
          <p:spPr bwMode="gray">
            <a:xfrm>
              <a:off x="7319708" y="2389045"/>
              <a:ext cx="1035399" cy="784198"/>
            </a:xfrm>
            <a:custGeom>
              <a:avLst/>
              <a:gdLst/>
              <a:ahLst/>
              <a:cxnLst>
                <a:cxn ang="0">
                  <a:pos x="43" y="349"/>
                </a:cxn>
                <a:cxn ang="0">
                  <a:pos x="55" y="297"/>
                </a:cxn>
                <a:cxn ang="0">
                  <a:pos x="36" y="273"/>
                </a:cxn>
                <a:cxn ang="0">
                  <a:pos x="151" y="255"/>
                </a:cxn>
                <a:cxn ang="0">
                  <a:pos x="214" y="232"/>
                </a:cxn>
                <a:cxn ang="0">
                  <a:pos x="248" y="191"/>
                </a:cxn>
                <a:cxn ang="0">
                  <a:pos x="245" y="159"/>
                </a:cxn>
                <a:cxn ang="0">
                  <a:pos x="224" y="145"/>
                </a:cxn>
                <a:cxn ang="0">
                  <a:pos x="310" y="34"/>
                </a:cxn>
                <a:cxn ang="0">
                  <a:pos x="428" y="3"/>
                </a:cxn>
                <a:cxn ang="0">
                  <a:pos x="434" y="20"/>
                </a:cxn>
                <a:cxn ang="0">
                  <a:pos x="434" y="39"/>
                </a:cxn>
                <a:cxn ang="0">
                  <a:pos x="440" y="48"/>
                </a:cxn>
                <a:cxn ang="0">
                  <a:pos x="450" y="77"/>
                </a:cxn>
                <a:cxn ang="0">
                  <a:pos x="446" y="96"/>
                </a:cxn>
                <a:cxn ang="0">
                  <a:pos x="448" y="108"/>
                </a:cxn>
                <a:cxn ang="0">
                  <a:pos x="458" y="128"/>
                </a:cxn>
                <a:cxn ang="0">
                  <a:pos x="458" y="150"/>
                </a:cxn>
                <a:cxn ang="0">
                  <a:pos x="467" y="143"/>
                </a:cxn>
                <a:cxn ang="0">
                  <a:pos x="474" y="154"/>
                </a:cxn>
                <a:cxn ang="0">
                  <a:pos x="487" y="229"/>
                </a:cxn>
                <a:cxn ang="0">
                  <a:pos x="491" y="309"/>
                </a:cxn>
                <a:cxn ang="0">
                  <a:pos x="505" y="384"/>
                </a:cxn>
                <a:cxn ang="0">
                  <a:pos x="505" y="424"/>
                </a:cxn>
                <a:cxn ang="0">
                  <a:pos x="489" y="451"/>
                </a:cxn>
                <a:cxn ang="0">
                  <a:pos x="487" y="443"/>
                </a:cxn>
                <a:cxn ang="0">
                  <a:pos x="458" y="422"/>
                </a:cxn>
                <a:cxn ang="0">
                  <a:pos x="414" y="405"/>
                </a:cxn>
                <a:cxn ang="0">
                  <a:pos x="405" y="400"/>
                </a:cxn>
                <a:cxn ang="0">
                  <a:pos x="393" y="396"/>
                </a:cxn>
                <a:cxn ang="0">
                  <a:pos x="380" y="386"/>
                </a:cxn>
                <a:cxn ang="0">
                  <a:pos x="378" y="374"/>
                </a:cxn>
                <a:cxn ang="0">
                  <a:pos x="375" y="366"/>
                </a:cxn>
                <a:cxn ang="0">
                  <a:pos x="366" y="360"/>
                </a:cxn>
                <a:cxn ang="0">
                  <a:pos x="349" y="350"/>
                </a:cxn>
                <a:cxn ang="0">
                  <a:pos x="287" y="364"/>
                </a:cxn>
                <a:cxn ang="0">
                  <a:pos x="173" y="386"/>
                </a:cxn>
                <a:cxn ang="0">
                  <a:pos x="72" y="407"/>
                </a:cxn>
                <a:cxn ang="0">
                  <a:pos x="0" y="390"/>
                </a:cxn>
                <a:cxn ang="0">
                  <a:pos x="506" y="465"/>
                </a:cxn>
                <a:cxn ang="0">
                  <a:pos x="487" y="475"/>
                </a:cxn>
                <a:cxn ang="0">
                  <a:pos x="503" y="449"/>
                </a:cxn>
                <a:cxn ang="0">
                  <a:pos x="525" y="429"/>
                </a:cxn>
                <a:cxn ang="0">
                  <a:pos x="585" y="407"/>
                </a:cxn>
                <a:cxn ang="0">
                  <a:pos x="602" y="398"/>
                </a:cxn>
                <a:cxn ang="0">
                  <a:pos x="611" y="396"/>
                </a:cxn>
                <a:cxn ang="0">
                  <a:pos x="643" y="383"/>
                </a:cxn>
                <a:cxn ang="0">
                  <a:pos x="508" y="470"/>
                </a:cxn>
                <a:cxn ang="0">
                  <a:pos x="561" y="448"/>
                </a:cxn>
                <a:cxn ang="0">
                  <a:pos x="581" y="434"/>
                </a:cxn>
                <a:cxn ang="0">
                  <a:pos x="544" y="458"/>
                </a:cxn>
                <a:cxn ang="0">
                  <a:pos x="481" y="470"/>
                </a:cxn>
                <a:cxn ang="0">
                  <a:pos x="472" y="487"/>
                </a:cxn>
              </a:cxnLst>
              <a:rect l="0" t="0" r="r" b="b"/>
              <a:pathLst>
                <a:path w="643" h="487">
                  <a:moveTo>
                    <a:pt x="0" y="390"/>
                  </a:moveTo>
                  <a:lnTo>
                    <a:pt x="23" y="369"/>
                  </a:lnTo>
                  <a:lnTo>
                    <a:pt x="28" y="360"/>
                  </a:lnTo>
                  <a:lnTo>
                    <a:pt x="43" y="349"/>
                  </a:lnTo>
                  <a:lnTo>
                    <a:pt x="48" y="333"/>
                  </a:lnTo>
                  <a:lnTo>
                    <a:pt x="60" y="321"/>
                  </a:lnTo>
                  <a:lnTo>
                    <a:pt x="52" y="302"/>
                  </a:lnTo>
                  <a:lnTo>
                    <a:pt x="55" y="297"/>
                  </a:lnTo>
                  <a:lnTo>
                    <a:pt x="50" y="292"/>
                  </a:lnTo>
                  <a:lnTo>
                    <a:pt x="40" y="292"/>
                  </a:lnTo>
                  <a:lnTo>
                    <a:pt x="40" y="287"/>
                  </a:lnTo>
                  <a:lnTo>
                    <a:pt x="36" y="273"/>
                  </a:lnTo>
                  <a:lnTo>
                    <a:pt x="81" y="255"/>
                  </a:lnTo>
                  <a:lnTo>
                    <a:pt x="117" y="248"/>
                  </a:lnTo>
                  <a:lnTo>
                    <a:pt x="135" y="248"/>
                  </a:lnTo>
                  <a:lnTo>
                    <a:pt x="151" y="255"/>
                  </a:lnTo>
                  <a:lnTo>
                    <a:pt x="164" y="248"/>
                  </a:lnTo>
                  <a:lnTo>
                    <a:pt x="200" y="241"/>
                  </a:lnTo>
                  <a:lnTo>
                    <a:pt x="212" y="231"/>
                  </a:lnTo>
                  <a:lnTo>
                    <a:pt x="214" y="232"/>
                  </a:lnTo>
                  <a:lnTo>
                    <a:pt x="219" y="222"/>
                  </a:lnTo>
                  <a:lnTo>
                    <a:pt x="231" y="210"/>
                  </a:lnTo>
                  <a:lnTo>
                    <a:pt x="246" y="202"/>
                  </a:lnTo>
                  <a:lnTo>
                    <a:pt x="248" y="191"/>
                  </a:lnTo>
                  <a:lnTo>
                    <a:pt x="245" y="188"/>
                  </a:lnTo>
                  <a:lnTo>
                    <a:pt x="240" y="171"/>
                  </a:lnTo>
                  <a:lnTo>
                    <a:pt x="241" y="162"/>
                  </a:lnTo>
                  <a:lnTo>
                    <a:pt x="245" y="159"/>
                  </a:lnTo>
                  <a:lnTo>
                    <a:pt x="243" y="152"/>
                  </a:lnTo>
                  <a:lnTo>
                    <a:pt x="236" y="147"/>
                  </a:lnTo>
                  <a:lnTo>
                    <a:pt x="231" y="150"/>
                  </a:lnTo>
                  <a:lnTo>
                    <a:pt x="224" y="145"/>
                  </a:lnTo>
                  <a:lnTo>
                    <a:pt x="257" y="108"/>
                  </a:lnTo>
                  <a:lnTo>
                    <a:pt x="260" y="92"/>
                  </a:lnTo>
                  <a:lnTo>
                    <a:pt x="286" y="55"/>
                  </a:lnTo>
                  <a:lnTo>
                    <a:pt x="310" y="34"/>
                  </a:lnTo>
                  <a:lnTo>
                    <a:pt x="325" y="26"/>
                  </a:lnTo>
                  <a:lnTo>
                    <a:pt x="378" y="14"/>
                  </a:lnTo>
                  <a:lnTo>
                    <a:pt x="428" y="0"/>
                  </a:lnTo>
                  <a:lnTo>
                    <a:pt x="428" y="3"/>
                  </a:lnTo>
                  <a:lnTo>
                    <a:pt x="429" y="7"/>
                  </a:lnTo>
                  <a:lnTo>
                    <a:pt x="429" y="17"/>
                  </a:lnTo>
                  <a:lnTo>
                    <a:pt x="431" y="20"/>
                  </a:lnTo>
                  <a:lnTo>
                    <a:pt x="434" y="20"/>
                  </a:lnTo>
                  <a:lnTo>
                    <a:pt x="433" y="31"/>
                  </a:lnTo>
                  <a:lnTo>
                    <a:pt x="434" y="34"/>
                  </a:lnTo>
                  <a:lnTo>
                    <a:pt x="434" y="36"/>
                  </a:lnTo>
                  <a:lnTo>
                    <a:pt x="434" y="39"/>
                  </a:lnTo>
                  <a:lnTo>
                    <a:pt x="434" y="41"/>
                  </a:lnTo>
                  <a:lnTo>
                    <a:pt x="436" y="44"/>
                  </a:lnTo>
                  <a:lnTo>
                    <a:pt x="440" y="48"/>
                  </a:lnTo>
                  <a:lnTo>
                    <a:pt x="440" y="48"/>
                  </a:lnTo>
                  <a:lnTo>
                    <a:pt x="446" y="58"/>
                  </a:lnTo>
                  <a:lnTo>
                    <a:pt x="446" y="61"/>
                  </a:lnTo>
                  <a:lnTo>
                    <a:pt x="445" y="67"/>
                  </a:lnTo>
                  <a:lnTo>
                    <a:pt x="450" y="77"/>
                  </a:lnTo>
                  <a:lnTo>
                    <a:pt x="446" y="84"/>
                  </a:lnTo>
                  <a:lnTo>
                    <a:pt x="446" y="87"/>
                  </a:lnTo>
                  <a:lnTo>
                    <a:pt x="445" y="92"/>
                  </a:lnTo>
                  <a:lnTo>
                    <a:pt x="446" y="96"/>
                  </a:lnTo>
                  <a:lnTo>
                    <a:pt x="445" y="101"/>
                  </a:lnTo>
                  <a:lnTo>
                    <a:pt x="445" y="102"/>
                  </a:lnTo>
                  <a:lnTo>
                    <a:pt x="448" y="104"/>
                  </a:lnTo>
                  <a:lnTo>
                    <a:pt x="448" y="108"/>
                  </a:lnTo>
                  <a:lnTo>
                    <a:pt x="452" y="114"/>
                  </a:lnTo>
                  <a:lnTo>
                    <a:pt x="453" y="118"/>
                  </a:lnTo>
                  <a:lnTo>
                    <a:pt x="455" y="126"/>
                  </a:lnTo>
                  <a:lnTo>
                    <a:pt x="458" y="128"/>
                  </a:lnTo>
                  <a:lnTo>
                    <a:pt x="458" y="130"/>
                  </a:lnTo>
                  <a:lnTo>
                    <a:pt x="458" y="135"/>
                  </a:lnTo>
                  <a:lnTo>
                    <a:pt x="457" y="145"/>
                  </a:lnTo>
                  <a:lnTo>
                    <a:pt x="458" y="150"/>
                  </a:lnTo>
                  <a:lnTo>
                    <a:pt x="460" y="150"/>
                  </a:lnTo>
                  <a:lnTo>
                    <a:pt x="462" y="145"/>
                  </a:lnTo>
                  <a:lnTo>
                    <a:pt x="465" y="143"/>
                  </a:lnTo>
                  <a:lnTo>
                    <a:pt x="467" y="143"/>
                  </a:lnTo>
                  <a:lnTo>
                    <a:pt x="469" y="147"/>
                  </a:lnTo>
                  <a:lnTo>
                    <a:pt x="469" y="149"/>
                  </a:lnTo>
                  <a:lnTo>
                    <a:pt x="470" y="149"/>
                  </a:lnTo>
                  <a:lnTo>
                    <a:pt x="474" y="154"/>
                  </a:lnTo>
                  <a:lnTo>
                    <a:pt x="477" y="176"/>
                  </a:lnTo>
                  <a:lnTo>
                    <a:pt x="486" y="215"/>
                  </a:lnTo>
                  <a:lnTo>
                    <a:pt x="487" y="225"/>
                  </a:lnTo>
                  <a:lnTo>
                    <a:pt x="487" y="229"/>
                  </a:lnTo>
                  <a:lnTo>
                    <a:pt x="491" y="234"/>
                  </a:lnTo>
                  <a:lnTo>
                    <a:pt x="491" y="234"/>
                  </a:lnTo>
                  <a:lnTo>
                    <a:pt x="491" y="261"/>
                  </a:lnTo>
                  <a:lnTo>
                    <a:pt x="491" y="309"/>
                  </a:lnTo>
                  <a:lnTo>
                    <a:pt x="493" y="313"/>
                  </a:lnTo>
                  <a:lnTo>
                    <a:pt x="499" y="352"/>
                  </a:lnTo>
                  <a:lnTo>
                    <a:pt x="501" y="367"/>
                  </a:lnTo>
                  <a:lnTo>
                    <a:pt x="505" y="384"/>
                  </a:lnTo>
                  <a:lnTo>
                    <a:pt x="506" y="393"/>
                  </a:lnTo>
                  <a:lnTo>
                    <a:pt x="513" y="400"/>
                  </a:lnTo>
                  <a:lnTo>
                    <a:pt x="498" y="415"/>
                  </a:lnTo>
                  <a:lnTo>
                    <a:pt x="505" y="424"/>
                  </a:lnTo>
                  <a:lnTo>
                    <a:pt x="506" y="425"/>
                  </a:lnTo>
                  <a:lnTo>
                    <a:pt x="498" y="439"/>
                  </a:lnTo>
                  <a:lnTo>
                    <a:pt x="498" y="446"/>
                  </a:lnTo>
                  <a:lnTo>
                    <a:pt x="489" y="451"/>
                  </a:lnTo>
                  <a:lnTo>
                    <a:pt x="486" y="463"/>
                  </a:lnTo>
                  <a:lnTo>
                    <a:pt x="484" y="460"/>
                  </a:lnTo>
                  <a:lnTo>
                    <a:pt x="486" y="453"/>
                  </a:lnTo>
                  <a:lnTo>
                    <a:pt x="487" y="443"/>
                  </a:lnTo>
                  <a:lnTo>
                    <a:pt x="487" y="437"/>
                  </a:lnTo>
                  <a:lnTo>
                    <a:pt x="487" y="434"/>
                  </a:lnTo>
                  <a:lnTo>
                    <a:pt x="486" y="429"/>
                  </a:lnTo>
                  <a:lnTo>
                    <a:pt x="458" y="422"/>
                  </a:lnTo>
                  <a:lnTo>
                    <a:pt x="457" y="422"/>
                  </a:lnTo>
                  <a:lnTo>
                    <a:pt x="445" y="417"/>
                  </a:lnTo>
                  <a:lnTo>
                    <a:pt x="416" y="407"/>
                  </a:lnTo>
                  <a:lnTo>
                    <a:pt x="414" y="405"/>
                  </a:lnTo>
                  <a:lnTo>
                    <a:pt x="411" y="403"/>
                  </a:lnTo>
                  <a:lnTo>
                    <a:pt x="411" y="400"/>
                  </a:lnTo>
                  <a:lnTo>
                    <a:pt x="409" y="400"/>
                  </a:lnTo>
                  <a:lnTo>
                    <a:pt x="405" y="400"/>
                  </a:lnTo>
                  <a:lnTo>
                    <a:pt x="400" y="400"/>
                  </a:lnTo>
                  <a:lnTo>
                    <a:pt x="397" y="402"/>
                  </a:lnTo>
                  <a:lnTo>
                    <a:pt x="397" y="400"/>
                  </a:lnTo>
                  <a:lnTo>
                    <a:pt x="393" y="396"/>
                  </a:lnTo>
                  <a:lnTo>
                    <a:pt x="390" y="398"/>
                  </a:lnTo>
                  <a:lnTo>
                    <a:pt x="387" y="393"/>
                  </a:lnTo>
                  <a:lnTo>
                    <a:pt x="385" y="390"/>
                  </a:lnTo>
                  <a:lnTo>
                    <a:pt x="380" y="386"/>
                  </a:lnTo>
                  <a:lnTo>
                    <a:pt x="380" y="386"/>
                  </a:lnTo>
                  <a:lnTo>
                    <a:pt x="381" y="383"/>
                  </a:lnTo>
                  <a:lnTo>
                    <a:pt x="378" y="376"/>
                  </a:lnTo>
                  <a:lnTo>
                    <a:pt x="378" y="374"/>
                  </a:lnTo>
                  <a:lnTo>
                    <a:pt x="376" y="369"/>
                  </a:lnTo>
                  <a:lnTo>
                    <a:pt x="375" y="369"/>
                  </a:lnTo>
                  <a:lnTo>
                    <a:pt x="373" y="367"/>
                  </a:lnTo>
                  <a:lnTo>
                    <a:pt x="375" y="366"/>
                  </a:lnTo>
                  <a:lnTo>
                    <a:pt x="371" y="364"/>
                  </a:lnTo>
                  <a:lnTo>
                    <a:pt x="370" y="362"/>
                  </a:lnTo>
                  <a:lnTo>
                    <a:pt x="368" y="362"/>
                  </a:lnTo>
                  <a:lnTo>
                    <a:pt x="366" y="360"/>
                  </a:lnTo>
                  <a:lnTo>
                    <a:pt x="359" y="362"/>
                  </a:lnTo>
                  <a:lnTo>
                    <a:pt x="356" y="355"/>
                  </a:lnTo>
                  <a:lnTo>
                    <a:pt x="352" y="354"/>
                  </a:lnTo>
                  <a:lnTo>
                    <a:pt x="349" y="350"/>
                  </a:lnTo>
                  <a:lnTo>
                    <a:pt x="347" y="350"/>
                  </a:lnTo>
                  <a:lnTo>
                    <a:pt x="339" y="352"/>
                  </a:lnTo>
                  <a:lnTo>
                    <a:pt x="291" y="362"/>
                  </a:lnTo>
                  <a:lnTo>
                    <a:pt x="287" y="364"/>
                  </a:lnTo>
                  <a:lnTo>
                    <a:pt x="255" y="371"/>
                  </a:lnTo>
                  <a:lnTo>
                    <a:pt x="226" y="376"/>
                  </a:lnTo>
                  <a:lnTo>
                    <a:pt x="224" y="376"/>
                  </a:lnTo>
                  <a:lnTo>
                    <a:pt x="173" y="386"/>
                  </a:lnTo>
                  <a:lnTo>
                    <a:pt x="163" y="390"/>
                  </a:lnTo>
                  <a:lnTo>
                    <a:pt x="127" y="396"/>
                  </a:lnTo>
                  <a:lnTo>
                    <a:pt x="120" y="396"/>
                  </a:lnTo>
                  <a:lnTo>
                    <a:pt x="72" y="407"/>
                  </a:lnTo>
                  <a:lnTo>
                    <a:pt x="60" y="408"/>
                  </a:lnTo>
                  <a:lnTo>
                    <a:pt x="17" y="415"/>
                  </a:lnTo>
                  <a:lnTo>
                    <a:pt x="5" y="417"/>
                  </a:lnTo>
                  <a:lnTo>
                    <a:pt x="0" y="390"/>
                  </a:lnTo>
                  <a:close/>
                  <a:moveTo>
                    <a:pt x="508" y="470"/>
                  </a:moveTo>
                  <a:lnTo>
                    <a:pt x="494" y="477"/>
                  </a:lnTo>
                  <a:lnTo>
                    <a:pt x="506" y="466"/>
                  </a:lnTo>
                  <a:lnTo>
                    <a:pt x="506" y="465"/>
                  </a:lnTo>
                  <a:lnTo>
                    <a:pt x="499" y="465"/>
                  </a:lnTo>
                  <a:lnTo>
                    <a:pt x="494" y="468"/>
                  </a:lnTo>
                  <a:lnTo>
                    <a:pt x="498" y="472"/>
                  </a:lnTo>
                  <a:lnTo>
                    <a:pt x="487" y="475"/>
                  </a:lnTo>
                  <a:lnTo>
                    <a:pt x="486" y="470"/>
                  </a:lnTo>
                  <a:lnTo>
                    <a:pt x="487" y="458"/>
                  </a:lnTo>
                  <a:lnTo>
                    <a:pt x="491" y="451"/>
                  </a:lnTo>
                  <a:lnTo>
                    <a:pt x="503" y="449"/>
                  </a:lnTo>
                  <a:lnTo>
                    <a:pt x="501" y="443"/>
                  </a:lnTo>
                  <a:lnTo>
                    <a:pt x="511" y="434"/>
                  </a:lnTo>
                  <a:lnTo>
                    <a:pt x="522" y="434"/>
                  </a:lnTo>
                  <a:lnTo>
                    <a:pt x="525" y="429"/>
                  </a:lnTo>
                  <a:lnTo>
                    <a:pt x="542" y="427"/>
                  </a:lnTo>
                  <a:lnTo>
                    <a:pt x="547" y="420"/>
                  </a:lnTo>
                  <a:lnTo>
                    <a:pt x="556" y="417"/>
                  </a:lnTo>
                  <a:lnTo>
                    <a:pt x="585" y="407"/>
                  </a:lnTo>
                  <a:lnTo>
                    <a:pt x="605" y="383"/>
                  </a:lnTo>
                  <a:lnTo>
                    <a:pt x="609" y="383"/>
                  </a:lnTo>
                  <a:lnTo>
                    <a:pt x="604" y="388"/>
                  </a:lnTo>
                  <a:lnTo>
                    <a:pt x="602" y="398"/>
                  </a:lnTo>
                  <a:lnTo>
                    <a:pt x="592" y="407"/>
                  </a:lnTo>
                  <a:lnTo>
                    <a:pt x="590" y="415"/>
                  </a:lnTo>
                  <a:lnTo>
                    <a:pt x="600" y="410"/>
                  </a:lnTo>
                  <a:lnTo>
                    <a:pt x="611" y="396"/>
                  </a:lnTo>
                  <a:lnTo>
                    <a:pt x="617" y="393"/>
                  </a:lnTo>
                  <a:lnTo>
                    <a:pt x="628" y="395"/>
                  </a:lnTo>
                  <a:lnTo>
                    <a:pt x="638" y="383"/>
                  </a:lnTo>
                  <a:lnTo>
                    <a:pt x="643" y="383"/>
                  </a:lnTo>
                  <a:lnTo>
                    <a:pt x="640" y="388"/>
                  </a:lnTo>
                  <a:lnTo>
                    <a:pt x="599" y="422"/>
                  </a:lnTo>
                  <a:lnTo>
                    <a:pt x="532" y="456"/>
                  </a:lnTo>
                  <a:lnTo>
                    <a:pt x="508" y="470"/>
                  </a:lnTo>
                  <a:close/>
                  <a:moveTo>
                    <a:pt x="544" y="458"/>
                  </a:moveTo>
                  <a:lnTo>
                    <a:pt x="544" y="456"/>
                  </a:lnTo>
                  <a:lnTo>
                    <a:pt x="547" y="456"/>
                  </a:lnTo>
                  <a:lnTo>
                    <a:pt x="561" y="448"/>
                  </a:lnTo>
                  <a:lnTo>
                    <a:pt x="573" y="437"/>
                  </a:lnTo>
                  <a:lnTo>
                    <a:pt x="580" y="432"/>
                  </a:lnTo>
                  <a:lnTo>
                    <a:pt x="581" y="432"/>
                  </a:lnTo>
                  <a:lnTo>
                    <a:pt x="581" y="434"/>
                  </a:lnTo>
                  <a:lnTo>
                    <a:pt x="568" y="443"/>
                  </a:lnTo>
                  <a:lnTo>
                    <a:pt x="563" y="448"/>
                  </a:lnTo>
                  <a:lnTo>
                    <a:pt x="547" y="456"/>
                  </a:lnTo>
                  <a:lnTo>
                    <a:pt x="544" y="458"/>
                  </a:lnTo>
                  <a:close/>
                  <a:moveTo>
                    <a:pt x="472" y="487"/>
                  </a:moveTo>
                  <a:lnTo>
                    <a:pt x="470" y="484"/>
                  </a:lnTo>
                  <a:lnTo>
                    <a:pt x="474" y="473"/>
                  </a:lnTo>
                  <a:lnTo>
                    <a:pt x="481" y="470"/>
                  </a:lnTo>
                  <a:lnTo>
                    <a:pt x="484" y="475"/>
                  </a:lnTo>
                  <a:lnTo>
                    <a:pt x="481" y="482"/>
                  </a:lnTo>
                  <a:lnTo>
                    <a:pt x="475" y="487"/>
                  </a:lnTo>
                  <a:lnTo>
                    <a:pt x="472" y="487"/>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4" name="Freeform 143"/>
            <p:cNvSpPr>
              <a:spLocks/>
            </p:cNvSpPr>
            <p:nvPr/>
          </p:nvSpPr>
          <p:spPr bwMode="gray">
            <a:xfrm>
              <a:off x="7234363" y="2952637"/>
              <a:ext cx="795469" cy="515284"/>
            </a:xfrm>
            <a:custGeom>
              <a:avLst/>
              <a:gdLst/>
              <a:ahLst/>
              <a:cxnLst>
                <a:cxn ang="0">
                  <a:pos x="216" y="289"/>
                </a:cxn>
                <a:cxn ang="0">
                  <a:pos x="168" y="298"/>
                </a:cxn>
                <a:cxn ang="0">
                  <a:pos x="100" y="310"/>
                </a:cxn>
                <a:cxn ang="0">
                  <a:pos x="40" y="320"/>
                </a:cxn>
                <a:cxn ang="0">
                  <a:pos x="31" y="274"/>
                </a:cxn>
                <a:cxn ang="0">
                  <a:pos x="23" y="222"/>
                </a:cxn>
                <a:cxn ang="0">
                  <a:pos x="14" y="171"/>
                </a:cxn>
                <a:cxn ang="0">
                  <a:pos x="2" y="94"/>
                </a:cxn>
                <a:cxn ang="0">
                  <a:pos x="58" y="67"/>
                </a:cxn>
                <a:cxn ang="0">
                  <a:pos x="125" y="57"/>
                </a:cxn>
                <a:cxn ang="0">
                  <a:pos x="216" y="40"/>
                </a:cxn>
                <a:cxn ang="0">
                  <a:pos x="279" y="26"/>
                </a:cxn>
                <a:cxn ang="0">
                  <a:pos x="344" y="12"/>
                </a:cxn>
                <a:cxn ang="0">
                  <a:pos x="402" y="0"/>
                </a:cxn>
                <a:cxn ang="0">
                  <a:pos x="412" y="12"/>
                </a:cxn>
                <a:cxn ang="0">
                  <a:pos x="423" y="12"/>
                </a:cxn>
                <a:cxn ang="0">
                  <a:pos x="426" y="17"/>
                </a:cxn>
                <a:cxn ang="0">
                  <a:pos x="431" y="24"/>
                </a:cxn>
                <a:cxn ang="0">
                  <a:pos x="433" y="36"/>
                </a:cxn>
                <a:cxn ang="0">
                  <a:pos x="440" y="43"/>
                </a:cxn>
                <a:cxn ang="0">
                  <a:pos x="450" y="50"/>
                </a:cxn>
                <a:cxn ang="0">
                  <a:pos x="458" y="50"/>
                </a:cxn>
                <a:cxn ang="0">
                  <a:pos x="464" y="53"/>
                </a:cxn>
                <a:cxn ang="0">
                  <a:pos x="462" y="63"/>
                </a:cxn>
                <a:cxn ang="0">
                  <a:pos x="458" y="74"/>
                </a:cxn>
                <a:cxn ang="0">
                  <a:pos x="453" y="87"/>
                </a:cxn>
                <a:cxn ang="0">
                  <a:pos x="453" y="91"/>
                </a:cxn>
                <a:cxn ang="0">
                  <a:pos x="446" y="99"/>
                </a:cxn>
                <a:cxn ang="0">
                  <a:pos x="443" y="106"/>
                </a:cxn>
                <a:cxn ang="0">
                  <a:pos x="452" y="113"/>
                </a:cxn>
                <a:cxn ang="0">
                  <a:pos x="450" y="120"/>
                </a:cxn>
                <a:cxn ang="0">
                  <a:pos x="445" y="127"/>
                </a:cxn>
                <a:cxn ang="0">
                  <a:pos x="445" y="135"/>
                </a:cxn>
                <a:cxn ang="0">
                  <a:pos x="446" y="142"/>
                </a:cxn>
                <a:cxn ang="0">
                  <a:pos x="448" y="149"/>
                </a:cxn>
                <a:cxn ang="0">
                  <a:pos x="457" y="149"/>
                </a:cxn>
                <a:cxn ang="0">
                  <a:pos x="462" y="161"/>
                </a:cxn>
                <a:cxn ang="0">
                  <a:pos x="469" y="161"/>
                </a:cxn>
                <a:cxn ang="0">
                  <a:pos x="476" y="169"/>
                </a:cxn>
                <a:cxn ang="0">
                  <a:pos x="493" y="181"/>
                </a:cxn>
                <a:cxn ang="0">
                  <a:pos x="487" y="190"/>
                </a:cxn>
                <a:cxn ang="0">
                  <a:pos x="477" y="200"/>
                </a:cxn>
                <a:cxn ang="0">
                  <a:pos x="470" y="209"/>
                </a:cxn>
                <a:cxn ang="0">
                  <a:pos x="467" y="214"/>
                </a:cxn>
                <a:cxn ang="0">
                  <a:pos x="465" y="221"/>
                </a:cxn>
                <a:cxn ang="0">
                  <a:pos x="453" y="228"/>
                </a:cxn>
                <a:cxn ang="0">
                  <a:pos x="434" y="233"/>
                </a:cxn>
                <a:cxn ang="0">
                  <a:pos x="423" y="241"/>
                </a:cxn>
                <a:cxn ang="0">
                  <a:pos x="392" y="253"/>
                </a:cxn>
                <a:cxn ang="0">
                  <a:pos x="340" y="265"/>
                </a:cxn>
                <a:cxn ang="0">
                  <a:pos x="286" y="275"/>
                </a:cxn>
              </a:cxnLst>
              <a:rect l="0" t="0" r="r" b="b"/>
              <a:pathLst>
                <a:path w="494" h="320">
                  <a:moveTo>
                    <a:pt x="284" y="275"/>
                  </a:moveTo>
                  <a:lnTo>
                    <a:pt x="235" y="286"/>
                  </a:lnTo>
                  <a:lnTo>
                    <a:pt x="216" y="289"/>
                  </a:lnTo>
                  <a:lnTo>
                    <a:pt x="212" y="289"/>
                  </a:lnTo>
                  <a:lnTo>
                    <a:pt x="176" y="296"/>
                  </a:lnTo>
                  <a:lnTo>
                    <a:pt x="168" y="298"/>
                  </a:lnTo>
                  <a:lnTo>
                    <a:pt x="130" y="304"/>
                  </a:lnTo>
                  <a:lnTo>
                    <a:pt x="123" y="306"/>
                  </a:lnTo>
                  <a:lnTo>
                    <a:pt x="100" y="310"/>
                  </a:lnTo>
                  <a:lnTo>
                    <a:pt x="88" y="313"/>
                  </a:lnTo>
                  <a:lnTo>
                    <a:pt x="47" y="320"/>
                  </a:lnTo>
                  <a:lnTo>
                    <a:pt x="40" y="320"/>
                  </a:lnTo>
                  <a:lnTo>
                    <a:pt x="35" y="296"/>
                  </a:lnTo>
                  <a:lnTo>
                    <a:pt x="33" y="289"/>
                  </a:lnTo>
                  <a:lnTo>
                    <a:pt x="31" y="274"/>
                  </a:lnTo>
                  <a:lnTo>
                    <a:pt x="28" y="248"/>
                  </a:lnTo>
                  <a:lnTo>
                    <a:pt x="26" y="239"/>
                  </a:lnTo>
                  <a:lnTo>
                    <a:pt x="23" y="222"/>
                  </a:lnTo>
                  <a:lnTo>
                    <a:pt x="19" y="200"/>
                  </a:lnTo>
                  <a:lnTo>
                    <a:pt x="19" y="195"/>
                  </a:lnTo>
                  <a:lnTo>
                    <a:pt x="14" y="171"/>
                  </a:lnTo>
                  <a:lnTo>
                    <a:pt x="9" y="132"/>
                  </a:lnTo>
                  <a:lnTo>
                    <a:pt x="7" y="132"/>
                  </a:lnTo>
                  <a:lnTo>
                    <a:pt x="2" y="94"/>
                  </a:lnTo>
                  <a:lnTo>
                    <a:pt x="0" y="79"/>
                  </a:lnTo>
                  <a:lnTo>
                    <a:pt x="53" y="40"/>
                  </a:lnTo>
                  <a:lnTo>
                    <a:pt x="58" y="67"/>
                  </a:lnTo>
                  <a:lnTo>
                    <a:pt x="70" y="65"/>
                  </a:lnTo>
                  <a:lnTo>
                    <a:pt x="113" y="58"/>
                  </a:lnTo>
                  <a:lnTo>
                    <a:pt x="125" y="57"/>
                  </a:lnTo>
                  <a:lnTo>
                    <a:pt x="173" y="46"/>
                  </a:lnTo>
                  <a:lnTo>
                    <a:pt x="180" y="46"/>
                  </a:lnTo>
                  <a:lnTo>
                    <a:pt x="216" y="40"/>
                  </a:lnTo>
                  <a:lnTo>
                    <a:pt x="226" y="36"/>
                  </a:lnTo>
                  <a:lnTo>
                    <a:pt x="277" y="26"/>
                  </a:lnTo>
                  <a:lnTo>
                    <a:pt x="279" y="26"/>
                  </a:lnTo>
                  <a:lnTo>
                    <a:pt x="308" y="21"/>
                  </a:lnTo>
                  <a:lnTo>
                    <a:pt x="340" y="14"/>
                  </a:lnTo>
                  <a:lnTo>
                    <a:pt x="344" y="12"/>
                  </a:lnTo>
                  <a:lnTo>
                    <a:pt x="392" y="2"/>
                  </a:lnTo>
                  <a:lnTo>
                    <a:pt x="400" y="0"/>
                  </a:lnTo>
                  <a:lnTo>
                    <a:pt x="402" y="0"/>
                  </a:lnTo>
                  <a:lnTo>
                    <a:pt x="405" y="4"/>
                  </a:lnTo>
                  <a:lnTo>
                    <a:pt x="409" y="5"/>
                  </a:lnTo>
                  <a:lnTo>
                    <a:pt x="412" y="12"/>
                  </a:lnTo>
                  <a:lnTo>
                    <a:pt x="419" y="10"/>
                  </a:lnTo>
                  <a:lnTo>
                    <a:pt x="421" y="12"/>
                  </a:lnTo>
                  <a:lnTo>
                    <a:pt x="423" y="12"/>
                  </a:lnTo>
                  <a:lnTo>
                    <a:pt x="424" y="14"/>
                  </a:lnTo>
                  <a:lnTo>
                    <a:pt x="428" y="16"/>
                  </a:lnTo>
                  <a:lnTo>
                    <a:pt x="426" y="17"/>
                  </a:lnTo>
                  <a:lnTo>
                    <a:pt x="428" y="19"/>
                  </a:lnTo>
                  <a:lnTo>
                    <a:pt x="429" y="19"/>
                  </a:lnTo>
                  <a:lnTo>
                    <a:pt x="431" y="24"/>
                  </a:lnTo>
                  <a:lnTo>
                    <a:pt x="431" y="26"/>
                  </a:lnTo>
                  <a:lnTo>
                    <a:pt x="434" y="33"/>
                  </a:lnTo>
                  <a:lnTo>
                    <a:pt x="433" y="36"/>
                  </a:lnTo>
                  <a:lnTo>
                    <a:pt x="433" y="36"/>
                  </a:lnTo>
                  <a:lnTo>
                    <a:pt x="438" y="40"/>
                  </a:lnTo>
                  <a:lnTo>
                    <a:pt x="440" y="43"/>
                  </a:lnTo>
                  <a:lnTo>
                    <a:pt x="443" y="48"/>
                  </a:lnTo>
                  <a:lnTo>
                    <a:pt x="446" y="46"/>
                  </a:lnTo>
                  <a:lnTo>
                    <a:pt x="450" y="50"/>
                  </a:lnTo>
                  <a:lnTo>
                    <a:pt x="450" y="52"/>
                  </a:lnTo>
                  <a:lnTo>
                    <a:pt x="453" y="50"/>
                  </a:lnTo>
                  <a:lnTo>
                    <a:pt x="458" y="50"/>
                  </a:lnTo>
                  <a:lnTo>
                    <a:pt x="462" y="50"/>
                  </a:lnTo>
                  <a:lnTo>
                    <a:pt x="464" y="50"/>
                  </a:lnTo>
                  <a:lnTo>
                    <a:pt x="464" y="53"/>
                  </a:lnTo>
                  <a:lnTo>
                    <a:pt x="467" y="55"/>
                  </a:lnTo>
                  <a:lnTo>
                    <a:pt x="469" y="57"/>
                  </a:lnTo>
                  <a:lnTo>
                    <a:pt x="462" y="63"/>
                  </a:lnTo>
                  <a:lnTo>
                    <a:pt x="462" y="65"/>
                  </a:lnTo>
                  <a:lnTo>
                    <a:pt x="460" y="67"/>
                  </a:lnTo>
                  <a:lnTo>
                    <a:pt x="458" y="74"/>
                  </a:lnTo>
                  <a:lnTo>
                    <a:pt x="458" y="75"/>
                  </a:lnTo>
                  <a:lnTo>
                    <a:pt x="457" y="82"/>
                  </a:lnTo>
                  <a:lnTo>
                    <a:pt x="453" y="87"/>
                  </a:lnTo>
                  <a:lnTo>
                    <a:pt x="452" y="89"/>
                  </a:lnTo>
                  <a:lnTo>
                    <a:pt x="452" y="91"/>
                  </a:lnTo>
                  <a:lnTo>
                    <a:pt x="453" y="91"/>
                  </a:lnTo>
                  <a:lnTo>
                    <a:pt x="452" y="93"/>
                  </a:lnTo>
                  <a:lnTo>
                    <a:pt x="450" y="98"/>
                  </a:lnTo>
                  <a:lnTo>
                    <a:pt x="446" y="99"/>
                  </a:lnTo>
                  <a:lnTo>
                    <a:pt x="443" y="101"/>
                  </a:lnTo>
                  <a:lnTo>
                    <a:pt x="443" y="104"/>
                  </a:lnTo>
                  <a:lnTo>
                    <a:pt x="443" y="106"/>
                  </a:lnTo>
                  <a:lnTo>
                    <a:pt x="448" y="111"/>
                  </a:lnTo>
                  <a:lnTo>
                    <a:pt x="450" y="113"/>
                  </a:lnTo>
                  <a:lnTo>
                    <a:pt x="452" y="113"/>
                  </a:lnTo>
                  <a:lnTo>
                    <a:pt x="452" y="115"/>
                  </a:lnTo>
                  <a:lnTo>
                    <a:pt x="448" y="118"/>
                  </a:lnTo>
                  <a:lnTo>
                    <a:pt x="450" y="120"/>
                  </a:lnTo>
                  <a:lnTo>
                    <a:pt x="450" y="123"/>
                  </a:lnTo>
                  <a:lnTo>
                    <a:pt x="448" y="125"/>
                  </a:lnTo>
                  <a:lnTo>
                    <a:pt x="445" y="127"/>
                  </a:lnTo>
                  <a:lnTo>
                    <a:pt x="443" y="130"/>
                  </a:lnTo>
                  <a:lnTo>
                    <a:pt x="445" y="132"/>
                  </a:lnTo>
                  <a:lnTo>
                    <a:pt x="445" y="135"/>
                  </a:lnTo>
                  <a:lnTo>
                    <a:pt x="446" y="137"/>
                  </a:lnTo>
                  <a:lnTo>
                    <a:pt x="445" y="140"/>
                  </a:lnTo>
                  <a:lnTo>
                    <a:pt x="446" y="142"/>
                  </a:lnTo>
                  <a:lnTo>
                    <a:pt x="446" y="144"/>
                  </a:lnTo>
                  <a:lnTo>
                    <a:pt x="448" y="147"/>
                  </a:lnTo>
                  <a:lnTo>
                    <a:pt x="448" y="149"/>
                  </a:lnTo>
                  <a:lnTo>
                    <a:pt x="448" y="149"/>
                  </a:lnTo>
                  <a:lnTo>
                    <a:pt x="453" y="147"/>
                  </a:lnTo>
                  <a:lnTo>
                    <a:pt x="457" y="149"/>
                  </a:lnTo>
                  <a:lnTo>
                    <a:pt x="458" y="151"/>
                  </a:lnTo>
                  <a:lnTo>
                    <a:pt x="460" y="157"/>
                  </a:lnTo>
                  <a:lnTo>
                    <a:pt x="462" y="161"/>
                  </a:lnTo>
                  <a:lnTo>
                    <a:pt x="465" y="163"/>
                  </a:lnTo>
                  <a:lnTo>
                    <a:pt x="467" y="161"/>
                  </a:lnTo>
                  <a:lnTo>
                    <a:pt x="469" y="161"/>
                  </a:lnTo>
                  <a:lnTo>
                    <a:pt x="472" y="168"/>
                  </a:lnTo>
                  <a:lnTo>
                    <a:pt x="474" y="168"/>
                  </a:lnTo>
                  <a:lnTo>
                    <a:pt x="476" y="169"/>
                  </a:lnTo>
                  <a:lnTo>
                    <a:pt x="479" y="171"/>
                  </a:lnTo>
                  <a:lnTo>
                    <a:pt x="482" y="176"/>
                  </a:lnTo>
                  <a:lnTo>
                    <a:pt x="493" y="181"/>
                  </a:lnTo>
                  <a:lnTo>
                    <a:pt x="494" y="185"/>
                  </a:lnTo>
                  <a:lnTo>
                    <a:pt x="494" y="187"/>
                  </a:lnTo>
                  <a:lnTo>
                    <a:pt x="487" y="190"/>
                  </a:lnTo>
                  <a:lnTo>
                    <a:pt x="484" y="195"/>
                  </a:lnTo>
                  <a:lnTo>
                    <a:pt x="479" y="198"/>
                  </a:lnTo>
                  <a:lnTo>
                    <a:pt x="477" y="200"/>
                  </a:lnTo>
                  <a:lnTo>
                    <a:pt x="472" y="205"/>
                  </a:lnTo>
                  <a:lnTo>
                    <a:pt x="472" y="207"/>
                  </a:lnTo>
                  <a:lnTo>
                    <a:pt x="470" y="209"/>
                  </a:lnTo>
                  <a:lnTo>
                    <a:pt x="469" y="209"/>
                  </a:lnTo>
                  <a:lnTo>
                    <a:pt x="467" y="212"/>
                  </a:lnTo>
                  <a:lnTo>
                    <a:pt x="467" y="214"/>
                  </a:lnTo>
                  <a:lnTo>
                    <a:pt x="469" y="217"/>
                  </a:lnTo>
                  <a:lnTo>
                    <a:pt x="469" y="219"/>
                  </a:lnTo>
                  <a:lnTo>
                    <a:pt x="465" y="221"/>
                  </a:lnTo>
                  <a:lnTo>
                    <a:pt x="460" y="224"/>
                  </a:lnTo>
                  <a:lnTo>
                    <a:pt x="460" y="226"/>
                  </a:lnTo>
                  <a:lnTo>
                    <a:pt x="453" y="228"/>
                  </a:lnTo>
                  <a:lnTo>
                    <a:pt x="448" y="233"/>
                  </a:lnTo>
                  <a:lnTo>
                    <a:pt x="443" y="231"/>
                  </a:lnTo>
                  <a:lnTo>
                    <a:pt x="434" y="233"/>
                  </a:lnTo>
                  <a:lnTo>
                    <a:pt x="429" y="233"/>
                  </a:lnTo>
                  <a:lnTo>
                    <a:pt x="426" y="236"/>
                  </a:lnTo>
                  <a:lnTo>
                    <a:pt x="423" y="241"/>
                  </a:lnTo>
                  <a:lnTo>
                    <a:pt x="421" y="248"/>
                  </a:lnTo>
                  <a:lnTo>
                    <a:pt x="419" y="248"/>
                  </a:lnTo>
                  <a:lnTo>
                    <a:pt x="392" y="253"/>
                  </a:lnTo>
                  <a:lnTo>
                    <a:pt x="385" y="255"/>
                  </a:lnTo>
                  <a:lnTo>
                    <a:pt x="358" y="262"/>
                  </a:lnTo>
                  <a:lnTo>
                    <a:pt x="340" y="265"/>
                  </a:lnTo>
                  <a:lnTo>
                    <a:pt x="323" y="269"/>
                  </a:lnTo>
                  <a:lnTo>
                    <a:pt x="305" y="272"/>
                  </a:lnTo>
                  <a:lnTo>
                    <a:pt x="286" y="275"/>
                  </a:lnTo>
                  <a:lnTo>
                    <a:pt x="284" y="27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5" name="Freeform 144"/>
            <p:cNvSpPr>
              <a:spLocks/>
            </p:cNvSpPr>
            <p:nvPr/>
          </p:nvSpPr>
          <p:spPr bwMode="gray">
            <a:xfrm>
              <a:off x="8113566" y="2843138"/>
              <a:ext cx="233488" cy="230268"/>
            </a:xfrm>
            <a:custGeom>
              <a:avLst/>
              <a:gdLst/>
              <a:ahLst/>
              <a:cxnLst>
                <a:cxn ang="0">
                  <a:pos x="8" y="85"/>
                </a:cxn>
                <a:cxn ang="0">
                  <a:pos x="6" y="70"/>
                </a:cxn>
                <a:cxn ang="0">
                  <a:pos x="0" y="31"/>
                </a:cxn>
                <a:cxn ang="0">
                  <a:pos x="34" y="22"/>
                </a:cxn>
                <a:cxn ang="0">
                  <a:pos x="35" y="22"/>
                </a:cxn>
                <a:cxn ang="0">
                  <a:pos x="51" y="19"/>
                </a:cxn>
                <a:cxn ang="0">
                  <a:pos x="51" y="22"/>
                </a:cxn>
                <a:cxn ang="0">
                  <a:pos x="56" y="20"/>
                </a:cxn>
                <a:cxn ang="0">
                  <a:pos x="56" y="17"/>
                </a:cxn>
                <a:cxn ang="0">
                  <a:pos x="66" y="15"/>
                </a:cxn>
                <a:cxn ang="0">
                  <a:pos x="68" y="15"/>
                </a:cxn>
                <a:cxn ang="0">
                  <a:pos x="70" y="15"/>
                </a:cxn>
                <a:cxn ang="0">
                  <a:pos x="70" y="14"/>
                </a:cxn>
                <a:cxn ang="0">
                  <a:pos x="75" y="14"/>
                </a:cxn>
                <a:cxn ang="0">
                  <a:pos x="104" y="7"/>
                </a:cxn>
                <a:cxn ang="0">
                  <a:pos x="107" y="5"/>
                </a:cxn>
                <a:cxn ang="0">
                  <a:pos x="129" y="0"/>
                </a:cxn>
                <a:cxn ang="0">
                  <a:pos x="129" y="2"/>
                </a:cxn>
                <a:cxn ang="0">
                  <a:pos x="138" y="31"/>
                </a:cxn>
                <a:cxn ang="0">
                  <a:pos x="140" y="39"/>
                </a:cxn>
                <a:cxn ang="0">
                  <a:pos x="141" y="44"/>
                </a:cxn>
                <a:cxn ang="0">
                  <a:pos x="145" y="63"/>
                </a:cxn>
                <a:cxn ang="0">
                  <a:pos x="143" y="65"/>
                </a:cxn>
                <a:cxn ang="0">
                  <a:pos x="145" y="72"/>
                </a:cxn>
                <a:cxn ang="0">
                  <a:pos x="145" y="73"/>
                </a:cxn>
                <a:cxn ang="0">
                  <a:pos x="143" y="75"/>
                </a:cxn>
                <a:cxn ang="0">
                  <a:pos x="112" y="87"/>
                </a:cxn>
                <a:cxn ang="0">
                  <a:pos x="109" y="87"/>
                </a:cxn>
                <a:cxn ang="0">
                  <a:pos x="102" y="80"/>
                </a:cxn>
                <a:cxn ang="0">
                  <a:pos x="104" y="89"/>
                </a:cxn>
                <a:cxn ang="0">
                  <a:pos x="94" y="94"/>
                </a:cxn>
                <a:cxn ang="0">
                  <a:pos x="65" y="101"/>
                </a:cxn>
                <a:cxn ang="0">
                  <a:pos x="51" y="116"/>
                </a:cxn>
                <a:cxn ang="0">
                  <a:pos x="13" y="143"/>
                </a:cxn>
                <a:cxn ang="0">
                  <a:pos x="12" y="142"/>
                </a:cxn>
                <a:cxn ang="0">
                  <a:pos x="5" y="133"/>
                </a:cxn>
                <a:cxn ang="0">
                  <a:pos x="20" y="118"/>
                </a:cxn>
                <a:cxn ang="0">
                  <a:pos x="13" y="111"/>
                </a:cxn>
                <a:cxn ang="0">
                  <a:pos x="12" y="102"/>
                </a:cxn>
                <a:cxn ang="0">
                  <a:pos x="8" y="85"/>
                </a:cxn>
              </a:cxnLst>
              <a:rect l="0" t="0" r="r" b="b"/>
              <a:pathLst>
                <a:path w="145" h="143">
                  <a:moveTo>
                    <a:pt x="8" y="85"/>
                  </a:moveTo>
                  <a:lnTo>
                    <a:pt x="6" y="70"/>
                  </a:lnTo>
                  <a:lnTo>
                    <a:pt x="0" y="31"/>
                  </a:lnTo>
                  <a:lnTo>
                    <a:pt x="34" y="22"/>
                  </a:lnTo>
                  <a:lnTo>
                    <a:pt x="35" y="22"/>
                  </a:lnTo>
                  <a:lnTo>
                    <a:pt x="51" y="19"/>
                  </a:lnTo>
                  <a:lnTo>
                    <a:pt x="51" y="22"/>
                  </a:lnTo>
                  <a:lnTo>
                    <a:pt x="56" y="20"/>
                  </a:lnTo>
                  <a:lnTo>
                    <a:pt x="56" y="17"/>
                  </a:lnTo>
                  <a:lnTo>
                    <a:pt x="66" y="15"/>
                  </a:lnTo>
                  <a:lnTo>
                    <a:pt x="68" y="15"/>
                  </a:lnTo>
                  <a:lnTo>
                    <a:pt x="70" y="15"/>
                  </a:lnTo>
                  <a:lnTo>
                    <a:pt x="70" y="14"/>
                  </a:lnTo>
                  <a:lnTo>
                    <a:pt x="75" y="14"/>
                  </a:lnTo>
                  <a:lnTo>
                    <a:pt x="104" y="7"/>
                  </a:lnTo>
                  <a:lnTo>
                    <a:pt x="107" y="5"/>
                  </a:lnTo>
                  <a:lnTo>
                    <a:pt x="129" y="0"/>
                  </a:lnTo>
                  <a:lnTo>
                    <a:pt x="129" y="2"/>
                  </a:lnTo>
                  <a:lnTo>
                    <a:pt x="138" y="31"/>
                  </a:lnTo>
                  <a:lnTo>
                    <a:pt x="140" y="39"/>
                  </a:lnTo>
                  <a:lnTo>
                    <a:pt x="141" y="44"/>
                  </a:lnTo>
                  <a:lnTo>
                    <a:pt x="145" y="63"/>
                  </a:lnTo>
                  <a:lnTo>
                    <a:pt x="143" y="65"/>
                  </a:lnTo>
                  <a:lnTo>
                    <a:pt x="145" y="72"/>
                  </a:lnTo>
                  <a:lnTo>
                    <a:pt x="145" y="73"/>
                  </a:lnTo>
                  <a:lnTo>
                    <a:pt x="143" y="75"/>
                  </a:lnTo>
                  <a:lnTo>
                    <a:pt x="112" y="87"/>
                  </a:lnTo>
                  <a:lnTo>
                    <a:pt x="109" y="87"/>
                  </a:lnTo>
                  <a:lnTo>
                    <a:pt x="102" y="80"/>
                  </a:lnTo>
                  <a:lnTo>
                    <a:pt x="104" y="89"/>
                  </a:lnTo>
                  <a:lnTo>
                    <a:pt x="94" y="94"/>
                  </a:lnTo>
                  <a:lnTo>
                    <a:pt x="65" y="101"/>
                  </a:lnTo>
                  <a:lnTo>
                    <a:pt x="51" y="116"/>
                  </a:lnTo>
                  <a:lnTo>
                    <a:pt x="13" y="143"/>
                  </a:lnTo>
                  <a:lnTo>
                    <a:pt x="12" y="142"/>
                  </a:lnTo>
                  <a:lnTo>
                    <a:pt x="5" y="133"/>
                  </a:lnTo>
                  <a:lnTo>
                    <a:pt x="20" y="118"/>
                  </a:lnTo>
                  <a:lnTo>
                    <a:pt x="13" y="111"/>
                  </a:lnTo>
                  <a:lnTo>
                    <a:pt x="12" y="102"/>
                  </a:lnTo>
                  <a:lnTo>
                    <a:pt x="8" y="8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6" name="Freeform 145"/>
            <p:cNvSpPr>
              <a:spLocks noEditPoints="1"/>
            </p:cNvSpPr>
            <p:nvPr/>
          </p:nvSpPr>
          <p:spPr bwMode="gray">
            <a:xfrm>
              <a:off x="8321290" y="2831867"/>
              <a:ext cx="107888" cy="132041"/>
            </a:xfrm>
            <a:custGeom>
              <a:avLst/>
              <a:gdLst/>
              <a:ahLst/>
              <a:cxnLst>
                <a:cxn ang="0">
                  <a:pos x="12" y="51"/>
                </a:cxn>
                <a:cxn ang="0">
                  <a:pos x="11" y="46"/>
                </a:cxn>
                <a:cxn ang="0">
                  <a:pos x="9" y="38"/>
                </a:cxn>
                <a:cxn ang="0">
                  <a:pos x="0" y="9"/>
                </a:cxn>
                <a:cxn ang="0">
                  <a:pos x="24" y="2"/>
                </a:cxn>
                <a:cxn ang="0">
                  <a:pos x="33" y="0"/>
                </a:cxn>
                <a:cxn ang="0">
                  <a:pos x="33" y="3"/>
                </a:cxn>
                <a:cxn ang="0">
                  <a:pos x="36" y="12"/>
                </a:cxn>
                <a:cxn ang="0">
                  <a:pos x="40" y="10"/>
                </a:cxn>
                <a:cxn ang="0">
                  <a:pos x="40" y="14"/>
                </a:cxn>
                <a:cxn ang="0">
                  <a:pos x="40" y="15"/>
                </a:cxn>
                <a:cxn ang="0">
                  <a:pos x="41" y="19"/>
                </a:cxn>
                <a:cxn ang="0">
                  <a:pos x="41" y="22"/>
                </a:cxn>
                <a:cxn ang="0">
                  <a:pos x="43" y="24"/>
                </a:cxn>
                <a:cxn ang="0">
                  <a:pos x="48" y="24"/>
                </a:cxn>
                <a:cxn ang="0">
                  <a:pos x="53" y="29"/>
                </a:cxn>
                <a:cxn ang="0">
                  <a:pos x="50" y="33"/>
                </a:cxn>
                <a:cxn ang="0">
                  <a:pos x="41" y="27"/>
                </a:cxn>
                <a:cxn ang="0">
                  <a:pos x="38" y="26"/>
                </a:cxn>
                <a:cxn ang="0">
                  <a:pos x="41" y="31"/>
                </a:cxn>
                <a:cxn ang="0">
                  <a:pos x="40" y="38"/>
                </a:cxn>
                <a:cxn ang="0">
                  <a:pos x="43" y="55"/>
                </a:cxn>
                <a:cxn ang="0">
                  <a:pos x="41" y="67"/>
                </a:cxn>
                <a:cxn ang="0">
                  <a:pos x="24" y="79"/>
                </a:cxn>
                <a:cxn ang="0">
                  <a:pos x="14" y="82"/>
                </a:cxn>
                <a:cxn ang="0">
                  <a:pos x="16" y="80"/>
                </a:cxn>
                <a:cxn ang="0">
                  <a:pos x="16" y="79"/>
                </a:cxn>
                <a:cxn ang="0">
                  <a:pos x="14" y="72"/>
                </a:cxn>
                <a:cxn ang="0">
                  <a:pos x="16" y="70"/>
                </a:cxn>
                <a:cxn ang="0">
                  <a:pos x="12" y="51"/>
                </a:cxn>
                <a:cxn ang="0">
                  <a:pos x="55" y="31"/>
                </a:cxn>
                <a:cxn ang="0">
                  <a:pos x="60" y="33"/>
                </a:cxn>
                <a:cxn ang="0">
                  <a:pos x="67" y="48"/>
                </a:cxn>
                <a:cxn ang="0">
                  <a:pos x="62" y="53"/>
                </a:cxn>
                <a:cxn ang="0">
                  <a:pos x="55" y="31"/>
                </a:cxn>
                <a:cxn ang="0">
                  <a:pos x="52" y="38"/>
                </a:cxn>
                <a:cxn ang="0">
                  <a:pos x="55" y="36"/>
                </a:cxn>
                <a:cxn ang="0">
                  <a:pos x="59" y="53"/>
                </a:cxn>
                <a:cxn ang="0">
                  <a:pos x="55" y="53"/>
                </a:cxn>
                <a:cxn ang="0">
                  <a:pos x="50" y="58"/>
                </a:cxn>
                <a:cxn ang="0">
                  <a:pos x="52" y="38"/>
                </a:cxn>
              </a:cxnLst>
              <a:rect l="0" t="0" r="r" b="b"/>
              <a:pathLst>
                <a:path w="67" h="82">
                  <a:moveTo>
                    <a:pt x="12" y="51"/>
                  </a:moveTo>
                  <a:lnTo>
                    <a:pt x="11" y="46"/>
                  </a:lnTo>
                  <a:lnTo>
                    <a:pt x="9" y="38"/>
                  </a:lnTo>
                  <a:lnTo>
                    <a:pt x="0" y="9"/>
                  </a:lnTo>
                  <a:lnTo>
                    <a:pt x="24" y="2"/>
                  </a:lnTo>
                  <a:lnTo>
                    <a:pt x="33" y="0"/>
                  </a:lnTo>
                  <a:lnTo>
                    <a:pt x="33" y="3"/>
                  </a:lnTo>
                  <a:lnTo>
                    <a:pt x="36" y="12"/>
                  </a:lnTo>
                  <a:lnTo>
                    <a:pt x="40" y="10"/>
                  </a:lnTo>
                  <a:lnTo>
                    <a:pt x="40" y="14"/>
                  </a:lnTo>
                  <a:lnTo>
                    <a:pt x="40" y="15"/>
                  </a:lnTo>
                  <a:lnTo>
                    <a:pt x="41" y="19"/>
                  </a:lnTo>
                  <a:lnTo>
                    <a:pt x="41" y="22"/>
                  </a:lnTo>
                  <a:lnTo>
                    <a:pt x="43" y="24"/>
                  </a:lnTo>
                  <a:lnTo>
                    <a:pt x="48" y="24"/>
                  </a:lnTo>
                  <a:lnTo>
                    <a:pt x="53" y="29"/>
                  </a:lnTo>
                  <a:lnTo>
                    <a:pt x="50" y="33"/>
                  </a:lnTo>
                  <a:lnTo>
                    <a:pt x="41" y="27"/>
                  </a:lnTo>
                  <a:lnTo>
                    <a:pt x="38" y="26"/>
                  </a:lnTo>
                  <a:lnTo>
                    <a:pt x="41" y="31"/>
                  </a:lnTo>
                  <a:lnTo>
                    <a:pt x="40" y="38"/>
                  </a:lnTo>
                  <a:lnTo>
                    <a:pt x="43" y="55"/>
                  </a:lnTo>
                  <a:lnTo>
                    <a:pt x="41" y="67"/>
                  </a:lnTo>
                  <a:lnTo>
                    <a:pt x="24" y="79"/>
                  </a:lnTo>
                  <a:lnTo>
                    <a:pt x="14" y="82"/>
                  </a:lnTo>
                  <a:lnTo>
                    <a:pt x="16" y="80"/>
                  </a:lnTo>
                  <a:lnTo>
                    <a:pt x="16" y="79"/>
                  </a:lnTo>
                  <a:lnTo>
                    <a:pt x="14" y="72"/>
                  </a:lnTo>
                  <a:lnTo>
                    <a:pt x="16" y="70"/>
                  </a:lnTo>
                  <a:lnTo>
                    <a:pt x="12" y="51"/>
                  </a:lnTo>
                  <a:close/>
                  <a:moveTo>
                    <a:pt x="55" y="31"/>
                  </a:moveTo>
                  <a:lnTo>
                    <a:pt x="60" y="33"/>
                  </a:lnTo>
                  <a:lnTo>
                    <a:pt x="67" y="48"/>
                  </a:lnTo>
                  <a:lnTo>
                    <a:pt x="62" y="53"/>
                  </a:lnTo>
                  <a:lnTo>
                    <a:pt x="55" y="31"/>
                  </a:lnTo>
                  <a:close/>
                  <a:moveTo>
                    <a:pt x="52" y="38"/>
                  </a:moveTo>
                  <a:lnTo>
                    <a:pt x="55" y="36"/>
                  </a:lnTo>
                  <a:lnTo>
                    <a:pt x="59" y="53"/>
                  </a:lnTo>
                  <a:lnTo>
                    <a:pt x="55" y="53"/>
                  </a:lnTo>
                  <a:lnTo>
                    <a:pt x="50" y="58"/>
                  </a:lnTo>
                  <a:lnTo>
                    <a:pt x="52" y="3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7" name="Freeform 146"/>
            <p:cNvSpPr>
              <a:spLocks/>
            </p:cNvSpPr>
            <p:nvPr/>
          </p:nvSpPr>
          <p:spPr bwMode="gray">
            <a:xfrm>
              <a:off x="7942879" y="3044421"/>
              <a:ext cx="178740" cy="412227"/>
            </a:xfrm>
            <a:custGeom>
              <a:avLst/>
              <a:gdLst/>
              <a:ahLst/>
              <a:cxnLst>
                <a:cxn ang="0">
                  <a:pos x="5" y="186"/>
                </a:cxn>
                <a:cxn ang="0">
                  <a:pos x="5" y="181"/>
                </a:cxn>
                <a:cxn ang="0">
                  <a:pos x="8" y="177"/>
                </a:cxn>
                <a:cxn ang="0">
                  <a:pos x="13" y="171"/>
                </a:cxn>
                <a:cxn ang="0">
                  <a:pos x="20" y="167"/>
                </a:cxn>
                <a:cxn ang="0">
                  <a:pos x="29" y="162"/>
                </a:cxn>
                <a:cxn ang="0">
                  <a:pos x="27" y="157"/>
                </a:cxn>
                <a:cxn ang="0">
                  <a:pos x="29" y="152"/>
                </a:cxn>
                <a:cxn ang="0">
                  <a:pos x="32" y="150"/>
                </a:cxn>
                <a:cxn ang="0">
                  <a:pos x="37" y="143"/>
                </a:cxn>
                <a:cxn ang="0">
                  <a:pos x="44" y="138"/>
                </a:cxn>
                <a:cxn ang="0">
                  <a:pos x="54" y="130"/>
                </a:cxn>
                <a:cxn ang="0">
                  <a:pos x="53" y="124"/>
                </a:cxn>
                <a:cxn ang="0">
                  <a:pos x="39" y="114"/>
                </a:cxn>
                <a:cxn ang="0">
                  <a:pos x="34" y="111"/>
                </a:cxn>
                <a:cxn ang="0">
                  <a:pos x="29" y="104"/>
                </a:cxn>
                <a:cxn ang="0">
                  <a:pos x="25" y="106"/>
                </a:cxn>
                <a:cxn ang="0">
                  <a:pos x="20" y="100"/>
                </a:cxn>
                <a:cxn ang="0">
                  <a:pos x="17" y="92"/>
                </a:cxn>
                <a:cxn ang="0">
                  <a:pos x="8" y="92"/>
                </a:cxn>
                <a:cxn ang="0">
                  <a:pos x="8" y="90"/>
                </a:cxn>
                <a:cxn ang="0">
                  <a:pos x="6" y="85"/>
                </a:cxn>
                <a:cxn ang="0">
                  <a:pos x="6" y="80"/>
                </a:cxn>
                <a:cxn ang="0">
                  <a:pos x="5" y="75"/>
                </a:cxn>
                <a:cxn ang="0">
                  <a:pos x="5" y="70"/>
                </a:cxn>
                <a:cxn ang="0">
                  <a:pos x="10" y="66"/>
                </a:cxn>
                <a:cxn ang="0">
                  <a:pos x="8" y="61"/>
                </a:cxn>
                <a:cxn ang="0">
                  <a:pos x="12" y="56"/>
                </a:cxn>
                <a:cxn ang="0">
                  <a:pos x="8" y="54"/>
                </a:cxn>
                <a:cxn ang="0">
                  <a:pos x="3" y="47"/>
                </a:cxn>
                <a:cxn ang="0">
                  <a:pos x="6" y="42"/>
                </a:cxn>
                <a:cxn ang="0">
                  <a:pos x="12" y="36"/>
                </a:cxn>
                <a:cxn ang="0">
                  <a:pos x="12" y="34"/>
                </a:cxn>
                <a:cxn ang="0">
                  <a:pos x="13" y="30"/>
                </a:cxn>
                <a:cxn ang="0">
                  <a:pos x="18" y="18"/>
                </a:cxn>
                <a:cxn ang="0">
                  <a:pos x="20" y="10"/>
                </a:cxn>
                <a:cxn ang="0">
                  <a:pos x="22" y="6"/>
                </a:cxn>
                <a:cxn ang="0">
                  <a:pos x="58" y="10"/>
                </a:cxn>
                <a:cxn ang="0">
                  <a:pos x="71" y="15"/>
                </a:cxn>
                <a:cxn ang="0">
                  <a:pos x="100" y="27"/>
                </a:cxn>
                <a:cxn ang="0">
                  <a:pos x="100" y="36"/>
                </a:cxn>
                <a:cxn ang="0">
                  <a:pos x="97" y="53"/>
                </a:cxn>
                <a:cxn ang="0">
                  <a:pos x="90" y="65"/>
                </a:cxn>
                <a:cxn ang="0">
                  <a:pos x="88" y="61"/>
                </a:cxn>
                <a:cxn ang="0">
                  <a:pos x="82" y="80"/>
                </a:cxn>
                <a:cxn ang="0">
                  <a:pos x="87" y="87"/>
                </a:cxn>
                <a:cxn ang="0">
                  <a:pos x="109" y="95"/>
                </a:cxn>
                <a:cxn ang="0">
                  <a:pos x="106" y="119"/>
                </a:cxn>
                <a:cxn ang="0">
                  <a:pos x="111" y="121"/>
                </a:cxn>
                <a:cxn ang="0">
                  <a:pos x="106" y="126"/>
                </a:cxn>
                <a:cxn ang="0">
                  <a:pos x="106" y="145"/>
                </a:cxn>
                <a:cxn ang="0">
                  <a:pos x="106" y="174"/>
                </a:cxn>
                <a:cxn ang="0">
                  <a:pos x="102" y="186"/>
                </a:cxn>
                <a:cxn ang="0">
                  <a:pos x="97" y="189"/>
                </a:cxn>
                <a:cxn ang="0">
                  <a:pos x="95" y="203"/>
                </a:cxn>
                <a:cxn ang="0">
                  <a:pos x="83" y="217"/>
                </a:cxn>
                <a:cxn ang="0">
                  <a:pos x="75" y="247"/>
                </a:cxn>
                <a:cxn ang="0">
                  <a:pos x="71" y="256"/>
                </a:cxn>
                <a:cxn ang="0">
                  <a:pos x="66" y="239"/>
                </a:cxn>
                <a:cxn ang="0">
                  <a:pos x="54" y="232"/>
                </a:cxn>
                <a:cxn ang="0">
                  <a:pos x="18" y="222"/>
                </a:cxn>
                <a:cxn ang="0">
                  <a:pos x="5" y="203"/>
                </a:cxn>
                <a:cxn ang="0">
                  <a:pos x="5" y="186"/>
                </a:cxn>
              </a:cxnLst>
              <a:rect l="0" t="0" r="r" b="b"/>
              <a:pathLst>
                <a:path w="111" h="256">
                  <a:moveTo>
                    <a:pt x="5" y="186"/>
                  </a:moveTo>
                  <a:lnTo>
                    <a:pt x="5" y="186"/>
                  </a:lnTo>
                  <a:lnTo>
                    <a:pt x="5" y="184"/>
                  </a:lnTo>
                  <a:lnTo>
                    <a:pt x="5" y="181"/>
                  </a:lnTo>
                  <a:lnTo>
                    <a:pt x="8" y="179"/>
                  </a:lnTo>
                  <a:lnTo>
                    <a:pt x="8" y="177"/>
                  </a:lnTo>
                  <a:lnTo>
                    <a:pt x="8" y="176"/>
                  </a:lnTo>
                  <a:lnTo>
                    <a:pt x="13" y="171"/>
                  </a:lnTo>
                  <a:lnTo>
                    <a:pt x="20" y="169"/>
                  </a:lnTo>
                  <a:lnTo>
                    <a:pt x="20" y="167"/>
                  </a:lnTo>
                  <a:lnTo>
                    <a:pt x="25" y="164"/>
                  </a:lnTo>
                  <a:lnTo>
                    <a:pt x="29" y="162"/>
                  </a:lnTo>
                  <a:lnTo>
                    <a:pt x="29" y="160"/>
                  </a:lnTo>
                  <a:lnTo>
                    <a:pt x="27" y="157"/>
                  </a:lnTo>
                  <a:lnTo>
                    <a:pt x="27" y="155"/>
                  </a:lnTo>
                  <a:lnTo>
                    <a:pt x="29" y="152"/>
                  </a:lnTo>
                  <a:lnTo>
                    <a:pt x="30" y="152"/>
                  </a:lnTo>
                  <a:lnTo>
                    <a:pt x="32" y="150"/>
                  </a:lnTo>
                  <a:lnTo>
                    <a:pt x="32" y="148"/>
                  </a:lnTo>
                  <a:lnTo>
                    <a:pt x="37" y="143"/>
                  </a:lnTo>
                  <a:lnTo>
                    <a:pt x="39" y="141"/>
                  </a:lnTo>
                  <a:lnTo>
                    <a:pt x="44" y="138"/>
                  </a:lnTo>
                  <a:lnTo>
                    <a:pt x="47" y="133"/>
                  </a:lnTo>
                  <a:lnTo>
                    <a:pt x="54" y="130"/>
                  </a:lnTo>
                  <a:lnTo>
                    <a:pt x="54" y="128"/>
                  </a:lnTo>
                  <a:lnTo>
                    <a:pt x="53" y="124"/>
                  </a:lnTo>
                  <a:lnTo>
                    <a:pt x="42" y="119"/>
                  </a:lnTo>
                  <a:lnTo>
                    <a:pt x="39" y="114"/>
                  </a:lnTo>
                  <a:lnTo>
                    <a:pt x="36" y="112"/>
                  </a:lnTo>
                  <a:lnTo>
                    <a:pt x="34" y="111"/>
                  </a:lnTo>
                  <a:lnTo>
                    <a:pt x="32" y="111"/>
                  </a:lnTo>
                  <a:lnTo>
                    <a:pt x="29" y="104"/>
                  </a:lnTo>
                  <a:lnTo>
                    <a:pt x="27" y="104"/>
                  </a:lnTo>
                  <a:lnTo>
                    <a:pt x="25" y="106"/>
                  </a:lnTo>
                  <a:lnTo>
                    <a:pt x="22" y="104"/>
                  </a:lnTo>
                  <a:lnTo>
                    <a:pt x="20" y="100"/>
                  </a:lnTo>
                  <a:lnTo>
                    <a:pt x="18" y="94"/>
                  </a:lnTo>
                  <a:lnTo>
                    <a:pt x="17" y="92"/>
                  </a:lnTo>
                  <a:lnTo>
                    <a:pt x="13" y="90"/>
                  </a:lnTo>
                  <a:lnTo>
                    <a:pt x="8" y="92"/>
                  </a:lnTo>
                  <a:lnTo>
                    <a:pt x="8" y="92"/>
                  </a:lnTo>
                  <a:lnTo>
                    <a:pt x="8" y="90"/>
                  </a:lnTo>
                  <a:lnTo>
                    <a:pt x="6" y="87"/>
                  </a:lnTo>
                  <a:lnTo>
                    <a:pt x="6" y="85"/>
                  </a:lnTo>
                  <a:lnTo>
                    <a:pt x="5" y="83"/>
                  </a:lnTo>
                  <a:lnTo>
                    <a:pt x="6" y="80"/>
                  </a:lnTo>
                  <a:lnTo>
                    <a:pt x="5" y="78"/>
                  </a:lnTo>
                  <a:lnTo>
                    <a:pt x="5" y="75"/>
                  </a:lnTo>
                  <a:lnTo>
                    <a:pt x="3" y="73"/>
                  </a:lnTo>
                  <a:lnTo>
                    <a:pt x="5" y="70"/>
                  </a:lnTo>
                  <a:lnTo>
                    <a:pt x="8" y="68"/>
                  </a:lnTo>
                  <a:lnTo>
                    <a:pt x="10" y="66"/>
                  </a:lnTo>
                  <a:lnTo>
                    <a:pt x="10" y="63"/>
                  </a:lnTo>
                  <a:lnTo>
                    <a:pt x="8" y="61"/>
                  </a:lnTo>
                  <a:lnTo>
                    <a:pt x="12" y="58"/>
                  </a:lnTo>
                  <a:lnTo>
                    <a:pt x="12" y="56"/>
                  </a:lnTo>
                  <a:lnTo>
                    <a:pt x="10" y="56"/>
                  </a:lnTo>
                  <a:lnTo>
                    <a:pt x="8" y="54"/>
                  </a:lnTo>
                  <a:lnTo>
                    <a:pt x="3" y="49"/>
                  </a:lnTo>
                  <a:lnTo>
                    <a:pt x="3" y="47"/>
                  </a:lnTo>
                  <a:lnTo>
                    <a:pt x="3" y="44"/>
                  </a:lnTo>
                  <a:lnTo>
                    <a:pt x="6" y="42"/>
                  </a:lnTo>
                  <a:lnTo>
                    <a:pt x="10" y="41"/>
                  </a:lnTo>
                  <a:lnTo>
                    <a:pt x="12" y="36"/>
                  </a:lnTo>
                  <a:lnTo>
                    <a:pt x="13" y="34"/>
                  </a:lnTo>
                  <a:lnTo>
                    <a:pt x="12" y="34"/>
                  </a:lnTo>
                  <a:lnTo>
                    <a:pt x="12" y="32"/>
                  </a:lnTo>
                  <a:lnTo>
                    <a:pt x="13" y="30"/>
                  </a:lnTo>
                  <a:lnTo>
                    <a:pt x="17" y="25"/>
                  </a:lnTo>
                  <a:lnTo>
                    <a:pt x="18" y="18"/>
                  </a:lnTo>
                  <a:lnTo>
                    <a:pt x="18" y="17"/>
                  </a:lnTo>
                  <a:lnTo>
                    <a:pt x="20" y="10"/>
                  </a:lnTo>
                  <a:lnTo>
                    <a:pt x="22" y="8"/>
                  </a:lnTo>
                  <a:lnTo>
                    <a:pt x="22" y="6"/>
                  </a:lnTo>
                  <a:lnTo>
                    <a:pt x="29" y="0"/>
                  </a:lnTo>
                  <a:lnTo>
                    <a:pt x="58" y="10"/>
                  </a:lnTo>
                  <a:lnTo>
                    <a:pt x="70" y="15"/>
                  </a:lnTo>
                  <a:lnTo>
                    <a:pt x="71" y="15"/>
                  </a:lnTo>
                  <a:lnTo>
                    <a:pt x="99" y="22"/>
                  </a:lnTo>
                  <a:lnTo>
                    <a:pt x="100" y="27"/>
                  </a:lnTo>
                  <a:lnTo>
                    <a:pt x="100" y="30"/>
                  </a:lnTo>
                  <a:lnTo>
                    <a:pt x="100" y="36"/>
                  </a:lnTo>
                  <a:lnTo>
                    <a:pt x="99" y="46"/>
                  </a:lnTo>
                  <a:lnTo>
                    <a:pt x="97" y="53"/>
                  </a:lnTo>
                  <a:lnTo>
                    <a:pt x="99" y="56"/>
                  </a:lnTo>
                  <a:lnTo>
                    <a:pt x="90" y="65"/>
                  </a:lnTo>
                  <a:lnTo>
                    <a:pt x="90" y="58"/>
                  </a:lnTo>
                  <a:lnTo>
                    <a:pt x="88" y="61"/>
                  </a:lnTo>
                  <a:lnTo>
                    <a:pt x="85" y="71"/>
                  </a:lnTo>
                  <a:lnTo>
                    <a:pt x="82" y="80"/>
                  </a:lnTo>
                  <a:lnTo>
                    <a:pt x="83" y="85"/>
                  </a:lnTo>
                  <a:lnTo>
                    <a:pt x="87" y="87"/>
                  </a:lnTo>
                  <a:lnTo>
                    <a:pt x="95" y="85"/>
                  </a:lnTo>
                  <a:lnTo>
                    <a:pt x="109" y="95"/>
                  </a:lnTo>
                  <a:lnTo>
                    <a:pt x="111" y="119"/>
                  </a:lnTo>
                  <a:lnTo>
                    <a:pt x="106" y="119"/>
                  </a:lnTo>
                  <a:lnTo>
                    <a:pt x="107" y="121"/>
                  </a:lnTo>
                  <a:lnTo>
                    <a:pt x="111" y="121"/>
                  </a:lnTo>
                  <a:lnTo>
                    <a:pt x="111" y="124"/>
                  </a:lnTo>
                  <a:lnTo>
                    <a:pt x="106" y="126"/>
                  </a:lnTo>
                  <a:lnTo>
                    <a:pt x="109" y="126"/>
                  </a:lnTo>
                  <a:lnTo>
                    <a:pt x="106" y="145"/>
                  </a:lnTo>
                  <a:lnTo>
                    <a:pt x="109" y="162"/>
                  </a:lnTo>
                  <a:lnTo>
                    <a:pt x="106" y="174"/>
                  </a:lnTo>
                  <a:lnTo>
                    <a:pt x="100" y="181"/>
                  </a:lnTo>
                  <a:lnTo>
                    <a:pt x="102" y="186"/>
                  </a:lnTo>
                  <a:lnTo>
                    <a:pt x="94" y="186"/>
                  </a:lnTo>
                  <a:lnTo>
                    <a:pt x="97" y="189"/>
                  </a:lnTo>
                  <a:lnTo>
                    <a:pt x="94" y="198"/>
                  </a:lnTo>
                  <a:lnTo>
                    <a:pt x="95" y="203"/>
                  </a:lnTo>
                  <a:lnTo>
                    <a:pt x="82" y="217"/>
                  </a:lnTo>
                  <a:lnTo>
                    <a:pt x="83" y="217"/>
                  </a:lnTo>
                  <a:lnTo>
                    <a:pt x="85" y="220"/>
                  </a:lnTo>
                  <a:lnTo>
                    <a:pt x="75" y="247"/>
                  </a:lnTo>
                  <a:lnTo>
                    <a:pt x="70" y="253"/>
                  </a:lnTo>
                  <a:lnTo>
                    <a:pt x="71" y="256"/>
                  </a:lnTo>
                  <a:lnTo>
                    <a:pt x="63" y="256"/>
                  </a:lnTo>
                  <a:lnTo>
                    <a:pt x="66" y="239"/>
                  </a:lnTo>
                  <a:lnTo>
                    <a:pt x="63" y="234"/>
                  </a:lnTo>
                  <a:lnTo>
                    <a:pt x="54" y="232"/>
                  </a:lnTo>
                  <a:lnTo>
                    <a:pt x="46" y="235"/>
                  </a:lnTo>
                  <a:lnTo>
                    <a:pt x="18" y="222"/>
                  </a:lnTo>
                  <a:lnTo>
                    <a:pt x="5" y="212"/>
                  </a:lnTo>
                  <a:lnTo>
                    <a:pt x="5" y="203"/>
                  </a:lnTo>
                  <a:lnTo>
                    <a:pt x="0" y="198"/>
                  </a:lnTo>
                  <a:lnTo>
                    <a:pt x="5" y="18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8" name="Freeform 147"/>
            <p:cNvSpPr>
              <a:spLocks/>
            </p:cNvSpPr>
            <p:nvPr/>
          </p:nvSpPr>
          <p:spPr bwMode="gray">
            <a:xfrm>
              <a:off x="6332617" y="3195786"/>
              <a:ext cx="426720" cy="731059"/>
            </a:xfrm>
            <a:custGeom>
              <a:avLst/>
              <a:gdLst/>
              <a:ahLst/>
              <a:cxnLst>
                <a:cxn ang="0">
                  <a:pos x="143" y="401"/>
                </a:cxn>
                <a:cxn ang="0">
                  <a:pos x="135" y="405"/>
                </a:cxn>
                <a:cxn ang="0">
                  <a:pos x="135" y="411"/>
                </a:cxn>
                <a:cxn ang="0">
                  <a:pos x="131" y="425"/>
                </a:cxn>
                <a:cxn ang="0">
                  <a:pos x="125" y="435"/>
                </a:cxn>
                <a:cxn ang="0">
                  <a:pos x="119" y="429"/>
                </a:cxn>
                <a:cxn ang="0">
                  <a:pos x="106" y="422"/>
                </a:cxn>
                <a:cxn ang="0">
                  <a:pos x="90" y="430"/>
                </a:cxn>
                <a:cxn ang="0">
                  <a:pos x="78" y="442"/>
                </a:cxn>
                <a:cxn ang="0">
                  <a:pos x="60" y="432"/>
                </a:cxn>
                <a:cxn ang="0">
                  <a:pos x="43" y="439"/>
                </a:cxn>
                <a:cxn ang="0">
                  <a:pos x="34" y="439"/>
                </a:cxn>
                <a:cxn ang="0">
                  <a:pos x="20" y="441"/>
                </a:cxn>
                <a:cxn ang="0">
                  <a:pos x="17" y="447"/>
                </a:cxn>
                <a:cxn ang="0">
                  <a:pos x="7" y="451"/>
                </a:cxn>
                <a:cxn ang="0">
                  <a:pos x="2" y="446"/>
                </a:cxn>
                <a:cxn ang="0">
                  <a:pos x="5" y="439"/>
                </a:cxn>
                <a:cxn ang="0">
                  <a:pos x="3" y="435"/>
                </a:cxn>
                <a:cxn ang="0">
                  <a:pos x="3" y="425"/>
                </a:cxn>
                <a:cxn ang="0">
                  <a:pos x="5" y="420"/>
                </a:cxn>
                <a:cxn ang="0">
                  <a:pos x="7" y="408"/>
                </a:cxn>
                <a:cxn ang="0">
                  <a:pos x="12" y="400"/>
                </a:cxn>
                <a:cxn ang="0">
                  <a:pos x="17" y="398"/>
                </a:cxn>
                <a:cxn ang="0">
                  <a:pos x="24" y="379"/>
                </a:cxn>
                <a:cxn ang="0">
                  <a:pos x="31" y="372"/>
                </a:cxn>
                <a:cxn ang="0">
                  <a:pos x="32" y="360"/>
                </a:cxn>
                <a:cxn ang="0">
                  <a:pos x="41" y="343"/>
                </a:cxn>
                <a:cxn ang="0">
                  <a:pos x="37" y="329"/>
                </a:cxn>
                <a:cxn ang="0">
                  <a:pos x="32" y="319"/>
                </a:cxn>
                <a:cxn ang="0">
                  <a:pos x="25" y="307"/>
                </a:cxn>
                <a:cxn ang="0">
                  <a:pos x="29" y="299"/>
                </a:cxn>
                <a:cxn ang="0">
                  <a:pos x="27" y="288"/>
                </a:cxn>
                <a:cxn ang="0">
                  <a:pos x="31" y="254"/>
                </a:cxn>
                <a:cxn ang="0">
                  <a:pos x="20" y="131"/>
                </a:cxn>
                <a:cxn ang="0">
                  <a:pos x="10" y="27"/>
                </a:cxn>
                <a:cxn ang="0">
                  <a:pos x="36" y="34"/>
                </a:cxn>
                <a:cxn ang="0">
                  <a:pos x="126" y="10"/>
                </a:cxn>
                <a:cxn ang="0">
                  <a:pos x="224" y="0"/>
                </a:cxn>
                <a:cxn ang="0">
                  <a:pos x="232" y="51"/>
                </a:cxn>
                <a:cxn ang="0">
                  <a:pos x="242" y="126"/>
                </a:cxn>
                <a:cxn ang="0">
                  <a:pos x="251" y="217"/>
                </a:cxn>
                <a:cxn ang="0">
                  <a:pos x="260" y="285"/>
                </a:cxn>
                <a:cxn ang="0">
                  <a:pos x="258" y="295"/>
                </a:cxn>
                <a:cxn ang="0">
                  <a:pos x="258" y="307"/>
                </a:cxn>
                <a:cxn ang="0">
                  <a:pos x="263" y="317"/>
                </a:cxn>
                <a:cxn ang="0">
                  <a:pos x="236" y="331"/>
                </a:cxn>
                <a:cxn ang="0">
                  <a:pos x="212" y="331"/>
                </a:cxn>
                <a:cxn ang="0">
                  <a:pos x="212" y="353"/>
                </a:cxn>
                <a:cxn ang="0">
                  <a:pos x="196" y="379"/>
                </a:cxn>
                <a:cxn ang="0">
                  <a:pos x="184" y="388"/>
                </a:cxn>
                <a:cxn ang="0">
                  <a:pos x="174" y="415"/>
                </a:cxn>
                <a:cxn ang="0">
                  <a:pos x="152" y="411"/>
                </a:cxn>
              </a:cxnLst>
              <a:rect l="0" t="0" r="r" b="b"/>
              <a:pathLst>
                <a:path w="265" h="454">
                  <a:moveTo>
                    <a:pt x="143" y="398"/>
                  </a:moveTo>
                  <a:lnTo>
                    <a:pt x="142" y="396"/>
                  </a:lnTo>
                  <a:lnTo>
                    <a:pt x="140" y="396"/>
                  </a:lnTo>
                  <a:lnTo>
                    <a:pt x="140" y="400"/>
                  </a:lnTo>
                  <a:lnTo>
                    <a:pt x="143" y="401"/>
                  </a:lnTo>
                  <a:lnTo>
                    <a:pt x="145" y="401"/>
                  </a:lnTo>
                  <a:lnTo>
                    <a:pt x="143" y="403"/>
                  </a:lnTo>
                  <a:lnTo>
                    <a:pt x="140" y="405"/>
                  </a:lnTo>
                  <a:lnTo>
                    <a:pt x="138" y="406"/>
                  </a:lnTo>
                  <a:lnTo>
                    <a:pt x="135" y="405"/>
                  </a:lnTo>
                  <a:lnTo>
                    <a:pt x="133" y="405"/>
                  </a:lnTo>
                  <a:lnTo>
                    <a:pt x="133" y="406"/>
                  </a:lnTo>
                  <a:lnTo>
                    <a:pt x="137" y="408"/>
                  </a:lnTo>
                  <a:lnTo>
                    <a:pt x="137" y="410"/>
                  </a:lnTo>
                  <a:lnTo>
                    <a:pt x="135" y="411"/>
                  </a:lnTo>
                  <a:lnTo>
                    <a:pt x="131" y="413"/>
                  </a:lnTo>
                  <a:lnTo>
                    <a:pt x="130" y="413"/>
                  </a:lnTo>
                  <a:lnTo>
                    <a:pt x="130" y="417"/>
                  </a:lnTo>
                  <a:lnTo>
                    <a:pt x="130" y="420"/>
                  </a:lnTo>
                  <a:lnTo>
                    <a:pt x="131" y="425"/>
                  </a:lnTo>
                  <a:lnTo>
                    <a:pt x="131" y="427"/>
                  </a:lnTo>
                  <a:lnTo>
                    <a:pt x="130" y="427"/>
                  </a:lnTo>
                  <a:lnTo>
                    <a:pt x="126" y="427"/>
                  </a:lnTo>
                  <a:lnTo>
                    <a:pt x="125" y="429"/>
                  </a:lnTo>
                  <a:lnTo>
                    <a:pt x="125" y="435"/>
                  </a:lnTo>
                  <a:lnTo>
                    <a:pt x="121" y="437"/>
                  </a:lnTo>
                  <a:lnTo>
                    <a:pt x="119" y="437"/>
                  </a:lnTo>
                  <a:lnTo>
                    <a:pt x="119" y="435"/>
                  </a:lnTo>
                  <a:lnTo>
                    <a:pt x="119" y="430"/>
                  </a:lnTo>
                  <a:lnTo>
                    <a:pt x="119" y="429"/>
                  </a:lnTo>
                  <a:lnTo>
                    <a:pt x="118" y="430"/>
                  </a:lnTo>
                  <a:lnTo>
                    <a:pt x="114" y="432"/>
                  </a:lnTo>
                  <a:lnTo>
                    <a:pt x="113" y="432"/>
                  </a:lnTo>
                  <a:lnTo>
                    <a:pt x="107" y="423"/>
                  </a:lnTo>
                  <a:lnTo>
                    <a:pt x="106" y="422"/>
                  </a:lnTo>
                  <a:lnTo>
                    <a:pt x="102" y="423"/>
                  </a:lnTo>
                  <a:lnTo>
                    <a:pt x="99" y="427"/>
                  </a:lnTo>
                  <a:lnTo>
                    <a:pt x="97" y="429"/>
                  </a:lnTo>
                  <a:lnTo>
                    <a:pt x="92" y="430"/>
                  </a:lnTo>
                  <a:lnTo>
                    <a:pt x="90" y="430"/>
                  </a:lnTo>
                  <a:lnTo>
                    <a:pt x="89" y="434"/>
                  </a:lnTo>
                  <a:lnTo>
                    <a:pt x="87" y="444"/>
                  </a:lnTo>
                  <a:lnTo>
                    <a:pt x="84" y="447"/>
                  </a:lnTo>
                  <a:lnTo>
                    <a:pt x="82" y="446"/>
                  </a:lnTo>
                  <a:lnTo>
                    <a:pt x="78" y="442"/>
                  </a:lnTo>
                  <a:lnTo>
                    <a:pt x="77" y="442"/>
                  </a:lnTo>
                  <a:lnTo>
                    <a:pt x="73" y="441"/>
                  </a:lnTo>
                  <a:lnTo>
                    <a:pt x="70" y="439"/>
                  </a:lnTo>
                  <a:lnTo>
                    <a:pt x="66" y="437"/>
                  </a:lnTo>
                  <a:lnTo>
                    <a:pt x="60" y="432"/>
                  </a:lnTo>
                  <a:lnTo>
                    <a:pt x="53" y="434"/>
                  </a:lnTo>
                  <a:lnTo>
                    <a:pt x="49" y="435"/>
                  </a:lnTo>
                  <a:lnTo>
                    <a:pt x="41" y="430"/>
                  </a:lnTo>
                  <a:lnTo>
                    <a:pt x="39" y="435"/>
                  </a:lnTo>
                  <a:lnTo>
                    <a:pt x="43" y="439"/>
                  </a:lnTo>
                  <a:lnTo>
                    <a:pt x="43" y="442"/>
                  </a:lnTo>
                  <a:lnTo>
                    <a:pt x="41" y="444"/>
                  </a:lnTo>
                  <a:lnTo>
                    <a:pt x="37" y="446"/>
                  </a:lnTo>
                  <a:lnTo>
                    <a:pt x="36" y="446"/>
                  </a:lnTo>
                  <a:lnTo>
                    <a:pt x="34" y="439"/>
                  </a:lnTo>
                  <a:lnTo>
                    <a:pt x="32" y="439"/>
                  </a:lnTo>
                  <a:lnTo>
                    <a:pt x="31" y="439"/>
                  </a:lnTo>
                  <a:lnTo>
                    <a:pt x="29" y="439"/>
                  </a:lnTo>
                  <a:lnTo>
                    <a:pt x="24" y="442"/>
                  </a:lnTo>
                  <a:lnTo>
                    <a:pt x="20" y="441"/>
                  </a:lnTo>
                  <a:lnTo>
                    <a:pt x="17" y="437"/>
                  </a:lnTo>
                  <a:lnTo>
                    <a:pt x="15" y="439"/>
                  </a:lnTo>
                  <a:lnTo>
                    <a:pt x="13" y="441"/>
                  </a:lnTo>
                  <a:lnTo>
                    <a:pt x="13" y="444"/>
                  </a:lnTo>
                  <a:lnTo>
                    <a:pt x="17" y="447"/>
                  </a:lnTo>
                  <a:lnTo>
                    <a:pt x="15" y="451"/>
                  </a:lnTo>
                  <a:lnTo>
                    <a:pt x="13" y="451"/>
                  </a:lnTo>
                  <a:lnTo>
                    <a:pt x="12" y="454"/>
                  </a:lnTo>
                  <a:lnTo>
                    <a:pt x="8" y="452"/>
                  </a:lnTo>
                  <a:lnTo>
                    <a:pt x="7" y="451"/>
                  </a:lnTo>
                  <a:lnTo>
                    <a:pt x="2" y="451"/>
                  </a:lnTo>
                  <a:lnTo>
                    <a:pt x="2" y="449"/>
                  </a:lnTo>
                  <a:lnTo>
                    <a:pt x="5" y="449"/>
                  </a:lnTo>
                  <a:lnTo>
                    <a:pt x="5" y="447"/>
                  </a:lnTo>
                  <a:lnTo>
                    <a:pt x="2" y="446"/>
                  </a:lnTo>
                  <a:lnTo>
                    <a:pt x="0" y="442"/>
                  </a:lnTo>
                  <a:lnTo>
                    <a:pt x="0" y="441"/>
                  </a:lnTo>
                  <a:lnTo>
                    <a:pt x="5" y="442"/>
                  </a:lnTo>
                  <a:lnTo>
                    <a:pt x="5" y="441"/>
                  </a:lnTo>
                  <a:lnTo>
                    <a:pt x="5" y="439"/>
                  </a:lnTo>
                  <a:lnTo>
                    <a:pt x="2" y="439"/>
                  </a:lnTo>
                  <a:lnTo>
                    <a:pt x="2" y="437"/>
                  </a:lnTo>
                  <a:lnTo>
                    <a:pt x="2" y="439"/>
                  </a:lnTo>
                  <a:lnTo>
                    <a:pt x="5" y="437"/>
                  </a:lnTo>
                  <a:lnTo>
                    <a:pt x="3" y="435"/>
                  </a:lnTo>
                  <a:lnTo>
                    <a:pt x="5" y="434"/>
                  </a:lnTo>
                  <a:lnTo>
                    <a:pt x="5" y="430"/>
                  </a:lnTo>
                  <a:lnTo>
                    <a:pt x="5" y="427"/>
                  </a:lnTo>
                  <a:lnTo>
                    <a:pt x="3" y="427"/>
                  </a:lnTo>
                  <a:lnTo>
                    <a:pt x="3" y="425"/>
                  </a:lnTo>
                  <a:lnTo>
                    <a:pt x="3" y="425"/>
                  </a:lnTo>
                  <a:lnTo>
                    <a:pt x="8" y="422"/>
                  </a:lnTo>
                  <a:lnTo>
                    <a:pt x="8" y="420"/>
                  </a:lnTo>
                  <a:lnTo>
                    <a:pt x="5" y="420"/>
                  </a:lnTo>
                  <a:lnTo>
                    <a:pt x="5" y="420"/>
                  </a:lnTo>
                  <a:lnTo>
                    <a:pt x="8" y="417"/>
                  </a:lnTo>
                  <a:lnTo>
                    <a:pt x="10" y="415"/>
                  </a:lnTo>
                  <a:lnTo>
                    <a:pt x="12" y="413"/>
                  </a:lnTo>
                  <a:lnTo>
                    <a:pt x="12" y="411"/>
                  </a:lnTo>
                  <a:lnTo>
                    <a:pt x="7" y="408"/>
                  </a:lnTo>
                  <a:lnTo>
                    <a:pt x="7" y="405"/>
                  </a:lnTo>
                  <a:lnTo>
                    <a:pt x="7" y="405"/>
                  </a:lnTo>
                  <a:lnTo>
                    <a:pt x="10" y="396"/>
                  </a:lnTo>
                  <a:lnTo>
                    <a:pt x="12" y="398"/>
                  </a:lnTo>
                  <a:lnTo>
                    <a:pt x="12" y="400"/>
                  </a:lnTo>
                  <a:lnTo>
                    <a:pt x="13" y="398"/>
                  </a:lnTo>
                  <a:lnTo>
                    <a:pt x="13" y="396"/>
                  </a:lnTo>
                  <a:lnTo>
                    <a:pt x="15" y="394"/>
                  </a:lnTo>
                  <a:lnTo>
                    <a:pt x="15" y="398"/>
                  </a:lnTo>
                  <a:lnTo>
                    <a:pt x="17" y="398"/>
                  </a:lnTo>
                  <a:lnTo>
                    <a:pt x="17" y="391"/>
                  </a:lnTo>
                  <a:lnTo>
                    <a:pt x="22" y="388"/>
                  </a:lnTo>
                  <a:lnTo>
                    <a:pt x="24" y="384"/>
                  </a:lnTo>
                  <a:lnTo>
                    <a:pt x="25" y="381"/>
                  </a:lnTo>
                  <a:lnTo>
                    <a:pt x="24" y="379"/>
                  </a:lnTo>
                  <a:lnTo>
                    <a:pt x="24" y="379"/>
                  </a:lnTo>
                  <a:lnTo>
                    <a:pt x="29" y="376"/>
                  </a:lnTo>
                  <a:lnTo>
                    <a:pt x="29" y="374"/>
                  </a:lnTo>
                  <a:lnTo>
                    <a:pt x="31" y="374"/>
                  </a:lnTo>
                  <a:lnTo>
                    <a:pt x="31" y="372"/>
                  </a:lnTo>
                  <a:lnTo>
                    <a:pt x="29" y="369"/>
                  </a:lnTo>
                  <a:lnTo>
                    <a:pt x="31" y="365"/>
                  </a:lnTo>
                  <a:lnTo>
                    <a:pt x="32" y="364"/>
                  </a:lnTo>
                  <a:lnTo>
                    <a:pt x="34" y="364"/>
                  </a:lnTo>
                  <a:lnTo>
                    <a:pt x="32" y="360"/>
                  </a:lnTo>
                  <a:lnTo>
                    <a:pt x="32" y="359"/>
                  </a:lnTo>
                  <a:lnTo>
                    <a:pt x="36" y="355"/>
                  </a:lnTo>
                  <a:lnTo>
                    <a:pt x="39" y="353"/>
                  </a:lnTo>
                  <a:lnTo>
                    <a:pt x="41" y="347"/>
                  </a:lnTo>
                  <a:lnTo>
                    <a:pt x="41" y="343"/>
                  </a:lnTo>
                  <a:lnTo>
                    <a:pt x="39" y="343"/>
                  </a:lnTo>
                  <a:lnTo>
                    <a:pt x="41" y="341"/>
                  </a:lnTo>
                  <a:lnTo>
                    <a:pt x="36" y="335"/>
                  </a:lnTo>
                  <a:lnTo>
                    <a:pt x="36" y="333"/>
                  </a:lnTo>
                  <a:lnTo>
                    <a:pt x="37" y="329"/>
                  </a:lnTo>
                  <a:lnTo>
                    <a:pt x="37" y="326"/>
                  </a:lnTo>
                  <a:lnTo>
                    <a:pt x="37" y="323"/>
                  </a:lnTo>
                  <a:lnTo>
                    <a:pt x="36" y="321"/>
                  </a:lnTo>
                  <a:lnTo>
                    <a:pt x="32" y="321"/>
                  </a:lnTo>
                  <a:lnTo>
                    <a:pt x="32" y="319"/>
                  </a:lnTo>
                  <a:lnTo>
                    <a:pt x="32" y="312"/>
                  </a:lnTo>
                  <a:lnTo>
                    <a:pt x="29" y="311"/>
                  </a:lnTo>
                  <a:lnTo>
                    <a:pt x="27" y="311"/>
                  </a:lnTo>
                  <a:lnTo>
                    <a:pt x="27" y="309"/>
                  </a:lnTo>
                  <a:lnTo>
                    <a:pt x="25" y="307"/>
                  </a:lnTo>
                  <a:lnTo>
                    <a:pt x="25" y="306"/>
                  </a:lnTo>
                  <a:lnTo>
                    <a:pt x="24" y="304"/>
                  </a:lnTo>
                  <a:lnTo>
                    <a:pt x="25" y="302"/>
                  </a:lnTo>
                  <a:lnTo>
                    <a:pt x="29" y="299"/>
                  </a:lnTo>
                  <a:lnTo>
                    <a:pt x="29" y="299"/>
                  </a:lnTo>
                  <a:lnTo>
                    <a:pt x="31" y="297"/>
                  </a:lnTo>
                  <a:lnTo>
                    <a:pt x="31" y="294"/>
                  </a:lnTo>
                  <a:lnTo>
                    <a:pt x="27" y="292"/>
                  </a:lnTo>
                  <a:lnTo>
                    <a:pt x="27" y="290"/>
                  </a:lnTo>
                  <a:lnTo>
                    <a:pt x="27" y="288"/>
                  </a:lnTo>
                  <a:lnTo>
                    <a:pt x="25" y="287"/>
                  </a:lnTo>
                  <a:lnTo>
                    <a:pt x="27" y="283"/>
                  </a:lnTo>
                  <a:lnTo>
                    <a:pt x="32" y="282"/>
                  </a:lnTo>
                  <a:lnTo>
                    <a:pt x="32" y="268"/>
                  </a:lnTo>
                  <a:lnTo>
                    <a:pt x="31" y="254"/>
                  </a:lnTo>
                  <a:lnTo>
                    <a:pt x="27" y="223"/>
                  </a:lnTo>
                  <a:lnTo>
                    <a:pt x="25" y="194"/>
                  </a:lnTo>
                  <a:lnTo>
                    <a:pt x="22" y="160"/>
                  </a:lnTo>
                  <a:lnTo>
                    <a:pt x="22" y="159"/>
                  </a:lnTo>
                  <a:lnTo>
                    <a:pt x="20" y="131"/>
                  </a:lnTo>
                  <a:lnTo>
                    <a:pt x="17" y="102"/>
                  </a:lnTo>
                  <a:lnTo>
                    <a:pt x="15" y="85"/>
                  </a:lnTo>
                  <a:lnTo>
                    <a:pt x="15" y="71"/>
                  </a:lnTo>
                  <a:lnTo>
                    <a:pt x="13" y="54"/>
                  </a:lnTo>
                  <a:lnTo>
                    <a:pt x="10" y="27"/>
                  </a:lnTo>
                  <a:lnTo>
                    <a:pt x="17" y="32"/>
                  </a:lnTo>
                  <a:lnTo>
                    <a:pt x="20" y="30"/>
                  </a:lnTo>
                  <a:lnTo>
                    <a:pt x="19" y="32"/>
                  </a:lnTo>
                  <a:lnTo>
                    <a:pt x="22" y="36"/>
                  </a:lnTo>
                  <a:lnTo>
                    <a:pt x="36" y="34"/>
                  </a:lnTo>
                  <a:lnTo>
                    <a:pt x="58" y="22"/>
                  </a:lnTo>
                  <a:lnTo>
                    <a:pt x="65" y="17"/>
                  </a:lnTo>
                  <a:lnTo>
                    <a:pt x="90" y="13"/>
                  </a:lnTo>
                  <a:lnTo>
                    <a:pt x="113" y="12"/>
                  </a:lnTo>
                  <a:lnTo>
                    <a:pt x="126" y="10"/>
                  </a:lnTo>
                  <a:lnTo>
                    <a:pt x="147" y="8"/>
                  </a:lnTo>
                  <a:lnTo>
                    <a:pt x="159" y="6"/>
                  </a:lnTo>
                  <a:lnTo>
                    <a:pt x="188" y="5"/>
                  </a:lnTo>
                  <a:lnTo>
                    <a:pt x="195" y="3"/>
                  </a:lnTo>
                  <a:lnTo>
                    <a:pt x="224" y="0"/>
                  </a:lnTo>
                  <a:lnTo>
                    <a:pt x="227" y="0"/>
                  </a:lnTo>
                  <a:lnTo>
                    <a:pt x="227" y="6"/>
                  </a:lnTo>
                  <a:lnTo>
                    <a:pt x="231" y="24"/>
                  </a:lnTo>
                  <a:lnTo>
                    <a:pt x="231" y="36"/>
                  </a:lnTo>
                  <a:lnTo>
                    <a:pt x="232" y="51"/>
                  </a:lnTo>
                  <a:lnTo>
                    <a:pt x="234" y="54"/>
                  </a:lnTo>
                  <a:lnTo>
                    <a:pt x="237" y="82"/>
                  </a:lnTo>
                  <a:lnTo>
                    <a:pt x="237" y="88"/>
                  </a:lnTo>
                  <a:lnTo>
                    <a:pt x="241" y="111"/>
                  </a:lnTo>
                  <a:lnTo>
                    <a:pt x="242" y="126"/>
                  </a:lnTo>
                  <a:lnTo>
                    <a:pt x="244" y="150"/>
                  </a:lnTo>
                  <a:lnTo>
                    <a:pt x="244" y="153"/>
                  </a:lnTo>
                  <a:lnTo>
                    <a:pt x="248" y="188"/>
                  </a:lnTo>
                  <a:lnTo>
                    <a:pt x="249" y="198"/>
                  </a:lnTo>
                  <a:lnTo>
                    <a:pt x="251" y="217"/>
                  </a:lnTo>
                  <a:lnTo>
                    <a:pt x="253" y="235"/>
                  </a:lnTo>
                  <a:lnTo>
                    <a:pt x="254" y="241"/>
                  </a:lnTo>
                  <a:lnTo>
                    <a:pt x="256" y="263"/>
                  </a:lnTo>
                  <a:lnTo>
                    <a:pt x="256" y="263"/>
                  </a:lnTo>
                  <a:lnTo>
                    <a:pt x="260" y="285"/>
                  </a:lnTo>
                  <a:lnTo>
                    <a:pt x="258" y="285"/>
                  </a:lnTo>
                  <a:lnTo>
                    <a:pt x="253" y="290"/>
                  </a:lnTo>
                  <a:lnTo>
                    <a:pt x="253" y="292"/>
                  </a:lnTo>
                  <a:lnTo>
                    <a:pt x="254" y="294"/>
                  </a:lnTo>
                  <a:lnTo>
                    <a:pt x="258" y="295"/>
                  </a:lnTo>
                  <a:lnTo>
                    <a:pt x="260" y="299"/>
                  </a:lnTo>
                  <a:lnTo>
                    <a:pt x="258" y="300"/>
                  </a:lnTo>
                  <a:lnTo>
                    <a:pt x="256" y="304"/>
                  </a:lnTo>
                  <a:lnTo>
                    <a:pt x="256" y="306"/>
                  </a:lnTo>
                  <a:lnTo>
                    <a:pt x="258" y="307"/>
                  </a:lnTo>
                  <a:lnTo>
                    <a:pt x="263" y="307"/>
                  </a:lnTo>
                  <a:lnTo>
                    <a:pt x="263" y="309"/>
                  </a:lnTo>
                  <a:lnTo>
                    <a:pt x="265" y="311"/>
                  </a:lnTo>
                  <a:lnTo>
                    <a:pt x="261" y="314"/>
                  </a:lnTo>
                  <a:lnTo>
                    <a:pt x="263" y="317"/>
                  </a:lnTo>
                  <a:lnTo>
                    <a:pt x="249" y="321"/>
                  </a:lnTo>
                  <a:lnTo>
                    <a:pt x="246" y="323"/>
                  </a:lnTo>
                  <a:lnTo>
                    <a:pt x="242" y="326"/>
                  </a:lnTo>
                  <a:lnTo>
                    <a:pt x="239" y="329"/>
                  </a:lnTo>
                  <a:lnTo>
                    <a:pt x="236" y="331"/>
                  </a:lnTo>
                  <a:lnTo>
                    <a:pt x="232" y="333"/>
                  </a:lnTo>
                  <a:lnTo>
                    <a:pt x="225" y="328"/>
                  </a:lnTo>
                  <a:lnTo>
                    <a:pt x="220" y="329"/>
                  </a:lnTo>
                  <a:lnTo>
                    <a:pt x="213" y="329"/>
                  </a:lnTo>
                  <a:lnTo>
                    <a:pt x="212" y="331"/>
                  </a:lnTo>
                  <a:lnTo>
                    <a:pt x="212" y="335"/>
                  </a:lnTo>
                  <a:lnTo>
                    <a:pt x="215" y="347"/>
                  </a:lnTo>
                  <a:lnTo>
                    <a:pt x="215" y="348"/>
                  </a:lnTo>
                  <a:lnTo>
                    <a:pt x="215" y="352"/>
                  </a:lnTo>
                  <a:lnTo>
                    <a:pt x="212" y="353"/>
                  </a:lnTo>
                  <a:lnTo>
                    <a:pt x="210" y="359"/>
                  </a:lnTo>
                  <a:lnTo>
                    <a:pt x="201" y="364"/>
                  </a:lnTo>
                  <a:lnTo>
                    <a:pt x="200" y="370"/>
                  </a:lnTo>
                  <a:lnTo>
                    <a:pt x="200" y="376"/>
                  </a:lnTo>
                  <a:lnTo>
                    <a:pt x="196" y="379"/>
                  </a:lnTo>
                  <a:lnTo>
                    <a:pt x="191" y="382"/>
                  </a:lnTo>
                  <a:lnTo>
                    <a:pt x="188" y="382"/>
                  </a:lnTo>
                  <a:lnTo>
                    <a:pt x="186" y="382"/>
                  </a:lnTo>
                  <a:lnTo>
                    <a:pt x="184" y="382"/>
                  </a:lnTo>
                  <a:lnTo>
                    <a:pt x="184" y="388"/>
                  </a:lnTo>
                  <a:lnTo>
                    <a:pt x="179" y="394"/>
                  </a:lnTo>
                  <a:lnTo>
                    <a:pt x="181" y="406"/>
                  </a:lnTo>
                  <a:lnTo>
                    <a:pt x="179" y="410"/>
                  </a:lnTo>
                  <a:lnTo>
                    <a:pt x="178" y="413"/>
                  </a:lnTo>
                  <a:lnTo>
                    <a:pt x="174" y="415"/>
                  </a:lnTo>
                  <a:lnTo>
                    <a:pt x="171" y="415"/>
                  </a:lnTo>
                  <a:lnTo>
                    <a:pt x="171" y="418"/>
                  </a:lnTo>
                  <a:lnTo>
                    <a:pt x="166" y="415"/>
                  </a:lnTo>
                  <a:lnTo>
                    <a:pt x="159" y="415"/>
                  </a:lnTo>
                  <a:lnTo>
                    <a:pt x="152" y="411"/>
                  </a:lnTo>
                  <a:lnTo>
                    <a:pt x="150" y="410"/>
                  </a:lnTo>
                  <a:lnTo>
                    <a:pt x="148" y="408"/>
                  </a:lnTo>
                  <a:lnTo>
                    <a:pt x="147" y="401"/>
                  </a:lnTo>
                  <a:lnTo>
                    <a:pt x="143" y="39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49" name="Freeform 148"/>
            <p:cNvSpPr>
              <a:spLocks/>
            </p:cNvSpPr>
            <p:nvPr/>
          </p:nvSpPr>
          <p:spPr bwMode="gray">
            <a:xfrm>
              <a:off x="2102460" y="2854410"/>
              <a:ext cx="872762" cy="1344569"/>
            </a:xfrm>
            <a:custGeom>
              <a:avLst/>
              <a:gdLst/>
              <a:ahLst/>
              <a:cxnLst>
                <a:cxn ang="0">
                  <a:pos x="41" y="376"/>
                </a:cxn>
                <a:cxn ang="0">
                  <a:pos x="7" y="323"/>
                </a:cxn>
                <a:cxn ang="0">
                  <a:pos x="2" y="306"/>
                </a:cxn>
                <a:cxn ang="0">
                  <a:pos x="3" y="297"/>
                </a:cxn>
                <a:cxn ang="0">
                  <a:pos x="12" y="266"/>
                </a:cxn>
                <a:cxn ang="0">
                  <a:pos x="58" y="85"/>
                </a:cxn>
                <a:cxn ang="0">
                  <a:pos x="130" y="13"/>
                </a:cxn>
                <a:cxn ang="0">
                  <a:pos x="220" y="34"/>
                </a:cxn>
                <a:cxn ang="0">
                  <a:pos x="313" y="56"/>
                </a:cxn>
                <a:cxn ang="0">
                  <a:pos x="465" y="89"/>
                </a:cxn>
                <a:cxn ang="0">
                  <a:pos x="542" y="104"/>
                </a:cxn>
                <a:cxn ang="0">
                  <a:pos x="502" y="304"/>
                </a:cxn>
                <a:cxn ang="0">
                  <a:pos x="492" y="364"/>
                </a:cxn>
                <a:cxn ang="0">
                  <a:pos x="472" y="466"/>
                </a:cxn>
                <a:cxn ang="0">
                  <a:pos x="451" y="571"/>
                </a:cxn>
                <a:cxn ang="0">
                  <a:pos x="436" y="651"/>
                </a:cxn>
                <a:cxn ang="0">
                  <a:pos x="422" y="719"/>
                </a:cxn>
                <a:cxn ang="0">
                  <a:pos x="412" y="733"/>
                </a:cxn>
                <a:cxn ang="0">
                  <a:pos x="403" y="735"/>
                </a:cxn>
                <a:cxn ang="0">
                  <a:pos x="398" y="726"/>
                </a:cxn>
                <a:cxn ang="0">
                  <a:pos x="396" y="719"/>
                </a:cxn>
                <a:cxn ang="0">
                  <a:pos x="388" y="719"/>
                </a:cxn>
                <a:cxn ang="0">
                  <a:pos x="381" y="716"/>
                </a:cxn>
                <a:cxn ang="0">
                  <a:pos x="372" y="714"/>
                </a:cxn>
                <a:cxn ang="0">
                  <a:pos x="362" y="719"/>
                </a:cxn>
                <a:cxn ang="0">
                  <a:pos x="362" y="724"/>
                </a:cxn>
                <a:cxn ang="0">
                  <a:pos x="362" y="738"/>
                </a:cxn>
                <a:cxn ang="0">
                  <a:pos x="364" y="743"/>
                </a:cxn>
                <a:cxn ang="0">
                  <a:pos x="361" y="753"/>
                </a:cxn>
                <a:cxn ang="0">
                  <a:pos x="361" y="762"/>
                </a:cxn>
                <a:cxn ang="0">
                  <a:pos x="361" y="767"/>
                </a:cxn>
                <a:cxn ang="0">
                  <a:pos x="359" y="774"/>
                </a:cxn>
                <a:cxn ang="0">
                  <a:pos x="355" y="781"/>
                </a:cxn>
                <a:cxn ang="0">
                  <a:pos x="359" y="798"/>
                </a:cxn>
                <a:cxn ang="0">
                  <a:pos x="359" y="813"/>
                </a:cxn>
                <a:cxn ang="0">
                  <a:pos x="355" y="822"/>
                </a:cxn>
                <a:cxn ang="0">
                  <a:pos x="352" y="822"/>
                </a:cxn>
                <a:cxn ang="0">
                  <a:pos x="352" y="829"/>
                </a:cxn>
                <a:cxn ang="0">
                  <a:pos x="349" y="835"/>
                </a:cxn>
                <a:cxn ang="0">
                  <a:pos x="263" y="707"/>
                </a:cxn>
                <a:cxn ang="0">
                  <a:pos x="135" y="518"/>
                </a:cxn>
                <a:cxn ang="0">
                  <a:pos x="51" y="391"/>
                </a:cxn>
              </a:cxnLst>
              <a:rect l="0" t="0" r="r" b="b"/>
              <a:pathLst>
                <a:path w="542" h="835">
                  <a:moveTo>
                    <a:pt x="51" y="391"/>
                  </a:moveTo>
                  <a:lnTo>
                    <a:pt x="41" y="376"/>
                  </a:lnTo>
                  <a:lnTo>
                    <a:pt x="26" y="353"/>
                  </a:lnTo>
                  <a:lnTo>
                    <a:pt x="7" y="323"/>
                  </a:lnTo>
                  <a:lnTo>
                    <a:pt x="0" y="314"/>
                  </a:lnTo>
                  <a:lnTo>
                    <a:pt x="2" y="306"/>
                  </a:lnTo>
                  <a:lnTo>
                    <a:pt x="3" y="302"/>
                  </a:lnTo>
                  <a:lnTo>
                    <a:pt x="3" y="297"/>
                  </a:lnTo>
                  <a:lnTo>
                    <a:pt x="8" y="280"/>
                  </a:lnTo>
                  <a:lnTo>
                    <a:pt x="12" y="266"/>
                  </a:lnTo>
                  <a:lnTo>
                    <a:pt x="19" y="237"/>
                  </a:lnTo>
                  <a:lnTo>
                    <a:pt x="58" y="85"/>
                  </a:lnTo>
                  <a:lnTo>
                    <a:pt x="80" y="0"/>
                  </a:lnTo>
                  <a:lnTo>
                    <a:pt x="130" y="13"/>
                  </a:lnTo>
                  <a:lnTo>
                    <a:pt x="133" y="13"/>
                  </a:lnTo>
                  <a:lnTo>
                    <a:pt x="220" y="34"/>
                  </a:lnTo>
                  <a:lnTo>
                    <a:pt x="309" y="56"/>
                  </a:lnTo>
                  <a:lnTo>
                    <a:pt x="313" y="56"/>
                  </a:lnTo>
                  <a:lnTo>
                    <a:pt x="393" y="73"/>
                  </a:lnTo>
                  <a:lnTo>
                    <a:pt x="465" y="89"/>
                  </a:lnTo>
                  <a:lnTo>
                    <a:pt x="523" y="101"/>
                  </a:lnTo>
                  <a:lnTo>
                    <a:pt x="542" y="104"/>
                  </a:lnTo>
                  <a:lnTo>
                    <a:pt x="521" y="210"/>
                  </a:lnTo>
                  <a:lnTo>
                    <a:pt x="502" y="304"/>
                  </a:lnTo>
                  <a:lnTo>
                    <a:pt x="499" y="324"/>
                  </a:lnTo>
                  <a:lnTo>
                    <a:pt x="492" y="364"/>
                  </a:lnTo>
                  <a:lnTo>
                    <a:pt x="473" y="454"/>
                  </a:lnTo>
                  <a:lnTo>
                    <a:pt x="472" y="466"/>
                  </a:lnTo>
                  <a:lnTo>
                    <a:pt x="461" y="512"/>
                  </a:lnTo>
                  <a:lnTo>
                    <a:pt x="451" y="571"/>
                  </a:lnTo>
                  <a:lnTo>
                    <a:pt x="439" y="634"/>
                  </a:lnTo>
                  <a:lnTo>
                    <a:pt x="436" y="651"/>
                  </a:lnTo>
                  <a:lnTo>
                    <a:pt x="424" y="716"/>
                  </a:lnTo>
                  <a:lnTo>
                    <a:pt x="422" y="719"/>
                  </a:lnTo>
                  <a:lnTo>
                    <a:pt x="415" y="726"/>
                  </a:lnTo>
                  <a:lnTo>
                    <a:pt x="412" y="733"/>
                  </a:lnTo>
                  <a:lnTo>
                    <a:pt x="405" y="735"/>
                  </a:lnTo>
                  <a:lnTo>
                    <a:pt x="403" y="735"/>
                  </a:lnTo>
                  <a:lnTo>
                    <a:pt x="398" y="728"/>
                  </a:lnTo>
                  <a:lnTo>
                    <a:pt x="398" y="726"/>
                  </a:lnTo>
                  <a:lnTo>
                    <a:pt x="398" y="723"/>
                  </a:lnTo>
                  <a:lnTo>
                    <a:pt x="396" y="719"/>
                  </a:lnTo>
                  <a:lnTo>
                    <a:pt x="393" y="717"/>
                  </a:lnTo>
                  <a:lnTo>
                    <a:pt x="388" y="719"/>
                  </a:lnTo>
                  <a:lnTo>
                    <a:pt x="386" y="719"/>
                  </a:lnTo>
                  <a:lnTo>
                    <a:pt x="381" y="716"/>
                  </a:lnTo>
                  <a:lnTo>
                    <a:pt x="374" y="716"/>
                  </a:lnTo>
                  <a:lnTo>
                    <a:pt x="372" y="714"/>
                  </a:lnTo>
                  <a:lnTo>
                    <a:pt x="364" y="717"/>
                  </a:lnTo>
                  <a:lnTo>
                    <a:pt x="362" y="719"/>
                  </a:lnTo>
                  <a:lnTo>
                    <a:pt x="362" y="723"/>
                  </a:lnTo>
                  <a:lnTo>
                    <a:pt x="362" y="724"/>
                  </a:lnTo>
                  <a:lnTo>
                    <a:pt x="361" y="729"/>
                  </a:lnTo>
                  <a:lnTo>
                    <a:pt x="362" y="738"/>
                  </a:lnTo>
                  <a:lnTo>
                    <a:pt x="364" y="741"/>
                  </a:lnTo>
                  <a:lnTo>
                    <a:pt x="364" y="743"/>
                  </a:lnTo>
                  <a:lnTo>
                    <a:pt x="361" y="745"/>
                  </a:lnTo>
                  <a:lnTo>
                    <a:pt x="361" y="753"/>
                  </a:lnTo>
                  <a:lnTo>
                    <a:pt x="359" y="757"/>
                  </a:lnTo>
                  <a:lnTo>
                    <a:pt x="361" y="762"/>
                  </a:lnTo>
                  <a:lnTo>
                    <a:pt x="359" y="765"/>
                  </a:lnTo>
                  <a:lnTo>
                    <a:pt x="361" y="767"/>
                  </a:lnTo>
                  <a:lnTo>
                    <a:pt x="361" y="770"/>
                  </a:lnTo>
                  <a:lnTo>
                    <a:pt x="359" y="774"/>
                  </a:lnTo>
                  <a:lnTo>
                    <a:pt x="359" y="777"/>
                  </a:lnTo>
                  <a:lnTo>
                    <a:pt x="355" y="781"/>
                  </a:lnTo>
                  <a:lnTo>
                    <a:pt x="357" y="788"/>
                  </a:lnTo>
                  <a:lnTo>
                    <a:pt x="359" y="798"/>
                  </a:lnTo>
                  <a:lnTo>
                    <a:pt x="359" y="805"/>
                  </a:lnTo>
                  <a:lnTo>
                    <a:pt x="359" y="813"/>
                  </a:lnTo>
                  <a:lnTo>
                    <a:pt x="357" y="818"/>
                  </a:lnTo>
                  <a:lnTo>
                    <a:pt x="355" y="822"/>
                  </a:lnTo>
                  <a:lnTo>
                    <a:pt x="355" y="822"/>
                  </a:lnTo>
                  <a:lnTo>
                    <a:pt x="352" y="822"/>
                  </a:lnTo>
                  <a:lnTo>
                    <a:pt x="350" y="823"/>
                  </a:lnTo>
                  <a:lnTo>
                    <a:pt x="352" y="829"/>
                  </a:lnTo>
                  <a:lnTo>
                    <a:pt x="349" y="830"/>
                  </a:lnTo>
                  <a:lnTo>
                    <a:pt x="349" y="835"/>
                  </a:lnTo>
                  <a:lnTo>
                    <a:pt x="280" y="735"/>
                  </a:lnTo>
                  <a:lnTo>
                    <a:pt x="263" y="707"/>
                  </a:lnTo>
                  <a:lnTo>
                    <a:pt x="179" y="582"/>
                  </a:lnTo>
                  <a:lnTo>
                    <a:pt x="135" y="518"/>
                  </a:lnTo>
                  <a:lnTo>
                    <a:pt x="99" y="461"/>
                  </a:lnTo>
                  <a:lnTo>
                    <a:pt x="51" y="39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50" name="Freeform 149"/>
            <p:cNvSpPr>
              <a:spLocks/>
            </p:cNvSpPr>
            <p:nvPr/>
          </p:nvSpPr>
          <p:spPr bwMode="gray">
            <a:xfrm>
              <a:off x="2809365" y="3021878"/>
              <a:ext cx="771316" cy="962936"/>
            </a:xfrm>
            <a:custGeom>
              <a:avLst/>
              <a:gdLst/>
              <a:ahLst/>
              <a:cxnLst>
                <a:cxn ang="0">
                  <a:pos x="22" y="408"/>
                </a:cxn>
                <a:cxn ang="0">
                  <a:pos x="33" y="362"/>
                </a:cxn>
                <a:cxn ang="0">
                  <a:pos x="34" y="350"/>
                </a:cxn>
                <a:cxn ang="0">
                  <a:pos x="53" y="260"/>
                </a:cxn>
                <a:cxn ang="0">
                  <a:pos x="60" y="220"/>
                </a:cxn>
                <a:cxn ang="0">
                  <a:pos x="63" y="200"/>
                </a:cxn>
                <a:cxn ang="0">
                  <a:pos x="82" y="106"/>
                </a:cxn>
                <a:cxn ang="0">
                  <a:pos x="103" y="0"/>
                </a:cxn>
                <a:cxn ang="0">
                  <a:pos x="185" y="14"/>
                </a:cxn>
                <a:cxn ang="0">
                  <a:pos x="250" y="26"/>
                </a:cxn>
                <a:cxn ang="0">
                  <a:pos x="253" y="26"/>
                </a:cxn>
                <a:cxn ang="0">
                  <a:pos x="301" y="34"/>
                </a:cxn>
                <a:cxn ang="0">
                  <a:pos x="337" y="41"/>
                </a:cxn>
                <a:cxn ang="0">
                  <a:pos x="328" y="85"/>
                </a:cxn>
                <a:cxn ang="0">
                  <a:pos x="323" y="120"/>
                </a:cxn>
                <a:cxn ang="0">
                  <a:pos x="320" y="147"/>
                </a:cxn>
                <a:cxn ang="0">
                  <a:pos x="397" y="159"/>
                </a:cxn>
                <a:cxn ang="0">
                  <a:pos x="402" y="159"/>
                </a:cxn>
                <a:cxn ang="0">
                  <a:pos x="479" y="171"/>
                </a:cxn>
                <a:cxn ang="0">
                  <a:pos x="474" y="207"/>
                </a:cxn>
                <a:cxn ang="0">
                  <a:pos x="467" y="255"/>
                </a:cxn>
                <a:cxn ang="0">
                  <a:pos x="458" y="314"/>
                </a:cxn>
                <a:cxn ang="0">
                  <a:pos x="456" y="328"/>
                </a:cxn>
                <a:cxn ang="0">
                  <a:pos x="453" y="345"/>
                </a:cxn>
                <a:cxn ang="0">
                  <a:pos x="441" y="439"/>
                </a:cxn>
                <a:cxn ang="0">
                  <a:pos x="438" y="465"/>
                </a:cxn>
                <a:cxn ang="0">
                  <a:pos x="436" y="475"/>
                </a:cxn>
                <a:cxn ang="0">
                  <a:pos x="433" y="504"/>
                </a:cxn>
                <a:cxn ang="0">
                  <a:pos x="429" y="531"/>
                </a:cxn>
                <a:cxn ang="0">
                  <a:pos x="419" y="598"/>
                </a:cxn>
                <a:cxn ang="0">
                  <a:pos x="339" y="588"/>
                </a:cxn>
                <a:cxn ang="0">
                  <a:pos x="301" y="583"/>
                </a:cxn>
                <a:cxn ang="0">
                  <a:pos x="299" y="581"/>
                </a:cxn>
                <a:cxn ang="0">
                  <a:pos x="277" y="578"/>
                </a:cxn>
                <a:cxn ang="0">
                  <a:pos x="226" y="569"/>
                </a:cxn>
                <a:cxn ang="0">
                  <a:pos x="151" y="557"/>
                </a:cxn>
                <a:cxn ang="0">
                  <a:pos x="125" y="552"/>
                </a:cxn>
                <a:cxn ang="0">
                  <a:pos x="96" y="547"/>
                </a:cxn>
                <a:cxn ang="0">
                  <a:pos x="0" y="530"/>
                </a:cxn>
                <a:cxn ang="0">
                  <a:pos x="12" y="467"/>
                </a:cxn>
                <a:cxn ang="0">
                  <a:pos x="22" y="408"/>
                </a:cxn>
              </a:cxnLst>
              <a:rect l="0" t="0" r="r" b="b"/>
              <a:pathLst>
                <a:path w="479" h="598">
                  <a:moveTo>
                    <a:pt x="22" y="408"/>
                  </a:moveTo>
                  <a:lnTo>
                    <a:pt x="33" y="362"/>
                  </a:lnTo>
                  <a:lnTo>
                    <a:pt x="34" y="350"/>
                  </a:lnTo>
                  <a:lnTo>
                    <a:pt x="53" y="260"/>
                  </a:lnTo>
                  <a:lnTo>
                    <a:pt x="60" y="220"/>
                  </a:lnTo>
                  <a:lnTo>
                    <a:pt x="63" y="200"/>
                  </a:lnTo>
                  <a:lnTo>
                    <a:pt x="82" y="106"/>
                  </a:lnTo>
                  <a:lnTo>
                    <a:pt x="103" y="0"/>
                  </a:lnTo>
                  <a:lnTo>
                    <a:pt x="185" y="14"/>
                  </a:lnTo>
                  <a:lnTo>
                    <a:pt x="250" y="26"/>
                  </a:lnTo>
                  <a:lnTo>
                    <a:pt x="253" y="26"/>
                  </a:lnTo>
                  <a:lnTo>
                    <a:pt x="301" y="34"/>
                  </a:lnTo>
                  <a:lnTo>
                    <a:pt x="337" y="41"/>
                  </a:lnTo>
                  <a:lnTo>
                    <a:pt x="328" y="85"/>
                  </a:lnTo>
                  <a:lnTo>
                    <a:pt x="323" y="120"/>
                  </a:lnTo>
                  <a:lnTo>
                    <a:pt x="320" y="147"/>
                  </a:lnTo>
                  <a:lnTo>
                    <a:pt x="397" y="159"/>
                  </a:lnTo>
                  <a:lnTo>
                    <a:pt x="402" y="159"/>
                  </a:lnTo>
                  <a:lnTo>
                    <a:pt x="479" y="171"/>
                  </a:lnTo>
                  <a:lnTo>
                    <a:pt x="474" y="207"/>
                  </a:lnTo>
                  <a:lnTo>
                    <a:pt x="467" y="255"/>
                  </a:lnTo>
                  <a:lnTo>
                    <a:pt x="458" y="314"/>
                  </a:lnTo>
                  <a:lnTo>
                    <a:pt x="456" y="328"/>
                  </a:lnTo>
                  <a:lnTo>
                    <a:pt x="453" y="345"/>
                  </a:lnTo>
                  <a:lnTo>
                    <a:pt x="441" y="439"/>
                  </a:lnTo>
                  <a:lnTo>
                    <a:pt x="438" y="465"/>
                  </a:lnTo>
                  <a:lnTo>
                    <a:pt x="436" y="475"/>
                  </a:lnTo>
                  <a:lnTo>
                    <a:pt x="433" y="504"/>
                  </a:lnTo>
                  <a:lnTo>
                    <a:pt x="429" y="531"/>
                  </a:lnTo>
                  <a:lnTo>
                    <a:pt x="419" y="598"/>
                  </a:lnTo>
                  <a:lnTo>
                    <a:pt x="339" y="588"/>
                  </a:lnTo>
                  <a:lnTo>
                    <a:pt x="301" y="583"/>
                  </a:lnTo>
                  <a:lnTo>
                    <a:pt x="299" y="581"/>
                  </a:lnTo>
                  <a:lnTo>
                    <a:pt x="277" y="578"/>
                  </a:lnTo>
                  <a:lnTo>
                    <a:pt x="226" y="569"/>
                  </a:lnTo>
                  <a:lnTo>
                    <a:pt x="151" y="557"/>
                  </a:lnTo>
                  <a:lnTo>
                    <a:pt x="125" y="552"/>
                  </a:lnTo>
                  <a:lnTo>
                    <a:pt x="96" y="547"/>
                  </a:lnTo>
                  <a:lnTo>
                    <a:pt x="0" y="530"/>
                  </a:lnTo>
                  <a:lnTo>
                    <a:pt x="12" y="467"/>
                  </a:lnTo>
                  <a:lnTo>
                    <a:pt x="22" y="40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51" name="Freeform 150"/>
            <p:cNvSpPr>
              <a:spLocks noEditPoints="1"/>
            </p:cNvSpPr>
            <p:nvPr/>
          </p:nvSpPr>
          <p:spPr bwMode="gray">
            <a:xfrm>
              <a:off x="1609720" y="2707876"/>
              <a:ext cx="1098198" cy="1879176"/>
            </a:xfrm>
            <a:custGeom>
              <a:avLst/>
              <a:gdLst/>
              <a:ahLst/>
              <a:cxnLst>
                <a:cxn ang="0">
                  <a:pos x="99" y="453"/>
                </a:cxn>
                <a:cxn ang="0">
                  <a:pos x="97" y="448"/>
                </a:cxn>
                <a:cxn ang="0">
                  <a:pos x="80" y="444"/>
                </a:cxn>
                <a:cxn ang="0">
                  <a:pos x="70" y="472"/>
                </a:cxn>
                <a:cxn ang="0">
                  <a:pos x="39" y="444"/>
                </a:cxn>
                <a:cxn ang="0">
                  <a:pos x="39" y="395"/>
                </a:cxn>
                <a:cxn ang="0">
                  <a:pos x="12" y="284"/>
                </a:cxn>
                <a:cxn ang="0">
                  <a:pos x="14" y="198"/>
                </a:cxn>
                <a:cxn ang="0">
                  <a:pos x="43" y="91"/>
                </a:cxn>
                <a:cxn ang="0">
                  <a:pos x="60" y="16"/>
                </a:cxn>
                <a:cxn ang="0">
                  <a:pos x="212" y="43"/>
                </a:cxn>
                <a:cxn ang="0">
                  <a:pos x="325" y="328"/>
                </a:cxn>
                <a:cxn ang="0">
                  <a:pos x="308" y="397"/>
                </a:cxn>
                <a:cxn ang="0">
                  <a:pos x="357" y="482"/>
                </a:cxn>
                <a:cxn ang="0">
                  <a:pos x="586" y="826"/>
                </a:cxn>
                <a:cxn ang="0">
                  <a:pos x="651" y="940"/>
                </a:cxn>
                <a:cxn ang="0">
                  <a:pos x="663" y="961"/>
                </a:cxn>
                <a:cxn ang="0">
                  <a:pos x="665" y="986"/>
                </a:cxn>
                <a:cxn ang="0">
                  <a:pos x="673" y="996"/>
                </a:cxn>
                <a:cxn ang="0">
                  <a:pos x="680" y="1012"/>
                </a:cxn>
                <a:cxn ang="0">
                  <a:pos x="653" y="1027"/>
                </a:cxn>
                <a:cxn ang="0">
                  <a:pos x="639" y="1049"/>
                </a:cxn>
                <a:cxn ang="0">
                  <a:pos x="639" y="1065"/>
                </a:cxn>
                <a:cxn ang="0">
                  <a:pos x="632" y="1080"/>
                </a:cxn>
                <a:cxn ang="0">
                  <a:pos x="620" y="1094"/>
                </a:cxn>
                <a:cxn ang="0">
                  <a:pos x="612" y="1111"/>
                </a:cxn>
                <a:cxn ang="0">
                  <a:pos x="610" y="1133"/>
                </a:cxn>
                <a:cxn ang="0">
                  <a:pos x="622" y="1137"/>
                </a:cxn>
                <a:cxn ang="0">
                  <a:pos x="617" y="1162"/>
                </a:cxn>
                <a:cxn ang="0">
                  <a:pos x="614" y="1166"/>
                </a:cxn>
                <a:cxn ang="0">
                  <a:pos x="602" y="1164"/>
                </a:cxn>
                <a:cxn ang="0">
                  <a:pos x="381" y="1119"/>
                </a:cxn>
                <a:cxn ang="0">
                  <a:pos x="376" y="1104"/>
                </a:cxn>
                <a:cxn ang="0">
                  <a:pos x="326" y="993"/>
                </a:cxn>
                <a:cxn ang="0">
                  <a:pos x="304" y="981"/>
                </a:cxn>
                <a:cxn ang="0">
                  <a:pos x="241" y="928"/>
                </a:cxn>
                <a:cxn ang="0">
                  <a:pos x="181" y="879"/>
                </a:cxn>
                <a:cxn ang="0">
                  <a:pos x="138" y="839"/>
                </a:cxn>
                <a:cxn ang="0">
                  <a:pos x="147" y="802"/>
                </a:cxn>
                <a:cxn ang="0">
                  <a:pos x="135" y="759"/>
                </a:cxn>
                <a:cxn ang="0">
                  <a:pos x="101" y="699"/>
                </a:cxn>
                <a:cxn ang="0">
                  <a:pos x="87" y="614"/>
                </a:cxn>
                <a:cxn ang="0">
                  <a:pos x="80" y="573"/>
                </a:cxn>
                <a:cxn ang="0">
                  <a:pos x="65" y="509"/>
                </a:cxn>
                <a:cxn ang="0">
                  <a:pos x="80" y="485"/>
                </a:cxn>
                <a:cxn ang="0">
                  <a:pos x="94" y="515"/>
                </a:cxn>
                <a:cxn ang="0">
                  <a:pos x="85" y="460"/>
                </a:cxn>
                <a:cxn ang="0">
                  <a:pos x="154" y="465"/>
                </a:cxn>
                <a:cxn ang="0">
                  <a:pos x="147" y="463"/>
                </a:cxn>
                <a:cxn ang="0">
                  <a:pos x="212" y="933"/>
                </a:cxn>
                <a:cxn ang="0">
                  <a:pos x="183" y="926"/>
                </a:cxn>
                <a:cxn ang="0">
                  <a:pos x="167" y="921"/>
                </a:cxn>
                <a:cxn ang="0">
                  <a:pos x="296" y="1024"/>
                </a:cxn>
                <a:cxn ang="0">
                  <a:pos x="280" y="1017"/>
                </a:cxn>
                <a:cxn ang="0">
                  <a:pos x="265" y="1060"/>
                </a:cxn>
              </a:cxnLst>
              <a:rect l="0" t="0" r="r" b="b"/>
              <a:pathLst>
                <a:path w="682" h="1167">
                  <a:moveTo>
                    <a:pt x="149" y="455"/>
                  </a:moveTo>
                  <a:lnTo>
                    <a:pt x="137" y="463"/>
                  </a:lnTo>
                  <a:lnTo>
                    <a:pt x="126" y="460"/>
                  </a:lnTo>
                  <a:lnTo>
                    <a:pt x="121" y="451"/>
                  </a:lnTo>
                  <a:lnTo>
                    <a:pt x="99" y="453"/>
                  </a:lnTo>
                  <a:lnTo>
                    <a:pt x="99" y="443"/>
                  </a:lnTo>
                  <a:lnTo>
                    <a:pt x="97" y="436"/>
                  </a:lnTo>
                  <a:lnTo>
                    <a:pt x="94" y="438"/>
                  </a:lnTo>
                  <a:lnTo>
                    <a:pt x="97" y="443"/>
                  </a:lnTo>
                  <a:lnTo>
                    <a:pt x="97" y="448"/>
                  </a:lnTo>
                  <a:lnTo>
                    <a:pt x="89" y="439"/>
                  </a:lnTo>
                  <a:lnTo>
                    <a:pt x="85" y="443"/>
                  </a:lnTo>
                  <a:lnTo>
                    <a:pt x="80" y="443"/>
                  </a:lnTo>
                  <a:lnTo>
                    <a:pt x="79" y="438"/>
                  </a:lnTo>
                  <a:lnTo>
                    <a:pt x="80" y="444"/>
                  </a:lnTo>
                  <a:lnTo>
                    <a:pt x="77" y="451"/>
                  </a:lnTo>
                  <a:lnTo>
                    <a:pt x="80" y="456"/>
                  </a:lnTo>
                  <a:lnTo>
                    <a:pt x="75" y="462"/>
                  </a:lnTo>
                  <a:lnTo>
                    <a:pt x="75" y="472"/>
                  </a:lnTo>
                  <a:lnTo>
                    <a:pt x="70" y="472"/>
                  </a:lnTo>
                  <a:lnTo>
                    <a:pt x="60" y="460"/>
                  </a:lnTo>
                  <a:lnTo>
                    <a:pt x="58" y="460"/>
                  </a:lnTo>
                  <a:lnTo>
                    <a:pt x="50" y="444"/>
                  </a:lnTo>
                  <a:lnTo>
                    <a:pt x="43" y="441"/>
                  </a:lnTo>
                  <a:lnTo>
                    <a:pt x="39" y="444"/>
                  </a:lnTo>
                  <a:lnTo>
                    <a:pt x="34" y="443"/>
                  </a:lnTo>
                  <a:lnTo>
                    <a:pt x="44" y="427"/>
                  </a:lnTo>
                  <a:lnTo>
                    <a:pt x="44" y="412"/>
                  </a:lnTo>
                  <a:lnTo>
                    <a:pt x="41" y="410"/>
                  </a:lnTo>
                  <a:lnTo>
                    <a:pt x="39" y="395"/>
                  </a:lnTo>
                  <a:lnTo>
                    <a:pt x="29" y="378"/>
                  </a:lnTo>
                  <a:lnTo>
                    <a:pt x="17" y="350"/>
                  </a:lnTo>
                  <a:lnTo>
                    <a:pt x="7" y="328"/>
                  </a:lnTo>
                  <a:lnTo>
                    <a:pt x="14" y="318"/>
                  </a:lnTo>
                  <a:lnTo>
                    <a:pt x="12" y="284"/>
                  </a:lnTo>
                  <a:lnTo>
                    <a:pt x="24" y="263"/>
                  </a:lnTo>
                  <a:lnTo>
                    <a:pt x="26" y="248"/>
                  </a:lnTo>
                  <a:lnTo>
                    <a:pt x="26" y="233"/>
                  </a:lnTo>
                  <a:lnTo>
                    <a:pt x="17" y="210"/>
                  </a:lnTo>
                  <a:lnTo>
                    <a:pt x="14" y="198"/>
                  </a:lnTo>
                  <a:lnTo>
                    <a:pt x="0" y="176"/>
                  </a:lnTo>
                  <a:lnTo>
                    <a:pt x="2" y="169"/>
                  </a:lnTo>
                  <a:lnTo>
                    <a:pt x="2" y="157"/>
                  </a:lnTo>
                  <a:lnTo>
                    <a:pt x="41" y="108"/>
                  </a:lnTo>
                  <a:lnTo>
                    <a:pt x="43" y="91"/>
                  </a:lnTo>
                  <a:lnTo>
                    <a:pt x="55" y="74"/>
                  </a:lnTo>
                  <a:lnTo>
                    <a:pt x="60" y="60"/>
                  </a:lnTo>
                  <a:lnTo>
                    <a:pt x="62" y="29"/>
                  </a:lnTo>
                  <a:lnTo>
                    <a:pt x="55" y="22"/>
                  </a:lnTo>
                  <a:lnTo>
                    <a:pt x="60" y="16"/>
                  </a:lnTo>
                  <a:lnTo>
                    <a:pt x="65" y="0"/>
                  </a:lnTo>
                  <a:lnTo>
                    <a:pt x="94" y="9"/>
                  </a:lnTo>
                  <a:lnTo>
                    <a:pt x="118" y="16"/>
                  </a:lnTo>
                  <a:lnTo>
                    <a:pt x="140" y="22"/>
                  </a:lnTo>
                  <a:lnTo>
                    <a:pt x="212" y="43"/>
                  </a:lnTo>
                  <a:lnTo>
                    <a:pt x="275" y="62"/>
                  </a:lnTo>
                  <a:lnTo>
                    <a:pt x="320" y="74"/>
                  </a:lnTo>
                  <a:lnTo>
                    <a:pt x="386" y="91"/>
                  </a:lnTo>
                  <a:lnTo>
                    <a:pt x="364" y="176"/>
                  </a:lnTo>
                  <a:lnTo>
                    <a:pt x="325" y="328"/>
                  </a:lnTo>
                  <a:lnTo>
                    <a:pt x="318" y="357"/>
                  </a:lnTo>
                  <a:lnTo>
                    <a:pt x="314" y="371"/>
                  </a:lnTo>
                  <a:lnTo>
                    <a:pt x="309" y="388"/>
                  </a:lnTo>
                  <a:lnTo>
                    <a:pt x="309" y="393"/>
                  </a:lnTo>
                  <a:lnTo>
                    <a:pt x="308" y="397"/>
                  </a:lnTo>
                  <a:lnTo>
                    <a:pt x="306" y="405"/>
                  </a:lnTo>
                  <a:lnTo>
                    <a:pt x="313" y="414"/>
                  </a:lnTo>
                  <a:lnTo>
                    <a:pt x="332" y="444"/>
                  </a:lnTo>
                  <a:lnTo>
                    <a:pt x="347" y="467"/>
                  </a:lnTo>
                  <a:lnTo>
                    <a:pt x="357" y="482"/>
                  </a:lnTo>
                  <a:lnTo>
                    <a:pt x="405" y="552"/>
                  </a:lnTo>
                  <a:lnTo>
                    <a:pt x="441" y="609"/>
                  </a:lnTo>
                  <a:lnTo>
                    <a:pt x="485" y="673"/>
                  </a:lnTo>
                  <a:lnTo>
                    <a:pt x="569" y="798"/>
                  </a:lnTo>
                  <a:lnTo>
                    <a:pt x="586" y="826"/>
                  </a:lnTo>
                  <a:lnTo>
                    <a:pt x="655" y="926"/>
                  </a:lnTo>
                  <a:lnTo>
                    <a:pt x="655" y="926"/>
                  </a:lnTo>
                  <a:lnTo>
                    <a:pt x="655" y="933"/>
                  </a:lnTo>
                  <a:lnTo>
                    <a:pt x="653" y="935"/>
                  </a:lnTo>
                  <a:lnTo>
                    <a:pt x="651" y="940"/>
                  </a:lnTo>
                  <a:lnTo>
                    <a:pt x="656" y="945"/>
                  </a:lnTo>
                  <a:lnTo>
                    <a:pt x="656" y="954"/>
                  </a:lnTo>
                  <a:lnTo>
                    <a:pt x="658" y="955"/>
                  </a:lnTo>
                  <a:lnTo>
                    <a:pt x="660" y="955"/>
                  </a:lnTo>
                  <a:lnTo>
                    <a:pt x="663" y="961"/>
                  </a:lnTo>
                  <a:lnTo>
                    <a:pt x="665" y="971"/>
                  </a:lnTo>
                  <a:lnTo>
                    <a:pt x="663" y="973"/>
                  </a:lnTo>
                  <a:lnTo>
                    <a:pt x="665" y="974"/>
                  </a:lnTo>
                  <a:lnTo>
                    <a:pt x="667" y="979"/>
                  </a:lnTo>
                  <a:lnTo>
                    <a:pt x="665" y="986"/>
                  </a:lnTo>
                  <a:lnTo>
                    <a:pt x="665" y="988"/>
                  </a:lnTo>
                  <a:lnTo>
                    <a:pt x="668" y="990"/>
                  </a:lnTo>
                  <a:lnTo>
                    <a:pt x="670" y="991"/>
                  </a:lnTo>
                  <a:lnTo>
                    <a:pt x="672" y="995"/>
                  </a:lnTo>
                  <a:lnTo>
                    <a:pt x="673" y="996"/>
                  </a:lnTo>
                  <a:lnTo>
                    <a:pt x="680" y="1002"/>
                  </a:lnTo>
                  <a:lnTo>
                    <a:pt x="682" y="1005"/>
                  </a:lnTo>
                  <a:lnTo>
                    <a:pt x="682" y="1007"/>
                  </a:lnTo>
                  <a:lnTo>
                    <a:pt x="682" y="1012"/>
                  </a:lnTo>
                  <a:lnTo>
                    <a:pt x="680" y="1012"/>
                  </a:lnTo>
                  <a:lnTo>
                    <a:pt x="672" y="1019"/>
                  </a:lnTo>
                  <a:lnTo>
                    <a:pt x="667" y="1020"/>
                  </a:lnTo>
                  <a:lnTo>
                    <a:pt x="663" y="1022"/>
                  </a:lnTo>
                  <a:lnTo>
                    <a:pt x="655" y="1025"/>
                  </a:lnTo>
                  <a:lnTo>
                    <a:pt x="653" y="1027"/>
                  </a:lnTo>
                  <a:lnTo>
                    <a:pt x="651" y="1032"/>
                  </a:lnTo>
                  <a:lnTo>
                    <a:pt x="643" y="1037"/>
                  </a:lnTo>
                  <a:lnTo>
                    <a:pt x="641" y="1039"/>
                  </a:lnTo>
                  <a:lnTo>
                    <a:pt x="643" y="1043"/>
                  </a:lnTo>
                  <a:lnTo>
                    <a:pt x="639" y="1049"/>
                  </a:lnTo>
                  <a:lnTo>
                    <a:pt x="641" y="1051"/>
                  </a:lnTo>
                  <a:lnTo>
                    <a:pt x="639" y="1053"/>
                  </a:lnTo>
                  <a:lnTo>
                    <a:pt x="639" y="1058"/>
                  </a:lnTo>
                  <a:lnTo>
                    <a:pt x="637" y="1061"/>
                  </a:lnTo>
                  <a:lnTo>
                    <a:pt x="639" y="1065"/>
                  </a:lnTo>
                  <a:lnTo>
                    <a:pt x="634" y="1068"/>
                  </a:lnTo>
                  <a:lnTo>
                    <a:pt x="636" y="1070"/>
                  </a:lnTo>
                  <a:lnTo>
                    <a:pt x="634" y="1073"/>
                  </a:lnTo>
                  <a:lnTo>
                    <a:pt x="632" y="1078"/>
                  </a:lnTo>
                  <a:lnTo>
                    <a:pt x="632" y="1080"/>
                  </a:lnTo>
                  <a:lnTo>
                    <a:pt x="627" y="1085"/>
                  </a:lnTo>
                  <a:lnTo>
                    <a:pt x="626" y="1087"/>
                  </a:lnTo>
                  <a:lnTo>
                    <a:pt x="622" y="1089"/>
                  </a:lnTo>
                  <a:lnTo>
                    <a:pt x="622" y="1092"/>
                  </a:lnTo>
                  <a:lnTo>
                    <a:pt x="620" y="1094"/>
                  </a:lnTo>
                  <a:lnTo>
                    <a:pt x="612" y="1092"/>
                  </a:lnTo>
                  <a:lnTo>
                    <a:pt x="614" y="1099"/>
                  </a:lnTo>
                  <a:lnTo>
                    <a:pt x="610" y="1104"/>
                  </a:lnTo>
                  <a:lnTo>
                    <a:pt x="614" y="1109"/>
                  </a:lnTo>
                  <a:lnTo>
                    <a:pt x="612" y="1111"/>
                  </a:lnTo>
                  <a:lnTo>
                    <a:pt x="612" y="1113"/>
                  </a:lnTo>
                  <a:lnTo>
                    <a:pt x="612" y="1119"/>
                  </a:lnTo>
                  <a:lnTo>
                    <a:pt x="608" y="1123"/>
                  </a:lnTo>
                  <a:lnTo>
                    <a:pt x="607" y="1126"/>
                  </a:lnTo>
                  <a:lnTo>
                    <a:pt x="610" y="1133"/>
                  </a:lnTo>
                  <a:lnTo>
                    <a:pt x="612" y="1133"/>
                  </a:lnTo>
                  <a:lnTo>
                    <a:pt x="612" y="1135"/>
                  </a:lnTo>
                  <a:lnTo>
                    <a:pt x="615" y="1135"/>
                  </a:lnTo>
                  <a:lnTo>
                    <a:pt x="619" y="1135"/>
                  </a:lnTo>
                  <a:lnTo>
                    <a:pt x="622" y="1137"/>
                  </a:lnTo>
                  <a:lnTo>
                    <a:pt x="626" y="1143"/>
                  </a:lnTo>
                  <a:lnTo>
                    <a:pt x="624" y="1147"/>
                  </a:lnTo>
                  <a:lnTo>
                    <a:pt x="624" y="1157"/>
                  </a:lnTo>
                  <a:lnTo>
                    <a:pt x="617" y="1161"/>
                  </a:lnTo>
                  <a:lnTo>
                    <a:pt x="617" y="1162"/>
                  </a:lnTo>
                  <a:lnTo>
                    <a:pt x="617" y="1164"/>
                  </a:lnTo>
                  <a:lnTo>
                    <a:pt x="615" y="1164"/>
                  </a:lnTo>
                  <a:lnTo>
                    <a:pt x="615" y="1164"/>
                  </a:lnTo>
                  <a:lnTo>
                    <a:pt x="614" y="1164"/>
                  </a:lnTo>
                  <a:lnTo>
                    <a:pt x="614" y="1166"/>
                  </a:lnTo>
                  <a:lnTo>
                    <a:pt x="612" y="1166"/>
                  </a:lnTo>
                  <a:lnTo>
                    <a:pt x="612" y="1167"/>
                  </a:lnTo>
                  <a:lnTo>
                    <a:pt x="608" y="1166"/>
                  </a:lnTo>
                  <a:lnTo>
                    <a:pt x="608" y="1167"/>
                  </a:lnTo>
                  <a:lnTo>
                    <a:pt x="602" y="1164"/>
                  </a:lnTo>
                  <a:lnTo>
                    <a:pt x="600" y="1164"/>
                  </a:lnTo>
                  <a:lnTo>
                    <a:pt x="598" y="1166"/>
                  </a:lnTo>
                  <a:lnTo>
                    <a:pt x="473" y="1152"/>
                  </a:lnTo>
                  <a:lnTo>
                    <a:pt x="383" y="1140"/>
                  </a:lnTo>
                  <a:lnTo>
                    <a:pt x="381" y="1119"/>
                  </a:lnTo>
                  <a:lnTo>
                    <a:pt x="385" y="1133"/>
                  </a:lnTo>
                  <a:lnTo>
                    <a:pt x="386" y="1125"/>
                  </a:lnTo>
                  <a:lnTo>
                    <a:pt x="381" y="1118"/>
                  </a:lnTo>
                  <a:lnTo>
                    <a:pt x="376" y="1123"/>
                  </a:lnTo>
                  <a:lnTo>
                    <a:pt x="376" y="1104"/>
                  </a:lnTo>
                  <a:lnTo>
                    <a:pt x="379" y="1101"/>
                  </a:lnTo>
                  <a:lnTo>
                    <a:pt x="379" y="1075"/>
                  </a:lnTo>
                  <a:lnTo>
                    <a:pt x="374" y="1061"/>
                  </a:lnTo>
                  <a:lnTo>
                    <a:pt x="362" y="1041"/>
                  </a:lnTo>
                  <a:lnTo>
                    <a:pt x="326" y="993"/>
                  </a:lnTo>
                  <a:lnTo>
                    <a:pt x="314" y="988"/>
                  </a:lnTo>
                  <a:lnTo>
                    <a:pt x="309" y="995"/>
                  </a:lnTo>
                  <a:lnTo>
                    <a:pt x="301" y="988"/>
                  </a:lnTo>
                  <a:lnTo>
                    <a:pt x="299" y="984"/>
                  </a:lnTo>
                  <a:lnTo>
                    <a:pt x="304" y="981"/>
                  </a:lnTo>
                  <a:lnTo>
                    <a:pt x="304" y="973"/>
                  </a:lnTo>
                  <a:lnTo>
                    <a:pt x="296" y="954"/>
                  </a:lnTo>
                  <a:lnTo>
                    <a:pt x="275" y="950"/>
                  </a:lnTo>
                  <a:lnTo>
                    <a:pt x="263" y="945"/>
                  </a:lnTo>
                  <a:lnTo>
                    <a:pt x="241" y="928"/>
                  </a:lnTo>
                  <a:lnTo>
                    <a:pt x="239" y="918"/>
                  </a:lnTo>
                  <a:lnTo>
                    <a:pt x="224" y="899"/>
                  </a:lnTo>
                  <a:lnTo>
                    <a:pt x="215" y="892"/>
                  </a:lnTo>
                  <a:lnTo>
                    <a:pt x="193" y="887"/>
                  </a:lnTo>
                  <a:lnTo>
                    <a:pt x="181" y="879"/>
                  </a:lnTo>
                  <a:lnTo>
                    <a:pt x="171" y="875"/>
                  </a:lnTo>
                  <a:lnTo>
                    <a:pt x="144" y="870"/>
                  </a:lnTo>
                  <a:lnTo>
                    <a:pt x="142" y="861"/>
                  </a:lnTo>
                  <a:lnTo>
                    <a:pt x="132" y="853"/>
                  </a:lnTo>
                  <a:lnTo>
                    <a:pt x="138" y="839"/>
                  </a:lnTo>
                  <a:lnTo>
                    <a:pt x="137" y="834"/>
                  </a:lnTo>
                  <a:lnTo>
                    <a:pt x="142" y="824"/>
                  </a:lnTo>
                  <a:lnTo>
                    <a:pt x="138" y="817"/>
                  </a:lnTo>
                  <a:lnTo>
                    <a:pt x="142" y="810"/>
                  </a:lnTo>
                  <a:lnTo>
                    <a:pt x="147" y="802"/>
                  </a:lnTo>
                  <a:lnTo>
                    <a:pt x="147" y="793"/>
                  </a:lnTo>
                  <a:lnTo>
                    <a:pt x="130" y="781"/>
                  </a:lnTo>
                  <a:lnTo>
                    <a:pt x="130" y="776"/>
                  </a:lnTo>
                  <a:lnTo>
                    <a:pt x="135" y="766"/>
                  </a:lnTo>
                  <a:lnTo>
                    <a:pt x="135" y="759"/>
                  </a:lnTo>
                  <a:lnTo>
                    <a:pt x="126" y="752"/>
                  </a:lnTo>
                  <a:lnTo>
                    <a:pt x="118" y="732"/>
                  </a:lnTo>
                  <a:lnTo>
                    <a:pt x="109" y="725"/>
                  </a:lnTo>
                  <a:lnTo>
                    <a:pt x="108" y="709"/>
                  </a:lnTo>
                  <a:lnTo>
                    <a:pt x="101" y="699"/>
                  </a:lnTo>
                  <a:lnTo>
                    <a:pt x="89" y="662"/>
                  </a:lnTo>
                  <a:lnTo>
                    <a:pt x="77" y="644"/>
                  </a:lnTo>
                  <a:lnTo>
                    <a:pt x="79" y="614"/>
                  </a:lnTo>
                  <a:lnTo>
                    <a:pt x="84" y="609"/>
                  </a:lnTo>
                  <a:lnTo>
                    <a:pt x="87" y="614"/>
                  </a:lnTo>
                  <a:lnTo>
                    <a:pt x="92" y="610"/>
                  </a:lnTo>
                  <a:lnTo>
                    <a:pt x="101" y="593"/>
                  </a:lnTo>
                  <a:lnTo>
                    <a:pt x="99" y="590"/>
                  </a:lnTo>
                  <a:lnTo>
                    <a:pt x="96" y="576"/>
                  </a:lnTo>
                  <a:lnTo>
                    <a:pt x="80" y="573"/>
                  </a:lnTo>
                  <a:lnTo>
                    <a:pt x="73" y="566"/>
                  </a:lnTo>
                  <a:lnTo>
                    <a:pt x="68" y="552"/>
                  </a:lnTo>
                  <a:lnTo>
                    <a:pt x="60" y="535"/>
                  </a:lnTo>
                  <a:lnTo>
                    <a:pt x="65" y="523"/>
                  </a:lnTo>
                  <a:lnTo>
                    <a:pt x="65" y="509"/>
                  </a:lnTo>
                  <a:lnTo>
                    <a:pt x="62" y="503"/>
                  </a:lnTo>
                  <a:lnTo>
                    <a:pt x="67" y="485"/>
                  </a:lnTo>
                  <a:lnTo>
                    <a:pt x="70" y="477"/>
                  </a:lnTo>
                  <a:lnTo>
                    <a:pt x="79" y="475"/>
                  </a:lnTo>
                  <a:lnTo>
                    <a:pt x="80" y="485"/>
                  </a:lnTo>
                  <a:lnTo>
                    <a:pt x="79" y="487"/>
                  </a:lnTo>
                  <a:lnTo>
                    <a:pt x="75" y="497"/>
                  </a:lnTo>
                  <a:lnTo>
                    <a:pt x="92" y="520"/>
                  </a:lnTo>
                  <a:lnTo>
                    <a:pt x="103" y="521"/>
                  </a:lnTo>
                  <a:lnTo>
                    <a:pt x="94" y="515"/>
                  </a:lnTo>
                  <a:lnTo>
                    <a:pt x="92" y="487"/>
                  </a:lnTo>
                  <a:lnTo>
                    <a:pt x="85" y="480"/>
                  </a:lnTo>
                  <a:lnTo>
                    <a:pt x="89" y="470"/>
                  </a:lnTo>
                  <a:lnTo>
                    <a:pt x="84" y="467"/>
                  </a:lnTo>
                  <a:lnTo>
                    <a:pt x="85" y="460"/>
                  </a:lnTo>
                  <a:lnTo>
                    <a:pt x="92" y="456"/>
                  </a:lnTo>
                  <a:lnTo>
                    <a:pt x="118" y="460"/>
                  </a:lnTo>
                  <a:lnTo>
                    <a:pt x="142" y="470"/>
                  </a:lnTo>
                  <a:lnTo>
                    <a:pt x="147" y="463"/>
                  </a:lnTo>
                  <a:lnTo>
                    <a:pt x="154" y="465"/>
                  </a:lnTo>
                  <a:lnTo>
                    <a:pt x="154" y="468"/>
                  </a:lnTo>
                  <a:lnTo>
                    <a:pt x="156" y="468"/>
                  </a:lnTo>
                  <a:lnTo>
                    <a:pt x="154" y="463"/>
                  </a:lnTo>
                  <a:lnTo>
                    <a:pt x="156" y="462"/>
                  </a:lnTo>
                  <a:lnTo>
                    <a:pt x="147" y="463"/>
                  </a:lnTo>
                  <a:lnTo>
                    <a:pt x="149" y="455"/>
                  </a:lnTo>
                  <a:close/>
                  <a:moveTo>
                    <a:pt x="185" y="921"/>
                  </a:moveTo>
                  <a:lnTo>
                    <a:pt x="200" y="932"/>
                  </a:lnTo>
                  <a:lnTo>
                    <a:pt x="208" y="930"/>
                  </a:lnTo>
                  <a:lnTo>
                    <a:pt x="212" y="933"/>
                  </a:lnTo>
                  <a:lnTo>
                    <a:pt x="210" y="937"/>
                  </a:lnTo>
                  <a:lnTo>
                    <a:pt x="195" y="937"/>
                  </a:lnTo>
                  <a:lnTo>
                    <a:pt x="183" y="933"/>
                  </a:lnTo>
                  <a:lnTo>
                    <a:pt x="179" y="928"/>
                  </a:lnTo>
                  <a:lnTo>
                    <a:pt x="183" y="926"/>
                  </a:lnTo>
                  <a:lnTo>
                    <a:pt x="178" y="923"/>
                  </a:lnTo>
                  <a:lnTo>
                    <a:pt x="185" y="921"/>
                  </a:lnTo>
                  <a:close/>
                  <a:moveTo>
                    <a:pt x="154" y="932"/>
                  </a:moveTo>
                  <a:lnTo>
                    <a:pt x="150" y="920"/>
                  </a:lnTo>
                  <a:lnTo>
                    <a:pt x="167" y="921"/>
                  </a:lnTo>
                  <a:lnTo>
                    <a:pt x="173" y="933"/>
                  </a:lnTo>
                  <a:lnTo>
                    <a:pt x="159" y="935"/>
                  </a:lnTo>
                  <a:lnTo>
                    <a:pt x="154" y="932"/>
                  </a:lnTo>
                  <a:close/>
                  <a:moveTo>
                    <a:pt x="279" y="1012"/>
                  </a:moveTo>
                  <a:lnTo>
                    <a:pt x="296" y="1024"/>
                  </a:lnTo>
                  <a:lnTo>
                    <a:pt x="301" y="1032"/>
                  </a:lnTo>
                  <a:lnTo>
                    <a:pt x="299" y="1036"/>
                  </a:lnTo>
                  <a:lnTo>
                    <a:pt x="285" y="1031"/>
                  </a:lnTo>
                  <a:lnTo>
                    <a:pt x="285" y="1020"/>
                  </a:lnTo>
                  <a:lnTo>
                    <a:pt x="280" y="1017"/>
                  </a:lnTo>
                  <a:lnTo>
                    <a:pt x="279" y="1012"/>
                  </a:lnTo>
                  <a:close/>
                  <a:moveTo>
                    <a:pt x="282" y="1085"/>
                  </a:moveTo>
                  <a:lnTo>
                    <a:pt x="275" y="1085"/>
                  </a:lnTo>
                  <a:lnTo>
                    <a:pt x="270" y="1075"/>
                  </a:lnTo>
                  <a:lnTo>
                    <a:pt x="265" y="1060"/>
                  </a:lnTo>
                  <a:lnTo>
                    <a:pt x="268" y="1058"/>
                  </a:lnTo>
                  <a:lnTo>
                    <a:pt x="270" y="1063"/>
                  </a:lnTo>
                  <a:lnTo>
                    <a:pt x="282" y="1085"/>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52" name="Freeform 151"/>
            <p:cNvSpPr>
              <a:spLocks/>
            </p:cNvSpPr>
            <p:nvPr/>
          </p:nvSpPr>
          <p:spPr bwMode="gray">
            <a:xfrm>
              <a:off x="6698147" y="3079846"/>
              <a:ext cx="573253" cy="656987"/>
            </a:xfrm>
            <a:custGeom>
              <a:avLst/>
              <a:gdLst/>
              <a:ahLst/>
              <a:cxnLst>
                <a:cxn ang="0">
                  <a:pos x="161" y="395"/>
                </a:cxn>
                <a:cxn ang="0">
                  <a:pos x="145" y="388"/>
                </a:cxn>
                <a:cxn ang="0">
                  <a:pos x="135" y="395"/>
                </a:cxn>
                <a:cxn ang="0">
                  <a:pos x="123" y="395"/>
                </a:cxn>
                <a:cxn ang="0">
                  <a:pos x="111" y="384"/>
                </a:cxn>
                <a:cxn ang="0">
                  <a:pos x="89" y="384"/>
                </a:cxn>
                <a:cxn ang="0">
                  <a:pos x="77" y="369"/>
                </a:cxn>
                <a:cxn ang="0">
                  <a:pos x="65" y="359"/>
                </a:cxn>
                <a:cxn ang="0">
                  <a:pos x="57" y="355"/>
                </a:cxn>
                <a:cxn ang="0">
                  <a:pos x="38" y="352"/>
                </a:cxn>
                <a:cxn ang="0">
                  <a:pos x="29" y="335"/>
                </a:cxn>
                <a:cxn ang="0">
                  <a:pos x="22" y="270"/>
                </a:cxn>
                <a:cxn ang="0">
                  <a:pos x="15" y="198"/>
                </a:cxn>
                <a:cxn ang="0">
                  <a:pos x="7" y="126"/>
                </a:cxn>
                <a:cxn ang="0">
                  <a:pos x="0" y="78"/>
                </a:cxn>
                <a:cxn ang="0">
                  <a:pos x="82" y="67"/>
                </a:cxn>
                <a:cxn ang="0">
                  <a:pos x="161" y="75"/>
                </a:cxn>
                <a:cxn ang="0">
                  <a:pos x="168" y="84"/>
                </a:cxn>
                <a:cxn ang="0">
                  <a:pos x="227" y="70"/>
                </a:cxn>
                <a:cxn ang="0">
                  <a:pos x="297" y="20"/>
                </a:cxn>
                <a:cxn ang="0">
                  <a:pos x="342" y="53"/>
                </a:cxn>
                <a:cxn ang="0">
                  <a:pos x="356" y="143"/>
                </a:cxn>
                <a:cxn ang="0">
                  <a:pos x="345" y="152"/>
                </a:cxn>
                <a:cxn ang="0">
                  <a:pos x="352" y="162"/>
                </a:cxn>
                <a:cxn ang="0">
                  <a:pos x="356" y="179"/>
                </a:cxn>
                <a:cxn ang="0">
                  <a:pos x="350" y="196"/>
                </a:cxn>
                <a:cxn ang="0">
                  <a:pos x="349" y="220"/>
                </a:cxn>
                <a:cxn ang="0">
                  <a:pos x="345" y="224"/>
                </a:cxn>
                <a:cxn ang="0">
                  <a:pos x="345" y="232"/>
                </a:cxn>
                <a:cxn ang="0">
                  <a:pos x="347" y="246"/>
                </a:cxn>
                <a:cxn ang="0">
                  <a:pos x="345" y="256"/>
                </a:cxn>
                <a:cxn ang="0">
                  <a:pos x="333" y="266"/>
                </a:cxn>
                <a:cxn ang="0">
                  <a:pos x="323" y="280"/>
                </a:cxn>
                <a:cxn ang="0">
                  <a:pos x="316" y="287"/>
                </a:cxn>
                <a:cxn ang="0">
                  <a:pos x="303" y="287"/>
                </a:cxn>
                <a:cxn ang="0">
                  <a:pos x="294" y="304"/>
                </a:cxn>
                <a:cxn ang="0">
                  <a:pos x="284" y="311"/>
                </a:cxn>
                <a:cxn ang="0">
                  <a:pos x="280" y="326"/>
                </a:cxn>
                <a:cxn ang="0">
                  <a:pos x="282" y="333"/>
                </a:cxn>
                <a:cxn ang="0">
                  <a:pos x="279" y="340"/>
                </a:cxn>
                <a:cxn ang="0">
                  <a:pos x="274" y="348"/>
                </a:cxn>
                <a:cxn ang="0">
                  <a:pos x="268" y="338"/>
                </a:cxn>
                <a:cxn ang="0">
                  <a:pos x="260" y="340"/>
                </a:cxn>
                <a:cxn ang="0">
                  <a:pos x="255" y="357"/>
                </a:cxn>
                <a:cxn ang="0">
                  <a:pos x="253" y="374"/>
                </a:cxn>
                <a:cxn ang="0">
                  <a:pos x="248" y="384"/>
                </a:cxn>
                <a:cxn ang="0">
                  <a:pos x="241" y="403"/>
                </a:cxn>
                <a:cxn ang="0">
                  <a:pos x="226" y="408"/>
                </a:cxn>
                <a:cxn ang="0">
                  <a:pos x="214" y="395"/>
                </a:cxn>
                <a:cxn ang="0">
                  <a:pos x="200" y="389"/>
                </a:cxn>
                <a:cxn ang="0">
                  <a:pos x="195" y="376"/>
                </a:cxn>
                <a:cxn ang="0">
                  <a:pos x="181" y="383"/>
                </a:cxn>
                <a:cxn ang="0">
                  <a:pos x="168" y="391"/>
                </a:cxn>
              </a:cxnLst>
              <a:rect l="0" t="0" r="r" b="b"/>
              <a:pathLst>
                <a:path w="356" h="408">
                  <a:moveTo>
                    <a:pt x="166" y="395"/>
                  </a:moveTo>
                  <a:lnTo>
                    <a:pt x="164" y="395"/>
                  </a:lnTo>
                  <a:lnTo>
                    <a:pt x="162" y="396"/>
                  </a:lnTo>
                  <a:lnTo>
                    <a:pt x="161" y="395"/>
                  </a:lnTo>
                  <a:lnTo>
                    <a:pt x="161" y="391"/>
                  </a:lnTo>
                  <a:lnTo>
                    <a:pt x="157" y="389"/>
                  </a:lnTo>
                  <a:lnTo>
                    <a:pt x="151" y="389"/>
                  </a:lnTo>
                  <a:lnTo>
                    <a:pt x="145" y="388"/>
                  </a:lnTo>
                  <a:lnTo>
                    <a:pt x="144" y="388"/>
                  </a:lnTo>
                  <a:lnTo>
                    <a:pt x="135" y="389"/>
                  </a:lnTo>
                  <a:lnTo>
                    <a:pt x="135" y="391"/>
                  </a:lnTo>
                  <a:lnTo>
                    <a:pt x="135" y="395"/>
                  </a:lnTo>
                  <a:lnTo>
                    <a:pt x="133" y="396"/>
                  </a:lnTo>
                  <a:lnTo>
                    <a:pt x="132" y="396"/>
                  </a:lnTo>
                  <a:lnTo>
                    <a:pt x="128" y="396"/>
                  </a:lnTo>
                  <a:lnTo>
                    <a:pt x="123" y="395"/>
                  </a:lnTo>
                  <a:lnTo>
                    <a:pt x="121" y="391"/>
                  </a:lnTo>
                  <a:lnTo>
                    <a:pt x="118" y="389"/>
                  </a:lnTo>
                  <a:lnTo>
                    <a:pt x="115" y="386"/>
                  </a:lnTo>
                  <a:lnTo>
                    <a:pt x="111" y="384"/>
                  </a:lnTo>
                  <a:lnTo>
                    <a:pt x="106" y="383"/>
                  </a:lnTo>
                  <a:lnTo>
                    <a:pt x="99" y="386"/>
                  </a:lnTo>
                  <a:lnTo>
                    <a:pt x="96" y="386"/>
                  </a:lnTo>
                  <a:lnTo>
                    <a:pt x="89" y="384"/>
                  </a:lnTo>
                  <a:lnTo>
                    <a:pt x="84" y="383"/>
                  </a:lnTo>
                  <a:lnTo>
                    <a:pt x="82" y="376"/>
                  </a:lnTo>
                  <a:lnTo>
                    <a:pt x="80" y="371"/>
                  </a:lnTo>
                  <a:lnTo>
                    <a:pt x="77" y="369"/>
                  </a:lnTo>
                  <a:lnTo>
                    <a:pt x="74" y="362"/>
                  </a:lnTo>
                  <a:lnTo>
                    <a:pt x="72" y="359"/>
                  </a:lnTo>
                  <a:lnTo>
                    <a:pt x="67" y="360"/>
                  </a:lnTo>
                  <a:lnTo>
                    <a:pt x="65" y="359"/>
                  </a:lnTo>
                  <a:lnTo>
                    <a:pt x="63" y="355"/>
                  </a:lnTo>
                  <a:lnTo>
                    <a:pt x="62" y="352"/>
                  </a:lnTo>
                  <a:lnTo>
                    <a:pt x="58" y="354"/>
                  </a:lnTo>
                  <a:lnTo>
                    <a:pt x="57" y="355"/>
                  </a:lnTo>
                  <a:lnTo>
                    <a:pt x="50" y="359"/>
                  </a:lnTo>
                  <a:lnTo>
                    <a:pt x="48" y="359"/>
                  </a:lnTo>
                  <a:lnTo>
                    <a:pt x="45" y="357"/>
                  </a:lnTo>
                  <a:lnTo>
                    <a:pt x="38" y="352"/>
                  </a:lnTo>
                  <a:lnTo>
                    <a:pt x="34" y="357"/>
                  </a:lnTo>
                  <a:lnTo>
                    <a:pt x="33" y="357"/>
                  </a:lnTo>
                  <a:lnTo>
                    <a:pt x="29" y="335"/>
                  </a:lnTo>
                  <a:lnTo>
                    <a:pt x="29" y="335"/>
                  </a:lnTo>
                  <a:lnTo>
                    <a:pt x="27" y="313"/>
                  </a:lnTo>
                  <a:lnTo>
                    <a:pt x="26" y="307"/>
                  </a:lnTo>
                  <a:lnTo>
                    <a:pt x="24" y="289"/>
                  </a:lnTo>
                  <a:lnTo>
                    <a:pt x="22" y="270"/>
                  </a:lnTo>
                  <a:lnTo>
                    <a:pt x="21" y="260"/>
                  </a:lnTo>
                  <a:lnTo>
                    <a:pt x="17" y="225"/>
                  </a:lnTo>
                  <a:lnTo>
                    <a:pt x="17" y="222"/>
                  </a:lnTo>
                  <a:lnTo>
                    <a:pt x="15" y="198"/>
                  </a:lnTo>
                  <a:lnTo>
                    <a:pt x="14" y="183"/>
                  </a:lnTo>
                  <a:lnTo>
                    <a:pt x="10" y="160"/>
                  </a:lnTo>
                  <a:lnTo>
                    <a:pt x="10" y="154"/>
                  </a:lnTo>
                  <a:lnTo>
                    <a:pt x="7" y="126"/>
                  </a:lnTo>
                  <a:lnTo>
                    <a:pt x="5" y="123"/>
                  </a:lnTo>
                  <a:lnTo>
                    <a:pt x="4" y="108"/>
                  </a:lnTo>
                  <a:lnTo>
                    <a:pt x="4" y="96"/>
                  </a:lnTo>
                  <a:lnTo>
                    <a:pt x="0" y="78"/>
                  </a:lnTo>
                  <a:lnTo>
                    <a:pt x="33" y="73"/>
                  </a:lnTo>
                  <a:lnTo>
                    <a:pt x="34" y="73"/>
                  </a:lnTo>
                  <a:lnTo>
                    <a:pt x="74" y="68"/>
                  </a:lnTo>
                  <a:lnTo>
                    <a:pt x="82" y="67"/>
                  </a:lnTo>
                  <a:lnTo>
                    <a:pt x="104" y="63"/>
                  </a:lnTo>
                  <a:lnTo>
                    <a:pt x="132" y="70"/>
                  </a:lnTo>
                  <a:lnTo>
                    <a:pt x="144" y="77"/>
                  </a:lnTo>
                  <a:lnTo>
                    <a:pt x="161" y="75"/>
                  </a:lnTo>
                  <a:lnTo>
                    <a:pt x="162" y="78"/>
                  </a:lnTo>
                  <a:lnTo>
                    <a:pt x="140" y="87"/>
                  </a:lnTo>
                  <a:lnTo>
                    <a:pt x="154" y="89"/>
                  </a:lnTo>
                  <a:lnTo>
                    <a:pt x="168" y="84"/>
                  </a:lnTo>
                  <a:lnTo>
                    <a:pt x="183" y="89"/>
                  </a:lnTo>
                  <a:lnTo>
                    <a:pt x="198" y="82"/>
                  </a:lnTo>
                  <a:lnTo>
                    <a:pt x="222" y="68"/>
                  </a:lnTo>
                  <a:lnTo>
                    <a:pt x="227" y="70"/>
                  </a:lnTo>
                  <a:lnTo>
                    <a:pt x="245" y="68"/>
                  </a:lnTo>
                  <a:lnTo>
                    <a:pt x="263" y="49"/>
                  </a:lnTo>
                  <a:lnTo>
                    <a:pt x="270" y="39"/>
                  </a:lnTo>
                  <a:lnTo>
                    <a:pt x="297" y="20"/>
                  </a:lnTo>
                  <a:lnTo>
                    <a:pt x="333" y="0"/>
                  </a:lnTo>
                  <a:lnTo>
                    <a:pt x="335" y="15"/>
                  </a:lnTo>
                  <a:lnTo>
                    <a:pt x="340" y="53"/>
                  </a:lnTo>
                  <a:lnTo>
                    <a:pt x="342" y="53"/>
                  </a:lnTo>
                  <a:lnTo>
                    <a:pt x="347" y="92"/>
                  </a:lnTo>
                  <a:lnTo>
                    <a:pt x="352" y="116"/>
                  </a:lnTo>
                  <a:lnTo>
                    <a:pt x="352" y="121"/>
                  </a:lnTo>
                  <a:lnTo>
                    <a:pt x="356" y="143"/>
                  </a:lnTo>
                  <a:lnTo>
                    <a:pt x="352" y="147"/>
                  </a:lnTo>
                  <a:lnTo>
                    <a:pt x="349" y="147"/>
                  </a:lnTo>
                  <a:lnTo>
                    <a:pt x="347" y="149"/>
                  </a:lnTo>
                  <a:lnTo>
                    <a:pt x="345" y="152"/>
                  </a:lnTo>
                  <a:lnTo>
                    <a:pt x="345" y="154"/>
                  </a:lnTo>
                  <a:lnTo>
                    <a:pt x="349" y="155"/>
                  </a:lnTo>
                  <a:lnTo>
                    <a:pt x="350" y="159"/>
                  </a:lnTo>
                  <a:lnTo>
                    <a:pt x="352" y="162"/>
                  </a:lnTo>
                  <a:lnTo>
                    <a:pt x="352" y="171"/>
                  </a:lnTo>
                  <a:lnTo>
                    <a:pt x="352" y="172"/>
                  </a:lnTo>
                  <a:lnTo>
                    <a:pt x="354" y="172"/>
                  </a:lnTo>
                  <a:lnTo>
                    <a:pt x="356" y="179"/>
                  </a:lnTo>
                  <a:lnTo>
                    <a:pt x="356" y="183"/>
                  </a:lnTo>
                  <a:lnTo>
                    <a:pt x="352" y="188"/>
                  </a:lnTo>
                  <a:lnTo>
                    <a:pt x="350" y="193"/>
                  </a:lnTo>
                  <a:lnTo>
                    <a:pt x="350" y="196"/>
                  </a:lnTo>
                  <a:lnTo>
                    <a:pt x="350" y="198"/>
                  </a:lnTo>
                  <a:lnTo>
                    <a:pt x="349" y="210"/>
                  </a:lnTo>
                  <a:lnTo>
                    <a:pt x="350" y="217"/>
                  </a:lnTo>
                  <a:lnTo>
                    <a:pt x="349" y="220"/>
                  </a:lnTo>
                  <a:lnTo>
                    <a:pt x="349" y="224"/>
                  </a:lnTo>
                  <a:lnTo>
                    <a:pt x="349" y="224"/>
                  </a:lnTo>
                  <a:lnTo>
                    <a:pt x="347" y="224"/>
                  </a:lnTo>
                  <a:lnTo>
                    <a:pt x="345" y="224"/>
                  </a:lnTo>
                  <a:lnTo>
                    <a:pt x="345" y="225"/>
                  </a:lnTo>
                  <a:lnTo>
                    <a:pt x="347" y="229"/>
                  </a:lnTo>
                  <a:lnTo>
                    <a:pt x="347" y="231"/>
                  </a:lnTo>
                  <a:lnTo>
                    <a:pt x="345" y="232"/>
                  </a:lnTo>
                  <a:lnTo>
                    <a:pt x="347" y="236"/>
                  </a:lnTo>
                  <a:lnTo>
                    <a:pt x="344" y="243"/>
                  </a:lnTo>
                  <a:lnTo>
                    <a:pt x="345" y="244"/>
                  </a:lnTo>
                  <a:lnTo>
                    <a:pt x="347" y="246"/>
                  </a:lnTo>
                  <a:lnTo>
                    <a:pt x="347" y="248"/>
                  </a:lnTo>
                  <a:lnTo>
                    <a:pt x="345" y="251"/>
                  </a:lnTo>
                  <a:lnTo>
                    <a:pt x="345" y="253"/>
                  </a:lnTo>
                  <a:lnTo>
                    <a:pt x="345" y="256"/>
                  </a:lnTo>
                  <a:lnTo>
                    <a:pt x="342" y="258"/>
                  </a:lnTo>
                  <a:lnTo>
                    <a:pt x="340" y="260"/>
                  </a:lnTo>
                  <a:lnTo>
                    <a:pt x="337" y="263"/>
                  </a:lnTo>
                  <a:lnTo>
                    <a:pt x="333" y="266"/>
                  </a:lnTo>
                  <a:lnTo>
                    <a:pt x="333" y="268"/>
                  </a:lnTo>
                  <a:lnTo>
                    <a:pt x="330" y="273"/>
                  </a:lnTo>
                  <a:lnTo>
                    <a:pt x="328" y="277"/>
                  </a:lnTo>
                  <a:lnTo>
                    <a:pt x="323" y="280"/>
                  </a:lnTo>
                  <a:lnTo>
                    <a:pt x="323" y="284"/>
                  </a:lnTo>
                  <a:lnTo>
                    <a:pt x="320" y="284"/>
                  </a:lnTo>
                  <a:lnTo>
                    <a:pt x="320" y="287"/>
                  </a:lnTo>
                  <a:lnTo>
                    <a:pt x="316" y="287"/>
                  </a:lnTo>
                  <a:lnTo>
                    <a:pt x="313" y="292"/>
                  </a:lnTo>
                  <a:lnTo>
                    <a:pt x="309" y="292"/>
                  </a:lnTo>
                  <a:lnTo>
                    <a:pt x="304" y="287"/>
                  </a:lnTo>
                  <a:lnTo>
                    <a:pt x="303" y="287"/>
                  </a:lnTo>
                  <a:lnTo>
                    <a:pt x="301" y="287"/>
                  </a:lnTo>
                  <a:lnTo>
                    <a:pt x="296" y="294"/>
                  </a:lnTo>
                  <a:lnTo>
                    <a:pt x="294" y="295"/>
                  </a:lnTo>
                  <a:lnTo>
                    <a:pt x="294" y="304"/>
                  </a:lnTo>
                  <a:lnTo>
                    <a:pt x="287" y="304"/>
                  </a:lnTo>
                  <a:lnTo>
                    <a:pt x="286" y="306"/>
                  </a:lnTo>
                  <a:lnTo>
                    <a:pt x="286" y="309"/>
                  </a:lnTo>
                  <a:lnTo>
                    <a:pt x="284" y="311"/>
                  </a:lnTo>
                  <a:lnTo>
                    <a:pt x="280" y="316"/>
                  </a:lnTo>
                  <a:lnTo>
                    <a:pt x="282" y="321"/>
                  </a:lnTo>
                  <a:lnTo>
                    <a:pt x="282" y="325"/>
                  </a:lnTo>
                  <a:lnTo>
                    <a:pt x="280" y="326"/>
                  </a:lnTo>
                  <a:lnTo>
                    <a:pt x="277" y="326"/>
                  </a:lnTo>
                  <a:lnTo>
                    <a:pt x="277" y="328"/>
                  </a:lnTo>
                  <a:lnTo>
                    <a:pt x="279" y="330"/>
                  </a:lnTo>
                  <a:lnTo>
                    <a:pt x="282" y="333"/>
                  </a:lnTo>
                  <a:lnTo>
                    <a:pt x="282" y="338"/>
                  </a:lnTo>
                  <a:lnTo>
                    <a:pt x="284" y="342"/>
                  </a:lnTo>
                  <a:lnTo>
                    <a:pt x="282" y="343"/>
                  </a:lnTo>
                  <a:lnTo>
                    <a:pt x="279" y="340"/>
                  </a:lnTo>
                  <a:lnTo>
                    <a:pt x="279" y="342"/>
                  </a:lnTo>
                  <a:lnTo>
                    <a:pt x="277" y="348"/>
                  </a:lnTo>
                  <a:lnTo>
                    <a:pt x="275" y="350"/>
                  </a:lnTo>
                  <a:lnTo>
                    <a:pt x="274" y="348"/>
                  </a:lnTo>
                  <a:lnTo>
                    <a:pt x="272" y="348"/>
                  </a:lnTo>
                  <a:lnTo>
                    <a:pt x="274" y="343"/>
                  </a:lnTo>
                  <a:lnTo>
                    <a:pt x="270" y="338"/>
                  </a:lnTo>
                  <a:lnTo>
                    <a:pt x="268" y="338"/>
                  </a:lnTo>
                  <a:lnTo>
                    <a:pt x="267" y="338"/>
                  </a:lnTo>
                  <a:lnTo>
                    <a:pt x="263" y="335"/>
                  </a:lnTo>
                  <a:lnTo>
                    <a:pt x="260" y="337"/>
                  </a:lnTo>
                  <a:lnTo>
                    <a:pt x="260" y="340"/>
                  </a:lnTo>
                  <a:lnTo>
                    <a:pt x="258" y="340"/>
                  </a:lnTo>
                  <a:lnTo>
                    <a:pt x="256" y="343"/>
                  </a:lnTo>
                  <a:lnTo>
                    <a:pt x="255" y="350"/>
                  </a:lnTo>
                  <a:lnTo>
                    <a:pt x="255" y="357"/>
                  </a:lnTo>
                  <a:lnTo>
                    <a:pt x="251" y="360"/>
                  </a:lnTo>
                  <a:lnTo>
                    <a:pt x="250" y="364"/>
                  </a:lnTo>
                  <a:lnTo>
                    <a:pt x="253" y="371"/>
                  </a:lnTo>
                  <a:lnTo>
                    <a:pt x="253" y="374"/>
                  </a:lnTo>
                  <a:lnTo>
                    <a:pt x="255" y="379"/>
                  </a:lnTo>
                  <a:lnTo>
                    <a:pt x="255" y="383"/>
                  </a:lnTo>
                  <a:lnTo>
                    <a:pt x="253" y="384"/>
                  </a:lnTo>
                  <a:lnTo>
                    <a:pt x="248" y="384"/>
                  </a:lnTo>
                  <a:lnTo>
                    <a:pt x="246" y="386"/>
                  </a:lnTo>
                  <a:lnTo>
                    <a:pt x="246" y="398"/>
                  </a:lnTo>
                  <a:lnTo>
                    <a:pt x="246" y="401"/>
                  </a:lnTo>
                  <a:lnTo>
                    <a:pt x="241" y="403"/>
                  </a:lnTo>
                  <a:lnTo>
                    <a:pt x="239" y="403"/>
                  </a:lnTo>
                  <a:lnTo>
                    <a:pt x="233" y="407"/>
                  </a:lnTo>
                  <a:lnTo>
                    <a:pt x="229" y="408"/>
                  </a:lnTo>
                  <a:lnTo>
                    <a:pt x="226" y="408"/>
                  </a:lnTo>
                  <a:lnTo>
                    <a:pt x="226" y="407"/>
                  </a:lnTo>
                  <a:lnTo>
                    <a:pt x="222" y="401"/>
                  </a:lnTo>
                  <a:lnTo>
                    <a:pt x="217" y="398"/>
                  </a:lnTo>
                  <a:lnTo>
                    <a:pt x="214" y="395"/>
                  </a:lnTo>
                  <a:lnTo>
                    <a:pt x="210" y="395"/>
                  </a:lnTo>
                  <a:lnTo>
                    <a:pt x="205" y="395"/>
                  </a:lnTo>
                  <a:lnTo>
                    <a:pt x="203" y="393"/>
                  </a:lnTo>
                  <a:lnTo>
                    <a:pt x="200" y="389"/>
                  </a:lnTo>
                  <a:lnTo>
                    <a:pt x="198" y="384"/>
                  </a:lnTo>
                  <a:lnTo>
                    <a:pt x="197" y="381"/>
                  </a:lnTo>
                  <a:lnTo>
                    <a:pt x="197" y="378"/>
                  </a:lnTo>
                  <a:lnTo>
                    <a:pt x="195" y="376"/>
                  </a:lnTo>
                  <a:lnTo>
                    <a:pt x="192" y="376"/>
                  </a:lnTo>
                  <a:lnTo>
                    <a:pt x="188" y="379"/>
                  </a:lnTo>
                  <a:lnTo>
                    <a:pt x="185" y="379"/>
                  </a:lnTo>
                  <a:lnTo>
                    <a:pt x="181" y="383"/>
                  </a:lnTo>
                  <a:lnTo>
                    <a:pt x="178" y="386"/>
                  </a:lnTo>
                  <a:lnTo>
                    <a:pt x="176" y="391"/>
                  </a:lnTo>
                  <a:lnTo>
                    <a:pt x="173" y="393"/>
                  </a:lnTo>
                  <a:lnTo>
                    <a:pt x="168" y="391"/>
                  </a:lnTo>
                  <a:lnTo>
                    <a:pt x="166" y="395"/>
                  </a:lnTo>
                  <a:close/>
                </a:path>
              </a:pathLst>
            </a:custGeom>
            <a:grpFill/>
            <a:ln w="28575">
              <a:solidFill>
                <a:sysClr val="window" lastClr="FFFFFF"/>
              </a:solidFill>
              <a:round/>
              <a:headEnd/>
              <a:tailEnd/>
            </a:ln>
          </p:spPr>
          <p:txBody>
            <a:bodyPr vert="horz" wrap="square" lIns="44450" tIns="44450" rIns="44450" bIns="44450" numCol="1" anchor="t" anchorCtr="0" compatLnSpc="1">
              <a:prstTxWarp prst="textNoShape">
                <a:avLst/>
              </a:prstTxWarp>
            </a:bodyPr>
            <a:lstStyle/>
            <a:p>
              <a:pPr>
                <a:defRPr/>
              </a:pPr>
              <a:endParaRPr lang="en-US" kern="0" dirty="0">
                <a:solidFill>
                  <a:srgbClr val="53565A"/>
                </a:solidFill>
                <a:latin typeface="Calibri" panose="020F0502020204030204"/>
              </a:endParaRPr>
            </a:p>
          </p:txBody>
        </p:sp>
        <p:sp>
          <p:nvSpPr>
            <p:cNvPr id="153" name="Freeform 152"/>
            <p:cNvSpPr>
              <a:spLocks/>
            </p:cNvSpPr>
            <p:nvPr/>
          </p:nvSpPr>
          <p:spPr bwMode="gray">
            <a:xfrm>
              <a:off x="5852759" y="3110443"/>
              <a:ext cx="545879" cy="964547"/>
            </a:xfrm>
            <a:custGeom>
              <a:avLst/>
              <a:gdLst/>
              <a:ahLst/>
              <a:cxnLst>
                <a:cxn ang="0">
                  <a:pos x="270" y="552"/>
                </a:cxn>
                <a:cxn ang="0">
                  <a:pos x="274" y="586"/>
                </a:cxn>
                <a:cxn ang="0">
                  <a:pos x="250" y="581"/>
                </a:cxn>
                <a:cxn ang="0">
                  <a:pos x="219" y="586"/>
                </a:cxn>
                <a:cxn ang="0">
                  <a:pos x="212" y="599"/>
                </a:cxn>
                <a:cxn ang="0">
                  <a:pos x="202" y="593"/>
                </a:cxn>
                <a:cxn ang="0">
                  <a:pos x="197" y="589"/>
                </a:cxn>
                <a:cxn ang="0">
                  <a:pos x="183" y="570"/>
                </a:cxn>
                <a:cxn ang="0">
                  <a:pos x="188" y="552"/>
                </a:cxn>
                <a:cxn ang="0">
                  <a:pos x="180" y="526"/>
                </a:cxn>
                <a:cxn ang="0">
                  <a:pos x="151" y="505"/>
                </a:cxn>
                <a:cxn ang="0">
                  <a:pos x="142" y="499"/>
                </a:cxn>
                <a:cxn ang="0">
                  <a:pos x="115" y="483"/>
                </a:cxn>
                <a:cxn ang="0">
                  <a:pos x="106" y="456"/>
                </a:cxn>
                <a:cxn ang="0">
                  <a:pos x="118" y="425"/>
                </a:cxn>
                <a:cxn ang="0">
                  <a:pos x="123" y="406"/>
                </a:cxn>
                <a:cxn ang="0">
                  <a:pos x="93" y="394"/>
                </a:cxn>
                <a:cxn ang="0">
                  <a:pos x="72" y="384"/>
                </a:cxn>
                <a:cxn ang="0">
                  <a:pos x="65" y="360"/>
                </a:cxn>
                <a:cxn ang="0">
                  <a:pos x="33" y="333"/>
                </a:cxn>
                <a:cxn ang="0">
                  <a:pos x="7" y="300"/>
                </a:cxn>
                <a:cxn ang="0">
                  <a:pos x="0" y="280"/>
                </a:cxn>
                <a:cxn ang="0">
                  <a:pos x="7" y="244"/>
                </a:cxn>
                <a:cxn ang="0">
                  <a:pos x="6" y="227"/>
                </a:cxn>
                <a:cxn ang="0">
                  <a:pos x="28" y="212"/>
                </a:cxn>
                <a:cxn ang="0">
                  <a:pos x="40" y="183"/>
                </a:cxn>
                <a:cxn ang="0">
                  <a:pos x="28" y="152"/>
                </a:cxn>
                <a:cxn ang="0">
                  <a:pos x="38" y="131"/>
                </a:cxn>
                <a:cxn ang="0">
                  <a:pos x="70" y="118"/>
                </a:cxn>
                <a:cxn ang="0">
                  <a:pos x="86" y="104"/>
                </a:cxn>
                <a:cxn ang="0">
                  <a:pos x="100" y="66"/>
                </a:cxn>
                <a:cxn ang="0">
                  <a:pos x="91" y="48"/>
                </a:cxn>
                <a:cxn ang="0">
                  <a:pos x="74" y="27"/>
                </a:cxn>
                <a:cxn ang="0">
                  <a:pos x="57" y="13"/>
                </a:cxn>
                <a:cxn ang="0">
                  <a:pos x="190" y="6"/>
                </a:cxn>
                <a:cxn ang="0">
                  <a:pos x="279" y="18"/>
                </a:cxn>
                <a:cxn ang="0">
                  <a:pos x="313" y="124"/>
                </a:cxn>
                <a:cxn ang="0">
                  <a:pos x="323" y="247"/>
                </a:cxn>
                <a:cxn ang="0">
                  <a:pos x="323" y="340"/>
                </a:cxn>
                <a:cxn ang="0">
                  <a:pos x="327" y="352"/>
                </a:cxn>
                <a:cxn ang="0">
                  <a:pos x="325" y="362"/>
                </a:cxn>
                <a:cxn ang="0">
                  <a:pos x="334" y="374"/>
                </a:cxn>
                <a:cxn ang="0">
                  <a:pos x="339" y="394"/>
                </a:cxn>
                <a:cxn ang="0">
                  <a:pos x="330" y="412"/>
                </a:cxn>
                <a:cxn ang="0">
                  <a:pos x="329" y="425"/>
                </a:cxn>
                <a:cxn ang="0">
                  <a:pos x="323" y="434"/>
                </a:cxn>
                <a:cxn ang="0">
                  <a:pos x="313" y="447"/>
                </a:cxn>
                <a:cxn ang="0">
                  <a:pos x="305" y="458"/>
                </a:cxn>
                <a:cxn ang="0">
                  <a:pos x="306" y="470"/>
                </a:cxn>
                <a:cxn ang="0">
                  <a:pos x="301" y="478"/>
                </a:cxn>
                <a:cxn ang="0">
                  <a:pos x="303" y="490"/>
                </a:cxn>
                <a:cxn ang="0">
                  <a:pos x="303" y="495"/>
                </a:cxn>
                <a:cxn ang="0">
                  <a:pos x="300" y="502"/>
                </a:cxn>
                <a:cxn ang="0">
                  <a:pos x="294" y="524"/>
                </a:cxn>
              </a:cxnLst>
              <a:rect l="0" t="0" r="r" b="b"/>
              <a:pathLst>
                <a:path w="339" h="599">
                  <a:moveTo>
                    <a:pt x="303" y="536"/>
                  </a:moveTo>
                  <a:lnTo>
                    <a:pt x="303" y="540"/>
                  </a:lnTo>
                  <a:lnTo>
                    <a:pt x="284" y="545"/>
                  </a:lnTo>
                  <a:lnTo>
                    <a:pt x="281" y="550"/>
                  </a:lnTo>
                  <a:lnTo>
                    <a:pt x="276" y="548"/>
                  </a:lnTo>
                  <a:lnTo>
                    <a:pt x="270" y="552"/>
                  </a:lnTo>
                  <a:lnTo>
                    <a:pt x="269" y="562"/>
                  </a:lnTo>
                  <a:lnTo>
                    <a:pt x="269" y="567"/>
                  </a:lnTo>
                  <a:lnTo>
                    <a:pt x="274" y="572"/>
                  </a:lnTo>
                  <a:lnTo>
                    <a:pt x="277" y="577"/>
                  </a:lnTo>
                  <a:lnTo>
                    <a:pt x="276" y="584"/>
                  </a:lnTo>
                  <a:lnTo>
                    <a:pt x="274" y="586"/>
                  </a:lnTo>
                  <a:lnTo>
                    <a:pt x="272" y="588"/>
                  </a:lnTo>
                  <a:lnTo>
                    <a:pt x="270" y="588"/>
                  </a:lnTo>
                  <a:lnTo>
                    <a:pt x="265" y="588"/>
                  </a:lnTo>
                  <a:lnTo>
                    <a:pt x="262" y="584"/>
                  </a:lnTo>
                  <a:lnTo>
                    <a:pt x="255" y="581"/>
                  </a:lnTo>
                  <a:lnTo>
                    <a:pt x="250" y="581"/>
                  </a:lnTo>
                  <a:lnTo>
                    <a:pt x="250" y="579"/>
                  </a:lnTo>
                  <a:lnTo>
                    <a:pt x="240" y="576"/>
                  </a:lnTo>
                  <a:lnTo>
                    <a:pt x="233" y="574"/>
                  </a:lnTo>
                  <a:lnTo>
                    <a:pt x="228" y="574"/>
                  </a:lnTo>
                  <a:lnTo>
                    <a:pt x="223" y="577"/>
                  </a:lnTo>
                  <a:lnTo>
                    <a:pt x="219" y="586"/>
                  </a:lnTo>
                  <a:lnTo>
                    <a:pt x="216" y="589"/>
                  </a:lnTo>
                  <a:lnTo>
                    <a:pt x="214" y="591"/>
                  </a:lnTo>
                  <a:lnTo>
                    <a:pt x="214" y="596"/>
                  </a:lnTo>
                  <a:lnTo>
                    <a:pt x="217" y="599"/>
                  </a:lnTo>
                  <a:lnTo>
                    <a:pt x="219" y="599"/>
                  </a:lnTo>
                  <a:lnTo>
                    <a:pt x="212" y="599"/>
                  </a:lnTo>
                  <a:lnTo>
                    <a:pt x="211" y="596"/>
                  </a:lnTo>
                  <a:lnTo>
                    <a:pt x="209" y="594"/>
                  </a:lnTo>
                  <a:lnTo>
                    <a:pt x="206" y="589"/>
                  </a:lnTo>
                  <a:lnTo>
                    <a:pt x="204" y="589"/>
                  </a:lnTo>
                  <a:lnTo>
                    <a:pt x="204" y="591"/>
                  </a:lnTo>
                  <a:lnTo>
                    <a:pt x="202" y="593"/>
                  </a:lnTo>
                  <a:lnTo>
                    <a:pt x="207" y="596"/>
                  </a:lnTo>
                  <a:lnTo>
                    <a:pt x="207" y="598"/>
                  </a:lnTo>
                  <a:lnTo>
                    <a:pt x="206" y="599"/>
                  </a:lnTo>
                  <a:lnTo>
                    <a:pt x="204" y="598"/>
                  </a:lnTo>
                  <a:lnTo>
                    <a:pt x="197" y="594"/>
                  </a:lnTo>
                  <a:lnTo>
                    <a:pt x="197" y="589"/>
                  </a:lnTo>
                  <a:lnTo>
                    <a:pt x="192" y="586"/>
                  </a:lnTo>
                  <a:lnTo>
                    <a:pt x="190" y="582"/>
                  </a:lnTo>
                  <a:lnTo>
                    <a:pt x="188" y="576"/>
                  </a:lnTo>
                  <a:lnTo>
                    <a:pt x="188" y="574"/>
                  </a:lnTo>
                  <a:lnTo>
                    <a:pt x="187" y="572"/>
                  </a:lnTo>
                  <a:lnTo>
                    <a:pt x="183" y="570"/>
                  </a:lnTo>
                  <a:lnTo>
                    <a:pt x="183" y="567"/>
                  </a:lnTo>
                  <a:lnTo>
                    <a:pt x="185" y="565"/>
                  </a:lnTo>
                  <a:lnTo>
                    <a:pt x="187" y="564"/>
                  </a:lnTo>
                  <a:lnTo>
                    <a:pt x="190" y="562"/>
                  </a:lnTo>
                  <a:lnTo>
                    <a:pt x="190" y="555"/>
                  </a:lnTo>
                  <a:lnTo>
                    <a:pt x="188" y="552"/>
                  </a:lnTo>
                  <a:lnTo>
                    <a:pt x="183" y="548"/>
                  </a:lnTo>
                  <a:lnTo>
                    <a:pt x="180" y="540"/>
                  </a:lnTo>
                  <a:lnTo>
                    <a:pt x="182" y="535"/>
                  </a:lnTo>
                  <a:lnTo>
                    <a:pt x="180" y="531"/>
                  </a:lnTo>
                  <a:lnTo>
                    <a:pt x="182" y="528"/>
                  </a:lnTo>
                  <a:lnTo>
                    <a:pt x="180" y="526"/>
                  </a:lnTo>
                  <a:lnTo>
                    <a:pt x="175" y="524"/>
                  </a:lnTo>
                  <a:lnTo>
                    <a:pt x="168" y="521"/>
                  </a:lnTo>
                  <a:lnTo>
                    <a:pt x="166" y="517"/>
                  </a:lnTo>
                  <a:lnTo>
                    <a:pt x="164" y="516"/>
                  </a:lnTo>
                  <a:lnTo>
                    <a:pt x="161" y="511"/>
                  </a:lnTo>
                  <a:lnTo>
                    <a:pt x="151" y="505"/>
                  </a:lnTo>
                  <a:lnTo>
                    <a:pt x="151" y="505"/>
                  </a:lnTo>
                  <a:lnTo>
                    <a:pt x="149" y="507"/>
                  </a:lnTo>
                  <a:lnTo>
                    <a:pt x="147" y="509"/>
                  </a:lnTo>
                  <a:lnTo>
                    <a:pt x="144" y="509"/>
                  </a:lnTo>
                  <a:lnTo>
                    <a:pt x="141" y="505"/>
                  </a:lnTo>
                  <a:lnTo>
                    <a:pt x="142" y="499"/>
                  </a:lnTo>
                  <a:lnTo>
                    <a:pt x="137" y="499"/>
                  </a:lnTo>
                  <a:lnTo>
                    <a:pt x="134" y="497"/>
                  </a:lnTo>
                  <a:lnTo>
                    <a:pt x="127" y="494"/>
                  </a:lnTo>
                  <a:lnTo>
                    <a:pt x="127" y="490"/>
                  </a:lnTo>
                  <a:lnTo>
                    <a:pt x="120" y="487"/>
                  </a:lnTo>
                  <a:lnTo>
                    <a:pt x="115" y="483"/>
                  </a:lnTo>
                  <a:lnTo>
                    <a:pt x="113" y="480"/>
                  </a:lnTo>
                  <a:lnTo>
                    <a:pt x="108" y="476"/>
                  </a:lnTo>
                  <a:lnTo>
                    <a:pt x="106" y="471"/>
                  </a:lnTo>
                  <a:lnTo>
                    <a:pt x="105" y="463"/>
                  </a:lnTo>
                  <a:lnTo>
                    <a:pt x="105" y="458"/>
                  </a:lnTo>
                  <a:lnTo>
                    <a:pt x="106" y="456"/>
                  </a:lnTo>
                  <a:lnTo>
                    <a:pt x="110" y="451"/>
                  </a:lnTo>
                  <a:lnTo>
                    <a:pt x="112" y="441"/>
                  </a:lnTo>
                  <a:lnTo>
                    <a:pt x="113" y="439"/>
                  </a:lnTo>
                  <a:lnTo>
                    <a:pt x="113" y="435"/>
                  </a:lnTo>
                  <a:lnTo>
                    <a:pt x="118" y="430"/>
                  </a:lnTo>
                  <a:lnTo>
                    <a:pt x="118" y="425"/>
                  </a:lnTo>
                  <a:lnTo>
                    <a:pt x="117" y="422"/>
                  </a:lnTo>
                  <a:lnTo>
                    <a:pt x="117" y="418"/>
                  </a:lnTo>
                  <a:lnTo>
                    <a:pt x="118" y="413"/>
                  </a:lnTo>
                  <a:lnTo>
                    <a:pt x="122" y="412"/>
                  </a:lnTo>
                  <a:lnTo>
                    <a:pt x="122" y="410"/>
                  </a:lnTo>
                  <a:lnTo>
                    <a:pt x="123" y="406"/>
                  </a:lnTo>
                  <a:lnTo>
                    <a:pt x="122" y="405"/>
                  </a:lnTo>
                  <a:lnTo>
                    <a:pt x="112" y="398"/>
                  </a:lnTo>
                  <a:lnTo>
                    <a:pt x="108" y="398"/>
                  </a:lnTo>
                  <a:lnTo>
                    <a:pt x="105" y="398"/>
                  </a:lnTo>
                  <a:lnTo>
                    <a:pt x="98" y="394"/>
                  </a:lnTo>
                  <a:lnTo>
                    <a:pt x="93" y="394"/>
                  </a:lnTo>
                  <a:lnTo>
                    <a:pt x="88" y="401"/>
                  </a:lnTo>
                  <a:lnTo>
                    <a:pt x="84" y="405"/>
                  </a:lnTo>
                  <a:lnTo>
                    <a:pt x="81" y="403"/>
                  </a:lnTo>
                  <a:lnTo>
                    <a:pt x="76" y="398"/>
                  </a:lnTo>
                  <a:lnTo>
                    <a:pt x="72" y="388"/>
                  </a:lnTo>
                  <a:lnTo>
                    <a:pt x="72" y="384"/>
                  </a:lnTo>
                  <a:lnTo>
                    <a:pt x="74" y="381"/>
                  </a:lnTo>
                  <a:lnTo>
                    <a:pt x="70" y="376"/>
                  </a:lnTo>
                  <a:lnTo>
                    <a:pt x="70" y="370"/>
                  </a:lnTo>
                  <a:lnTo>
                    <a:pt x="69" y="367"/>
                  </a:lnTo>
                  <a:lnTo>
                    <a:pt x="69" y="365"/>
                  </a:lnTo>
                  <a:lnTo>
                    <a:pt x="65" y="360"/>
                  </a:lnTo>
                  <a:lnTo>
                    <a:pt x="59" y="353"/>
                  </a:lnTo>
                  <a:lnTo>
                    <a:pt x="50" y="348"/>
                  </a:lnTo>
                  <a:lnTo>
                    <a:pt x="43" y="345"/>
                  </a:lnTo>
                  <a:lnTo>
                    <a:pt x="40" y="341"/>
                  </a:lnTo>
                  <a:lnTo>
                    <a:pt x="38" y="336"/>
                  </a:lnTo>
                  <a:lnTo>
                    <a:pt x="33" y="333"/>
                  </a:lnTo>
                  <a:lnTo>
                    <a:pt x="28" y="328"/>
                  </a:lnTo>
                  <a:lnTo>
                    <a:pt x="19" y="319"/>
                  </a:lnTo>
                  <a:lnTo>
                    <a:pt x="14" y="316"/>
                  </a:lnTo>
                  <a:lnTo>
                    <a:pt x="14" y="312"/>
                  </a:lnTo>
                  <a:lnTo>
                    <a:pt x="12" y="307"/>
                  </a:lnTo>
                  <a:lnTo>
                    <a:pt x="7" y="300"/>
                  </a:lnTo>
                  <a:lnTo>
                    <a:pt x="7" y="299"/>
                  </a:lnTo>
                  <a:lnTo>
                    <a:pt x="7" y="297"/>
                  </a:lnTo>
                  <a:lnTo>
                    <a:pt x="7" y="295"/>
                  </a:lnTo>
                  <a:lnTo>
                    <a:pt x="7" y="292"/>
                  </a:lnTo>
                  <a:lnTo>
                    <a:pt x="2" y="287"/>
                  </a:lnTo>
                  <a:lnTo>
                    <a:pt x="0" y="280"/>
                  </a:lnTo>
                  <a:lnTo>
                    <a:pt x="0" y="271"/>
                  </a:lnTo>
                  <a:lnTo>
                    <a:pt x="0" y="265"/>
                  </a:lnTo>
                  <a:lnTo>
                    <a:pt x="0" y="259"/>
                  </a:lnTo>
                  <a:lnTo>
                    <a:pt x="2" y="253"/>
                  </a:lnTo>
                  <a:lnTo>
                    <a:pt x="4" y="246"/>
                  </a:lnTo>
                  <a:lnTo>
                    <a:pt x="7" y="244"/>
                  </a:lnTo>
                  <a:lnTo>
                    <a:pt x="9" y="244"/>
                  </a:lnTo>
                  <a:lnTo>
                    <a:pt x="11" y="242"/>
                  </a:lnTo>
                  <a:lnTo>
                    <a:pt x="9" y="237"/>
                  </a:lnTo>
                  <a:lnTo>
                    <a:pt x="9" y="232"/>
                  </a:lnTo>
                  <a:lnTo>
                    <a:pt x="9" y="229"/>
                  </a:lnTo>
                  <a:lnTo>
                    <a:pt x="6" y="227"/>
                  </a:lnTo>
                  <a:lnTo>
                    <a:pt x="6" y="225"/>
                  </a:lnTo>
                  <a:lnTo>
                    <a:pt x="9" y="222"/>
                  </a:lnTo>
                  <a:lnTo>
                    <a:pt x="18" y="217"/>
                  </a:lnTo>
                  <a:lnTo>
                    <a:pt x="21" y="217"/>
                  </a:lnTo>
                  <a:lnTo>
                    <a:pt x="26" y="215"/>
                  </a:lnTo>
                  <a:lnTo>
                    <a:pt x="28" y="212"/>
                  </a:lnTo>
                  <a:lnTo>
                    <a:pt x="29" y="210"/>
                  </a:lnTo>
                  <a:lnTo>
                    <a:pt x="31" y="203"/>
                  </a:lnTo>
                  <a:lnTo>
                    <a:pt x="31" y="194"/>
                  </a:lnTo>
                  <a:lnTo>
                    <a:pt x="33" y="189"/>
                  </a:lnTo>
                  <a:lnTo>
                    <a:pt x="38" y="184"/>
                  </a:lnTo>
                  <a:lnTo>
                    <a:pt x="40" y="183"/>
                  </a:lnTo>
                  <a:lnTo>
                    <a:pt x="40" y="169"/>
                  </a:lnTo>
                  <a:lnTo>
                    <a:pt x="40" y="165"/>
                  </a:lnTo>
                  <a:lnTo>
                    <a:pt x="36" y="160"/>
                  </a:lnTo>
                  <a:lnTo>
                    <a:pt x="35" y="159"/>
                  </a:lnTo>
                  <a:lnTo>
                    <a:pt x="31" y="159"/>
                  </a:lnTo>
                  <a:lnTo>
                    <a:pt x="28" y="152"/>
                  </a:lnTo>
                  <a:lnTo>
                    <a:pt x="28" y="148"/>
                  </a:lnTo>
                  <a:lnTo>
                    <a:pt x="29" y="141"/>
                  </a:lnTo>
                  <a:lnTo>
                    <a:pt x="29" y="133"/>
                  </a:lnTo>
                  <a:lnTo>
                    <a:pt x="33" y="131"/>
                  </a:lnTo>
                  <a:lnTo>
                    <a:pt x="35" y="130"/>
                  </a:lnTo>
                  <a:lnTo>
                    <a:pt x="38" y="131"/>
                  </a:lnTo>
                  <a:lnTo>
                    <a:pt x="47" y="128"/>
                  </a:lnTo>
                  <a:lnTo>
                    <a:pt x="52" y="128"/>
                  </a:lnTo>
                  <a:lnTo>
                    <a:pt x="59" y="126"/>
                  </a:lnTo>
                  <a:lnTo>
                    <a:pt x="62" y="126"/>
                  </a:lnTo>
                  <a:lnTo>
                    <a:pt x="65" y="119"/>
                  </a:lnTo>
                  <a:lnTo>
                    <a:pt x="70" y="118"/>
                  </a:lnTo>
                  <a:lnTo>
                    <a:pt x="77" y="118"/>
                  </a:lnTo>
                  <a:lnTo>
                    <a:pt x="79" y="116"/>
                  </a:lnTo>
                  <a:lnTo>
                    <a:pt x="79" y="112"/>
                  </a:lnTo>
                  <a:lnTo>
                    <a:pt x="86" y="111"/>
                  </a:lnTo>
                  <a:lnTo>
                    <a:pt x="86" y="109"/>
                  </a:lnTo>
                  <a:lnTo>
                    <a:pt x="86" y="104"/>
                  </a:lnTo>
                  <a:lnTo>
                    <a:pt x="86" y="95"/>
                  </a:lnTo>
                  <a:lnTo>
                    <a:pt x="88" y="92"/>
                  </a:lnTo>
                  <a:lnTo>
                    <a:pt x="91" y="89"/>
                  </a:lnTo>
                  <a:lnTo>
                    <a:pt x="96" y="87"/>
                  </a:lnTo>
                  <a:lnTo>
                    <a:pt x="100" y="73"/>
                  </a:lnTo>
                  <a:lnTo>
                    <a:pt x="100" y="66"/>
                  </a:lnTo>
                  <a:lnTo>
                    <a:pt x="98" y="61"/>
                  </a:lnTo>
                  <a:lnTo>
                    <a:pt x="96" y="59"/>
                  </a:lnTo>
                  <a:lnTo>
                    <a:pt x="96" y="54"/>
                  </a:lnTo>
                  <a:lnTo>
                    <a:pt x="96" y="53"/>
                  </a:lnTo>
                  <a:lnTo>
                    <a:pt x="94" y="53"/>
                  </a:lnTo>
                  <a:lnTo>
                    <a:pt x="91" y="48"/>
                  </a:lnTo>
                  <a:lnTo>
                    <a:pt x="84" y="44"/>
                  </a:lnTo>
                  <a:lnTo>
                    <a:pt x="81" y="44"/>
                  </a:lnTo>
                  <a:lnTo>
                    <a:pt x="77" y="41"/>
                  </a:lnTo>
                  <a:lnTo>
                    <a:pt x="76" y="37"/>
                  </a:lnTo>
                  <a:lnTo>
                    <a:pt x="74" y="30"/>
                  </a:lnTo>
                  <a:lnTo>
                    <a:pt x="74" y="27"/>
                  </a:lnTo>
                  <a:lnTo>
                    <a:pt x="69" y="25"/>
                  </a:lnTo>
                  <a:lnTo>
                    <a:pt x="64" y="22"/>
                  </a:lnTo>
                  <a:lnTo>
                    <a:pt x="60" y="18"/>
                  </a:lnTo>
                  <a:lnTo>
                    <a:pt x="57" y="17"/>
                  </a:lnTo>
                  <a:lnTo>
                    <a:pt x="55" y="15"/>
                  </a:lnTo>
                  <a:lnTo>
                    <a:pt x="57" y="13"/>
                  </a:lnTo>
                  <a:lnTo>
                    <a:pt x="74" y="12"/>
                  </a:lnTo>
                  <a:lnTo>
                    <a:pt x="113" y="10"/>
                  </a:lnTo>
                  <a:lnTo>
                    <a:pt x="120" y="10"/>
                  </a:lnTo>
                  <a:lnTo>
                    <a:pt x="154" y="8"/>
                  </a:lnTo>
                  <a:lnTo>
                    <a:pt x="158" y="8"/>
                  </a:lnTo>
                  <a:lnTo>
                    <a:pt x="190" y="6"/>
                  </a:lnTo>
                  <a:lnTo>
                    <a:pt x="204" y="5"/>
                  </a:lnTo>
                  <a:lnTo>
                    <a:pt x="209" y="5"/>
                  </a:lnTo>
                  <a:lnTo>
                    <a:pt x="241" y="1"/>
                  </a:lnTo>
                  <a:lnTo>
                    <a:pt x="248" y="1"/>
                  </a:lnTo>
                  <a:lnTo>
                    <a:pt x="281" y="0"/>
                  </a:lnTo>
                  <a:lnTo>
                    <a:pt x="279" y="18"/>
                  </a:lnTo>
                  <a:lnTo>
                    <a:pt x="286" y="34"/>
                  </a:lnTo>
                  <a:lnTo>
                    <a:pt x="294" y="44"/>
                  </a:lnTo>
                  <a:lnTo>
                    <a:pt x="301" y="66"/>
                  </a:lnTo>
                  <a:lnTo>
                    <a:pt x="308" y="80"/>
                  </a:lnTo>
                  <a:lnTo>
                    <a:pt x="311" y="107"/>
                  </a:lnTo>
                  <a:lnTo>
                    <a:pt x="313" y="124"/>
                  </a:lnTo>
                  <a:lnTo>
                    <a:pt x="313" y="138"/>
                  </a:lnTo>
                  <a:lnTo>
                    <a:pt x="315" y="155"/>
                  </a:lnTo>
                  <a:lnTo>
                    <a:pt x="318" y="184"/>
                  </a:lnTo>
                  <a:lnTo>
                    <a:pt x="320" y="212"/>
                  </a:lnTo>
                  <a:lnTo>
                    <a:pt x="320" y="213"/>
                  </a:lnTo>
                  <a:lnTo>
                    <a:pt x="323" y="247"/>
                  </a:lnTo>
                  <a:lnTo>
                    <a:pt x="325" y="276"/>
                  </a:lnTo>
                  <a:lnTo>
                    <a:pt x="329" y="307"/>
                  </a:lnTo>
                  <a:lnTo>
                    <a:pt x="330" y="321"/>
                  </a:lnTo>
                  <a:lnTo>
                    <a:pt x="330" y="335"/>
                  </a:lnTo>
                  <a:lnTo>
                    <a:pt x="325" y="336"/>
                  </a:lnTo>
                  <a:lnTo>
                    <a:pt x="323" y="340"/>
                  </a:lnTo>
                  <a:lnTo>
                    <a:pt x="325" y="341"/>
                  </a:lnTo>
                  <a:lnTo>
                    <a:pt x="325" y="343"/>
                  </a:lnTo>
                  <a:lnTo>
                    <a:pt x="325" y="345"/>
                  </a:lnTo>
                  <a:lnTo>
                    <a:pt x="329" y="347"/>
                  </a:lnTo>
                  <a:lnTo>
                    <a:pt x="329" y="350"/>
                  </a:lnTo>
                  <a:lnTo>
                    <a:pt x="327" y="352"/>
                  </a:lnTo>
                  <a:lnTo>
                    <a:pt x="327" y="352"/>
                  </a:lnTo>
                  <a:lnTo>
                    <a:pt x="323" y="355"/>
                  </a:lnTo>
                  <a:lnTo>
                    <a:pt x="322" y="357"/>
                  </a:lnTo>
                  <a:lnTo>
                    <a:pt x="323" y="359"/>
                  </a:lnTo>
                  <a:lnTo>
                    <a:pt x="323" y="360"/>
                  </a:lnTo>
                  <a:lnTo>
                    <a:pt x="325" y="362"/>
                  </a:lnTo>
                  <a:lnTo>
                    <a:pt x="325" y="364"/>
                  </a:lnTo>
                  <a:lnTo>
                    <a:pt x="327" y="364"/>
                  </a:lnTo>
                  <a:lnTo>
                    <a:pt x="330" y="365"/>
                  </a:lnTo>
                  <a:lnTo>
                    <a:pt x="330" y="372"/>
                  </a:lnTo>
                  <a:lnTo>
                    <a:pt x="330" y="374"/>
                  </a:lnTo>
                  <a:lnTo>
                    <a:pt x="334" y="374"/>
                  </a:lnTo>
                  <a:lnTo>
                    <a:pt x="335" y="376"/>
                  </a:lnTo>
                  <a:lnTo>
                    <a:pt x="335" y="379"/>
                  </a:lnTo>
                  <a:lnTo>
                    <a:pt x="335" y="382"/>
                  </a:lnTo>
                  <a:lnTo>
                    <a:pt x="334" y="386"/>
                  </a:lnTo>
                  <a:lnTo>
                    <a:pt x="334" y="388"/>
                  </a:lnTo>
                  <a:lnTo>
                    <a:pt x="339" y="394"/>
                  </a:lnTo>
                  <a:lnTo>
                    <a:pt x="337" y="396"/>
                  </a:lnTo>
                  <a:lnTo>
                    <a:pt x="339" y="396"/>
                  </a:lnTo>
                  <a:lnTo>
                    <a:pt x="339" y="400"/>
                  </a:lnTo>
                  <a:lnTo>
                    <a:pt x="337" y="406"/>
                  </a:lnTo>
                  <a:lnTo>
                    <a:pt x="334" y="408"/>
                  </a:lnTo>
                  <a:lnTo>
                    <a:pt x="330" y="412"/>
                  </a:lnTo>
                  <a:lnTo>
                    <a:pt x="330" y="413"/>
                  </a:lnTo>
                  <a:lnTo>
                    <a:pt x="332" y="417"/>
                  </a:lnTo>
                  <a:lnTo>
                    <a:pt x="330" y="417"/>
                  </a:lnTo>
                  <a:lnTo>
                    <a:pt x="329" y="418"/>
                  </a:lnTo>
                  <a:lnTo>
                    <a:pt x="327" y="422"/>
                  </a:lnTo>
                  <a:lnTo>
                    <a:pt x="329" y="425"/>
                  </a:lnTo>
                  <a:lnTo>
                    <a:pt x="329" y="427"/>
                  </a:lnTo>
                  <a:lnTo>
                    <a:pt x="327" y="427"/>
                  </a:lnTo>
                  <a:lnTo>
                    <a:pt x="327" y="429"/>
                  </a:lnTo>
                  <a:lnTo>
                    <a:pt x="322" y="432"/>
                  </a:lnTo>
                  <a:lnTo>
                    <a:pt x="322" y="432"/>
                  </a:lnTo>
                  <a:lnTo>
                    <a:pt x="323" y="434"/>
                  </a:lnTo>
                  <a:lnTo>
                    <a:pt x="322" y="437"/>
                  </a:lnTo>
                  <a:lnTo>
                    <a:pt x="320" y="441"/>
                  </a:lnTo>
                  <a:lnTo>
                    <a:pt x="315" y="444"/>
                  </a:lnTo>
                  <a:lnTo>
                    <a:pt x="315" y="451"/>
                  </a:lnTo>
                  <a:lnTo>
                    <a:pt x="313" y="451"/>
                  </a:lnTo>
                  <a:lnTo>
                    <a:pt x="313" y="447"/>
                  </a:lnTo>
                  <a:lnTo>
                    <a:pt x="311" y="449"/>
                  </a:lnTo>
                  <a:lnTo>
                    <a:pt x="311" y="451"/>
                  </a:lnTo>
                  <a:lnTo>
                    <a:pt x="310" y="453"/>
                  </a:lnTo>
                  <a:lnTo>
                    <a:pt x="310" y="451"/>
                  </a:lnTo>
                  <a:lnTo>
                    <a:pt x="308" y="449"/>
                  </a:lnTo>
                  <a:lnTo>
                    <a:pt x="305" y="458"/>
                  </a:lnTo>
                  <a:lnTo>
                    <a:pt x="305" y="458"/>
                  </a:lnTo>
                  <a:lnTo>
                    <a:pt x="305" y="461"/>
                  </a:lnTo>
                  <a:lnTo>
                    <a:pt x="310" y="464"/>
                  </a:lnTo>
                  <a:lnTo>
                    <a:pt x="310" y="466"/>
                  </a:lnTo>
                  <a:lnTo>
                    <a:pt x="308" y="468"/>
                  </a:lnTo>
                  <a:lnTo>
                    <a:pt x="306" y="470"/>
                  </a:lnTo>
                  <a:lnTo>
                    <a:pt x="303" y="473"/>
                  </a:lnTo>
                  <a:lnTo>
                    <a:pt x="303" y="473"/>
                  </a:lnTo>
                  <a:lnTo>
                    <a:pt x="306" y="473"/>
                  </a:lnTo>
                  <a:lnTo>
                    <a:pt x="306" y="475"/>
                  </a:lnTo>
                  <a:lnTo>
                    <a:pt x="301" y="478"/>
                  </a:lnTo>
                  <a:lnTo>
                    <a:pt x="301" y="478"/>
                  </a:lnTo>
                  <a:lnTo>
                    <a:pt x="301" y="480"/>
                  </a:lnTo>
                  <a:lnTo>
                    <a:pt x="303" y="480"/>
                  </a:lnTo>
                  <a:lnTo>
                    <a:pt x="303" y="483"/>
                  </a:lnTo>
                  <a:lnTo>
                    <a:pt x="303" y="487"/>
                  </a:lnTo>
                  <a:lnTo>
                    <a:pt x="301" y="488"/>
                  </a:lnTo>
                  <a:lnTo>
                    <a:pt x="303" y="490"/>
                  </a:lnTo>
                  <a:lnTo>
                    <a:pt x="300" y="492"/>
                  </a:lnTo>
                  <a:lnTo>
                    <a:pt x="300" y="490"/>
                  </a:lnTo>
                  <a:lnTo>
                    <a:pt x="300" y="492"/>
                  </a:lnTo>
                  <a:lnTo>
                    <a:pt x="303" y="492"/>
                  </a:lnTo>
                  <a:lnTo>
                    <a:pt x="303" y="494"/>
                  </a:lnTo>
                  <a:lnTo>
                    <a:pt x="303" y="495"/>
                  </a:lnTo>
                  <a:lnTo>
                    <a:pt x="298" y="494"/>
                  </a:lnTo>
                  <a:lnTo>
                    <a:pt x="298" y="495"/>
                  </a:lnTo>
                  <a:lnTo>
                    <a:pt x="300" y="499"/>
                  </a:lnTo>
                  <a:lnTo>
                    <a:pt x="303" y="500"/>
                  </a:lnTo>
                  <a:lnTo>
                    <a:pt x="303" y="502"/>
                  </a:lnTo>
                  <a:lnTo>
                    <a:pt x="300" y="502"/>
                  </a:lnTo>
                  <a:lnTo>
                    <a:pt x="300" y="504"/>
                  </a:lnTo>
                  <a:lnTo>
                    <a:pt x="305" y="504"/>
                  </a:lnTo>
                  <a:lnTo>
                    <a:pt x="301" y="512"/>
                  </a:lnTo>
                  <a:lnTo>
                    <a:pt x="296" y="516"/>
                  </a:lnTo>
                  <a:lnTo>
                    <a:pt x="294" y="521"/>
                  </a:lnTo>
                  <a:lnTo>
                    <a:pt x="294" y="524"/>
                  </a:lnTo>
                  <a:lnTo>
                    <a:pt x="298" y="529"/>
                  </a:lnTo>
                  <a:lnTo>
                    <a:pt x="303" y="53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54" name="Freeform 153"/>
            <p:cNvSpPr>
              <a:spLocks/>
            </p:cNvSpPr>
            <p:nvPr/>
          </p:nvSpPr>
          <p:spPr bwMode="gray">
            <a:xfrm>
              <a:off x="7765749" y="3508177"/>
              <a:ext cx="27375" cy="37037"/>
            </a:xfrm>
            <a:custGeom>
              <a:avLst/>
              <a:gdLst/>
              <a:ahLst/>
              <a:cxnLst>
                <a:cxn ang="0">
                  <a:pos x="9" y="4"/>
                </a:cxn>
                <a:cxn ang="0">
                  <a:pos x="17" y="11"/>
                </a:cxn>
                <a:cxn ang="0">
                  <a:pos x="9" y="23"/>
                </a:cxn>
                <a:cxn ang="0">
                  <a:pos x="9" y="19"/>
                </a:cxn>
                <a:cxn ang="0">
                  <a:pos x="9" y="19"/>
                </a:cxn>
                <a:cxn ang="0">
                  <a:pos x="9" y="18"/>
                </a:cxn>
                <a:cxn ang="0">
                  <a:pos x="9" y="14"/>
                </a:cxn>
                <a:cxn ang="0">
                  <a:pos x="5" y="12"/>
                </a:cxn>
                <a:cxn ang="0">
                  <a:pos x="4" y="11"/>
                </a:cxn>
                <a:cxn ang="0">
                  <a:pos x="0" y="9"/>
                </a:cxn>
                <a:cxn ang="0">
                  <a:pos x="5" y="0"/>
                </a:cxn>
                <a:cxn ang="0">
                  <a:pos x="9" y="4"/>
                </a:cxn>
              </a:cxnLst>
              <a:rect l="0" t="0" r="r" b="b"/>
              <a:pathLst>
                <a:path w="17" h="23">
                  <a:moveTo>
                    <a:pt x="9" y="4"/>
                  </a:moveTo>
                  <a:lnTo>
                    <a:pt x="17" y="11"/>
                  </a:lnTo>
                  <a:lnTo>
                    <a:pt x="9" y="23"/>
                  </a:lnTo>
                  <a:lnTo>
                    <a:pt x="9" y="19"/>
                  </a:lnTo>
                  <a:lnTo>
                    <a:pt x="9" y="19"/>
                  </a:lnTo>
                  <a:lnTo>
                    <a:pt x="9" y="18"/>
                  </a:lnTo>
                  <a:lnTo>
                    <a:pt x="9" y="14"/>
                  </a:lnTo>
                  <a:lnTo>
                    <a:pt x="5" y="12"/>
                  </a:lnTo>
                  <a:lnTo>
                    <a:pt x="4" y="11"/>
                  </a:lnTo>
                  <a:lnTo>
                    <a:pt x="0" y="9"/>
                  </a:lnTo>
                  <a:lnTo>
                    <a:pt x="5" y="0"/>
                  </a:lnTo>
                  <a:lnTo>
                    <a:pt x="9" y="4"/>
                  </a:lnTo>
                  <a:close/>
                </a:path>
              </a:pathLst>
            </a:custGeom>
            <a:grpFill/>
            <a:ln w="28575">
              <a:solidFill>
                <a:srgbClr val="669933"/>
              </a:solidFill>
              <a:round/>
              <a:headEnd/>
              <a:tailEnd/>
            </a:ln>
          </p:spPr>
          <p:txBody>
            <a:bodyPr vert="horz" wrap="square" lIns="44450" tIns="44450" rIns="44450" bIns="44450" numCol="1" anchor="t" anchorCtr="0" compatLnSpc="1">
              <a:prstTxWarp prst="textNoShape">
                <a:avLst/>
              </a:prstTxWarp>
            </a:bodyPr>
            <a:lstStyle/>
            <a:p>
              <a:pPr>
                <a:defRPr/>
              </a:pPr>
              <a:endParaRPr lang="en-US" kern="0" dirty="0">
                <a:solidFill>
                  <a:srgbClr val="53565A"/>
                </a:solidFill>
                <a:latin typeface="Calibri" panose="020F0502020204030204"/>
              </a:endParaRPr>
            </a:p>
          </p:txBody>
        </p:sp>
        <p:sp>
          <p:nvSpPr>
            <p:cNvPr id="155" name="Freeform 154"/>
            <p:cNvSpPr>
              <a:spLocks/>
            </p:cNvSpPr>
            <p:nvPr/>
          </p:nvSpPr>
          <p:spPr bwMode="gray">
            <a:xfrm>
              <a:off x="7909064" y="3324607"/>
              <a:ext cx="146534" cy="239929"/>
            </a:xfrm>
            <a:custGeom>
              <a:avLst/>
              <a:gdLst/>
              <a:ahLst/>
              <a:cxnLst>
                <a:cxn ang="0">
                  <a:pos x="34" y="138"/>
                </a:cxn>
                <a:cxn ang="0">
                  <a:pos x="33" y="128"/>
                </a:cxn>
                <a:cxn ang="0">
                  <a:pos x="26" y="109"/>
                </a:cxn>
                <a:cxn ang="0">
                  <a:pos x="17" y="77"/>
                </a:cxn>
                <a:cxn ang="0">
                  <a:pos x="14" y="67"/>
                </a:cxn>
                <a:cxn ang="0">
                  <a:pos x="12" y="61"/>
                </a:cxn>
                <a:cxn ang="0">
                  <a:pos x="10" y="53"/>
                </a:cxn>
                <a:cxn ang="0">
                  <a:pos x="0" y="17"/>
                </a:cxn>
                <a:cxn ang="0">
                  <a:pos x="2" y="17"/>
                </a:cxn>
                <a:cxn ang="0">
                  <a:pos x="4" y="10"/>
                </a:cxn>
                <a:cxn ang="0">
                  <a:pos x="7" y="5"/>
                </a:cxn>
                <a:cxn ang="0">
                  <a:pos x="10" y="2"/>
                </a:cxn>
                <a:cxn ang="0">
                  <a:pos x="15" y="2"/>
                </a:cxn>
                <a:cxn ang="0">
                  <a:pos x="24" y="0"/>
                </a:cxn>
                <a:cxn ang="0">
                  <a:pos x="29" y="2"/>
                </a:cxn>
                <a:cxn ang="0">
                  <a:pos x="29" y="3"/>
                </a:cxn>
                <a:cxn ang="0">
                  <a:pos x="29" y="5"/>
                </a:cxn>
                <a:cxn ang="0">
                  <a:pos x="26" y="7"/>
                </a:cxn>
                <a:cxn ang="0">
                  <a:pos x="26" y="10"/>
                </a:cxn>
                <a:cxn ang="0">
                  <a:pos x="26" y="12"/>
                </a:cxn>
                <a:cxn ang="0">
                  <a:pos x="26" y="12"/>
                </a:cxn>
                <a:cxn ang="0">
                  <a:pos x="17" y="26"/>
                </a:cxn>
                <a:cxn ang="0">
                  <a:pos x="22" y="29"/>
                </a:cxn>
                <a:cxn ang="0">
                  <a:pos x="22" y="41"/>
                </a:cxn>
                <a:cxn ang="0">
                  <a:pos x="31" y="50"/>
                </a:cxn>
                <a:cxn ang="0">
                  <a:pos x="43" y="60"/>
                </a:cxn>
                <a:cxn ang="0">
                  <a:pos x="48" y="79"/>
                </a:cxn>
                <a:cxn ang="0">
                  <a:pos x="55" y="84"/>
                </a:cxn>
                <a:cxn ang="0">
                  <a:pos x="58" y="91"/>
                </a:cxn>
                <a:cxn ang="0">
                  <a:pos x="70" y="102"/>
                </a:cxn>
                <a:cxn ang="0">
                  <a:pos x="79" y="102"/>
                </a:cxn>
                <a:cxn ang="0">
                  <a:pos x="91" y="138"/>
                </a:cxn>
                <a:cxn ang="0">
                  <a:pos x="89" y="138"/>
                </a:cxn>
                <a:cxn ang="0">
                  <a:pos x="87" y="138"/>
                </a:cxn>
                <a:cxn ang="0">
                  <a:pos x="65" y="143"/>
                </a:cxn>
                <a:cxn ang="0">
                  <a:pos x="38" y="149"/>
                </a:cxn>
                <a:cxn ang="0">
                  <a:pos x="34" y="138"/>
                </a:cxn>
              </a:cxnLst>
              <a:rect l="0" t="0" r="r" b="b"/>
              <a:pathLst>
                <a:path w="91" h="149">
                  <a:moveTo>
                    <a:pt x="34" y="138"/>
                  </a:moveTo>
                  <a:lnTo>
                    <a:pt x="33" y="128"/>
                  </a:lnTo>
                  <a:lnTo>
                    <a:pt x="26" y="109"/>
                  </a:lnTo>
                  <a:lnTo>
                    <a:pt x="17" y="77"/>
                  </a:lnTo>
                  <a:lnTo>
                    <a:pt x="14" y="67"/>
                  </a:lnTo>
                  <a:lnTo>
                    <a:pt x="12" y="61"/>
                  </a:lnTo>
                  <a:lnTo>
                    <a:pt x="10" y="53"/>
                  </a:lnTo>
                  <a:lnTo>
                    <a:pt x="0" y="17"/>
                  </a:lnTo>
                  <a:lnTo>
                    <a:pt x="2" y="17"/>
                  </a:lnTo>
                  <a:lnTo>
                    <a:pt x="4" y="10"/>
                  </a:lnTo>
                  <a:lnTo>
                    <a:pt x="7" y="5"/>
                  </a:lnTo>
                  <a:lnTo>
                    <a:pt x="10" y="2"/>
                  </a:lnTo>
                  <a:lnTo>
                    <a:pt x="15" y="2"/>
                  </a:lnTo>
                  <a:lnTo>
                    <a:pt x="24" y="0"/>
                  </a:lnTo>
                  <a:lnTo>
                    <a:pt x="29" y="2"/>
                  </a:lnTo>
                  <a:lnTo>
                    <a:pt x="29" y="3"/>
                  </a:lnTo>
                  <a:lnTo>
                    <a:pt x="29" y="5"/>
                  </a:lnTo>
                  <a:lnTo>
                    <a:pt x="26" y="7"/>
                  </a:lnTo>
                  <a:lnTo>
                    <a:pt x="26" y="10"/>
                  </a:lnTo>
                  <a:lnTo>
                    <a:pt x="26" y="12"/>
                  </a:lnTo>
                  <a:lnTo>
                    <a:pt x="26" y="12"/>
                  </a:lnTo>
                  <a:lnTo>
                    <a:pt x="17" y="26"/>
                  </a:lnTo>
                  <a:lnTo>
                    <a:pt x="22" y="29"/>
                  </a:lnTo>
                  <a:lnTo>
                    <a:pt x="22" y="41"/>
                  </a:lnTo>
                  <a:lnTo>
                    <a:pt x="31" y="50"/>
                  </a:lnTo>
                  <a:lnTo>
                    <a:pt x="43" y="60"/>
                  </a:lnTo>
                  <a:lnTo>
                    <a:pt x="48" y="79"/>
                  </a:lnTo>
                  <a:lnTo>
                    <a:pt x="55" y="84"/>
                  </a:lnTo>
                  <a:lnTo>
                    <a:pt x="58" y="91"/>
                  </a:lnTo>
                  <a:lnTo>
                    <a:pt x="70" y="102"/>
                  </a:lnTo>
                  <a:lnTo>
                    <a:pt x="79" y="102"/>
                  </a:lnTo>
                  <a:lnTo>
                    <a:pt x="91" y="138"/>
                  </a:lnTo>
                  <a:lnTo>
                    <a:pt x="89" y="138"/>
                  </a:lnTo>
                  <a:lnTo>
                    <a:pt x="87" y="138"/>
                  </a:lnTo>
                  <a:lnTo>
                    <a:pt x="65" y="143"/>
                  </a:lnTo>
                  <a:lnTo>
                    <a:pt x="38" y="149"/>
                  </a:lnTo>
                  <a:lnTo>
                    <a:pt x="34" y="13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56" name="Freeform 155"/>
            <p:cNvSpPr>
              <a:spLocks/>
            </p:cNvSpPr>
            <p:nvPr/>
          </p:nvSpPr>
          <p:spPr bwMode="gray">
            <a:xfrm>
              <a:off x="7058845" y="3310114"/>
              <a:ext cx="613510" cy="613510"/>
            </a:xfrm>
            <a:custGeom>
              <a:avLst/>
              <a:gdLst/>
              <a:ahLst/>
              <a:cxnLst>
                <a:cxn ang="0">
                  <a:pos x="239" y="212"/>
                </a:cxn>
                <a:cxn ang="0">
                  <a:pos x="232" y="238"/>
                </a:cxn>
                <a:cxn ang="0">
                  <a:pos x="224" y="260"/>
                </a:cxn>
                <a:cxn ang="0">
                  <a:pos x="214" y="288"/>
                </a:cxn>
                <a:cxn ang="0">
                  <a:pos x="205" y="308"/>
                </a:cxn>
                <a:cxn ang="0">
                  <a:pos x="209" y="322"/>
                </a:cxn>
                <a:cxn ang="0">
                  <a:pos x="202" y="335"/>
                </a:cxn>
                <a:cxn ang="0">
                  <a:pos x="186" y="339"/>
                </a:cxn>
                <a:cxn ang="0">
                  <a:pos x="169" y="351"/>
                </a:cxn>
                <a:cxn ang="0">
                  <a:pos x="156" y="363"/>
                </a:cxn>
                <a:cxn ang="0">
                  <a:pos x="125" y="368"/>
                </a:cxn>
                <a:cxn ang="0">
                  <a:pos x="106" y="380"/>
                </a:cxn>
                <a:cxn ang="0">
                  <a:pos x="80" y="375"/>
                </a:cxn>
                <a:cxn ang="0">
                  <a:pos x="67" y="356"/>
                </a:cxn>
                <a:cxn ang="0">
                  <a:pos x="58" y="352"/>
                </a:cxn>
                <a:cxn ang="0">
                  <a:pos x="46" y="342"/>
                </a:cxn>
                <a:cxn ang="0">
                  <a:pos x="26" y="327"/>
                </a:cxn>
                <a:cxn ang="0">
                  <a:pos x="12" y="306"/>
                </a:cxn>
                <a:cxn ang="0">
                  <a:pos x="3" y="282"/>
                </a:cxn>
                <a:cxn ang="0">
                  <a:pos x="5" y="265"/>
                </a:cxn>
                <a:cxn ang="0">
                  <a:pos x="24" y="241"/>
                </a:cxn>
                <a:cxn ang="0">
                  <a:pos x="27" y="217"/>
                </a:cxn>
                <a:cxn ang="0">
                  <a:pos x="39" y="192"/>
                </a:cxn>
                <a:cxn ang="0">
                  <a:pos x="51" y="207"/>
                </a:cxn>
                <a:cxn ang="0">
                  <a:pos x="58" y="190"/>
                </a:cxn>
                <a:cxn ang="0">
                  <a:pos x="56" y="173"/>
                </a:cxn>
                <a:cxn ang="0">
                  <a:pos x="72" y="151"/>
                </a:cxn>
                <a:cxn ang="0">
                  <a:pos x="96" y="144"/>
                </a:cxn>
                <a:cxn ang="0">
                  <a:pos x="109" y="123"/>
                </a:cxn>
                <a:cxn ang="0">
                  <a:pos x="123" y="105"/>
                </a:cxn>
                <a:cxn ang="0">
                  <a:pos x="123" y="86"/>
                </a:cxn>
                <a:cxn ang="0">
                  <a:pos x="126" y="74"/>
                </a:cxn>
                <a:cxn ang="0">
                  <a:pos x="132" y="36"/>
                </a:cxn>
                <a:cxn ang="0">
                  <a:pos x="121" y="11"/>
                </a:cxn>
                <a:cxn ang="0">
                  <a:pos x="137" y="26"/>
                </a:cxn>
                <a:cxn ang="0">
                  <a:pos x="209" y="88"/>
                </a:cxn>
                <a:cxn ang="0">
                  <a:pos x="255" y="127"/>
                </a:cxn>
                <a:cxn ang="0">
                  <a:pos x="268" y="106"/>
                </a:cxn>
                <a:cxn ang="0">
                  <a:pos x="285" y="96"/>
                </a:cxn>
                <a:cxn ang="0">
                  <a:pos x="292" y="84"/>
                </a:cxn>
                <a:cxn ang="0">
                  <a:pos x="297" y="91"/>
                </a:cxn>
                <a:cxn ang="0">
                  <a:pos x="316" y="91"/>
                </a:cxn>
                <a:cxn ang="0">
                  <a:pos x="320" y="79"/>
                </a:cxn>
                <a:cxn ang="0">
                  <a:pos x="335" y="72"/>
                </a:cxn>
                <a:cxn ang="0">
                  <a:pos x="357" y="74"/>
                </a:cxn>
                <a:cxn ang="0">
                  <a:pos x="362" y="72"/>
                </a:cxn>
                <a:cxn ang="0">
                  <a:pos x="366" y="79"/>
                </a:cxn>
                <a:cxn ang="0">
                  <a:pos x="371" y="84"/>
                </a:cxn>
                <a:cxn ang="0">
                  <a:pos x="373" y="89"/>
                </a:cxn>
                <a:cxn ang="0">
                  <a:pos x="379" y="100"/>
                </a:cxn>
                <a:cxn ang="0">
                  <a:pos x="359" y="111"/>
                </a:cxn>
                <a:cxn ang="0">
                  <a:pos x="332" y="108"/>
                </a:cxn>
                <a:cxn ang="0">
                  <a:pos x="328" y="134"/>
                </a:cxn>
                <a:cxn ang="0">
                  <a:pos x="318" y="151"/>
                </a:cxn>
                <a:cxn ang="0">
                  <a:pos x="308" y="159"/>
                </a:cxn>
                <a:cxn ang="0">
                  <a:pos x="285" y="180"/>
                </a:cxn>
              </a:cxnLst>
              <a:rect l="0" t="0" r="r" b="b"/>
              <a:pathLst>
                <a:path w="381" h="381">
                  <a:moveTo>
                    <a:pt x="275" y="212"/>
                  </a:moveTo>
                  <a:lnTo>
                    <a:pt x="273" y="217"/>
                  </a:lnTo>
                  <a:lnTo>
                    <a:pt x="270" y="221"/>
                  </a:lnTo>
                  <a:lnTo>
                    <a:pt x="255" y="217"/>
                  </a:lnTo>
                  <a:lnTo>
                    <a:pt x="250" y="209"/>
                  </a:lnTo>
                  <a:lnTo>
                    <a:pt x="239" y="207"/>
                  </a:lnTo>
                  <a:lnTo>
                    <a:pt x="239" y="212"/>
                  </a:lnTo>
                  <a:lnTo>
                    <a:pt x="239" y="214"/>
                  </a:lnTo>
                  <a:lnTo>
                    <a:pt x="238" y="217"/>
                  </a:lnTo>
                  <a:lnTo>
                    <a:pt x="239" y="224"/>
                  </a:lnTo>
                  <a:lnTo>
                    <a:pt x="238" y="229"/>
                  </a:lnTo>
                  <a:lnTo>
                    <a:pt x="238" y="233"/>
                  </a:lnTo>
                  <a:lnTo>
                    <a:pt x="234" y="235"/>
                  </a:lnTo>
                  <a:lnTo>
                    <a:pt x="232" y="238"/>
                  </a:lnTo>
                  <a:lnTo>
                    <a:pt x="232" y="240"/>
                  </a:lnTo>
                  <a:lnTo>
                    <a:pt x="234" y="241"/>
                  </a:lnTo>
                  <a:lnTo>
                    <a:pt x="234" y="243"/>
                  </a:lnTo>
                  <a:lnTo>
                    <a:pt x="231" y="246"/>
                  </a:lnTo>
                  <a:lnTo>
                    <a:pt x="226" y="255"/>
                  </a:lnTo>
                  <a:lnTo>
                    <a:pt x="226" y="257"/>
                  </a:lnTo>
                  <a:lnTo>
                    <a:pt x="224" y="260"/>
                  </a:lnTo>
                  <a:lnTo>
                    <a:pt x="226" y="262"/>
                  </a:lnTo>
                  <a:lnTo>
                    <a:pt x="224" y="267"/>
                  </a:lnTo>
                  <a:lnTo>
                    <a:pt x="224" y="270"/>
                  </a:lnTo>
                  <a:lnTo>
                    <a:pt x="222" y="276"/>
                  </a:lnTo>
                  <a:lnTo>
                    <a:pt x="217" y="281"/>
                  </a:lnTo>
                  <a:lnTo>
                    <a:pt x="214" y="286"/>
                  </a:lnTo>
                  <a:lnTo>
                    <a:pt x="214" y="288"/>
                  </a:lnTo>
                  <a:lnTo>
                    <a:pt x="210" y="289"/>
                  </a:lnTo>
                  <a:lnTo>
                    <a:pt x="210" y="293"/>
                  </a:lnTo>
                  <a:lnTo>
                    <a:pt x="210" y="294"/>
                  </a:lnTo>
                  <a:lnTo>
                    <a:pt x="207" y="299"/>
                  </a:lnTo>
                  <a:lnTo>
                    <a:pt x="207" y="301"/>
                  </a:lnTo>
                  <a:lnTo>
                    <a:pt x="205" y="305"/>
                  </a:lnTo>
                  <a:lnTo>
                    <a:pt x="205" y="308"/>
                  </a:lnTo>
                  <a:lnTo>
                    <a:pt x="202" y="313"/>
                  </a:lnTo>
                  <a:lnTo>
                    <a:pt x="203" y="313"/>
                  </a:lnTo>
                  <a:lnTo>
                    <a:pt x="202" y="317"/>
                  </a:lnTo>
                  <a:lnTo>
                    <a:pt x="203" y="317"/>
                  </a:lnTo>
                  <a:lnTo>
                    <a:pt x="207" y="317"/>
                  </a:lnTo>
                  <a:lnTo>
                    <a:pt x="210" y="318"/>
                  </a:lnTo>
                  <a:lnTo>
                    <a:pt x="209" y="322"/>
                  </a:lnTo>
                  <a:lnTo>
                    <a:pt x="203" y="325"/>
                  </a:lnTo>
                  <a:lnTo>
                    <a:pt x="203" y="329"/>
                  </a:lnTo>
                  <a:lnTo>
                    <a:pt x="205" y="329"/>
                  </a:lnTo>
                  <a:lnTo>
                    <a:pt x="207" y="329"/>
                  </a:lnTo>
                  <a:lnTo>
                    <a:pt x="207" y="330"/>
                  </a:lnTo>
                  <a:lnTo>
                    <a:pt x="202" y="334"/>
                  </a:lnTo>
                  <a:lnTo>
                    <a:pt x="202" y="335"/>
                  </a:lnTo>
                  <a:lnTo>
                    <a:pt x="198" y="337"/>
                  </a:lnTo>
                  <a:lnTo>
                    <a:pt x="197" y="340"/>
                  </a:lnTo>
                  <a:lnTo>
                    <a:pt x="193" y="342"/>
                  </a:lnTo>
                  <a:lnTo>
                    <a:pt x="191" y="342"/>
                  </a:lnTo>
                  <a:lnTo>
                    <a:pt x="191" y="339"/>
                  </a:lnTo>
                  <a:lnTo>
                    <a:pt x="188" y="337"/>
                  </a:lnTo>
                  <a:lnTo>
                    <a:pt x="186" y="339"/>
                  </a:lnTo>
                  <a:lnTo>
                    <a:pt x="181" y="342"/>
                  </a:lnTo>
                  <a:lnTo>
                    <a:pt x="174" y="349"/>
                  </a:lnTo>
                  <a:lnTo>
                    <a:pt x="171" y="349"/>
                  </a:lnTo>
                  <a:lnTo>
                    <a:pt x="171" y="351"/>
                  </a:lnTo>
                  <a:lnTo>
                    <a:pt x="171" y="351"/>
                  </a:lnTo>
                  <a:lnTo>
                    <a:pt x="169" y="352"/>
                  </a:lnTo>
                  <a:lnTo>
                    <a:pt x="169" y="351"/>
                  </a:lnTo>
                  <a:lnTo>
                    <a:pt x="166" y="351"/>
                  </a:lnTo>
                  <a:lnTo>
                    <a:pt x="166" y="349"/>
                  </a:lnTo>
                  <a:lnTo>
                    <a:pt x="161" y="347"/>
                  </a:lnTo>
                  <a:lnTo>
                    <a:pt x="159" y="352"/>
                  </a:lnTo>
                  <a:lnTo>
                    <a:pt x="162" y="356"/>
                  </a:lnTo>
                  <a:lnTo>
                    <a:pt x="162" y="358"/>
                  </a:lnTo>
                  <a:lnTo>
                    <a:pt x="156" y="363"/>
                  </a:lnTo>
                  <a:lnTo>
                    <a:pt x="154" y="363"/>
                  </a:lnTo>
                  <a:lnTo>
                    <a:pt x="152" y="363"/>
                  </a:lnTo>
                  <a:lnTo>
                    <a:pt x="152" y="363"/>
                  </a:lnTo>
                  <a:lnTo>
                    <a:pt x="149" y="364"/>
                  </a:lnTo>
                  <a:lnTo>
                    <a:pt x="138" y="368"/>
                  </a:lnTo>
                  <a:lnTo>
                    <a:pt x="133" y="373"/>
                  </a:lnTo>
                  <a:lnTo>
                    <a:pt x="125" y="368"/>
                  </a:lnTo>
                  <a:lnTo>
                    <a:pt x="120" y="364"/>
                  </a:lnTo>
                  <a:lnTo>
                    <a:pt x="118" y="368"/>
                  </a:lnTo>
                  <a:lnTo>
                    <a:pt x="118" y="370"/>
                  </a:lnTo>
                  <a:lnTo>
                    <a:pt x="111" y="375"/>
                  </a:lnTo>
                  <a:lnTo>
                    <a:pt x="109" y="375"/>
                  </a:lnTo>
                  <a:lnTo>
                    <a:pt x="109" y="376"/>
                  </a:lnTo>
                  <a:lnTo>
                    <a:pt x="106" y="380"/>
                  </a:lnTo>
                  <a:lnTo>
                    <a:pt x="96" y="381"/>
                  </a:lnTo>
                  <a:lnTo>
                    <a:pt x="92" y="380"/>
                  </a:lnTo>
                  <a:lnTo>
                    <a:pt x="89" y="378"/>
                  </a:lnTo>
                  <a:lnTo>
                    <a:pt x="89" y="376"/>
                  </a:lnTo>
                  <a:lnTo>
                    <a:pt x="84" y="375"/>
                  </a:lnTo>
                  <a:lnTo>
                    <a:pt x="82" y="376"/>
                  </a:lnTo>
                  <a:lnTo>
                    <a:pt x="80" y="375"/>
                  </a:lnTo>
                  <a:lnTo>
                    <a:pt x="79" y="373"/>
                  </a:lnTo>
                  <a:lnTo>
                    <a:pt x="79" y="371"/>
                  </a:lnTo>
                  <a:lnTo>
                    <a:pt x="75" y="370"/>
                  </a:lnTo>
                  <a:lnTo>
                    <a:pt x="72" y="368"/>
                  </a:lnTo>
                  <a:lnTo>
                    <a:pt x="72" y="363"/>
                  </a:lnTo>
                  <a:lnTo>
                    <a:pt x="65" y="358"/>
                  </a:lnTo>
                  <a:lnTo>
                    <a:pt x="67" y="356"/>
                  </a:lnTo>
                  <a:lnTo>
                    <a:pt x="68" y="354"/>
                  </a:lnTo>
                  <a:lnTo>
                    <a:pt x="68" y="352"/>
                  </a:lnTo>
                  <a:lnTo>
                    <a:pt x="67" y="351"/>
                  </a:lnTo>
                  <a:lnTo>
                    <a:pt x="65" y="349"/>
                  </a:lnTo>
                  <a:lnTo>
                    <a:pt x="62" y="352"/>
                  </a:lnTo>
                  <a:lnTo>
                    <a:pt x="58" y="349"/>
                  </a:lnTo>
                  <a:lnTo>
                    <a:pt x="58" y="352"/>
                  </a:lnTo>
                  <a:lnTo>
                    <a:pt x="56" y="351"/>
                  </a:lnTo>
                  <a:lnTo>
                    <a:pt x="51" y="351"/>
                  </a:lnTo>
                  <a:lnTo>
                    <a:pt x="51" y="349"/>
                  </a:lnTo>
                  <a:lnTo>
                    <a:pt x="51" y="349"/>
                  </a:lnTo>
                  <a:lnTo>
                    <a:pt x="51" y="347"/>
                  </a:lnTo>
                  <a:lnTo>
                    <a:pt x="50" y="347"/>
                  </a:lnTo>
                  <a:lnTo>
                    <a:pt x="46" y="342"/>
                  </a:lnTo>
                  <a:lnTo>
                    <a:pt x="44" y="344"/>
                  </a:lnTo>
                  <a:lnTo>
                    <a:pt x="41" y="340"/>
                  </a:lnTo>
                  <a:lnTo>
                    <a:pt x="36" y="340"/>
                  </a:lnTo>
                  <a:lnTo>
                    <a:pt x="32" y="332"/>
                  </a:lnTo>
                  <a:lnTo>
                    <a:pt x="32" y="330"/>
                  </a:lnTo>
                  <a:lnTo>
                    <a:pt x="31" y="329"/>
                  </a:lnTo>
                  <a:lnTo>
                    <a:pt x="26" y="327"/>
                  </a:lnTo>
                  <a:lnTo>
                    <a:pt x="22" y="320"/>
                  </a:lnTo>
                  <a:lnTo>
                    <a:pt x="21" y="318"/>
                  </a:lnTo>
                  <a:lnTo>
                    <a:pt x="15" y="315"/>
                  </a:lnTo>
                  <a:lnTo>
                    <a:pt x="15" y="313"/>
                  </a:lnTo>
                  <a:lnTo>
                    <a:pt x="17" y="311"/>
                  </a:lnTo>
                  <a:lnTo>
                    <a:pt x="17" y="310"/>
                  </a:lnTo>
                  <a:lnTo>
                    <a:pt x="12" y="306"/>
                  </a:lnTo>
                  <a:lnTo>
                    <a:pt x="5" y="296"/>
                  </a:lnTo>
                  <a:lnTo>
                    <a:pt x="0" y="293"/>
                  </a:lnTo>
                  <a:lnTo>
                    <a:pt x="0" y="291"/>
                  </a:lnTo>
                  <a:lnTo>
                    <a:pt x="2" y="289"/>
                  </a:lnTo>
                  <a:lnTo>
                    <a:pt x="2" y="288"/>
                  </a:lnTo>
                  <a:lnTo>
                    <a:pt x="2" y="282"/>
                  </a:lnTo>
                  <a:lnTo>
                    <a:pt x="3" y="282"/>
                  </a:lnTo>
                  <a:lnTo>
                    <a:pt x="3" y="281"/>
                  </a:lnTo>
                  <a:lnTo>
                    <a:pt x="3" y="277"/>
                  </a:lnTo>
                  <a:lnTo>
                    <a:pt x="3" y="276"/>
                  </a:lnTo>
                  <a:lnTo>
                    <a:pt x="0" y="269"/>
                  </a:lnTo>
                  <a:lnTo>
                    <a:pt x="2" y="264"/>
                  </a:lnTo>
                  <a:lnTo>
                    <a:pt x="2" y="265"/>
                  </a:lnTo>
                  <a:lnTo>
                    <a:pt x="5" y="265"/>
                  </a:lnTo>
                  <a:lnTo>
                    <a:pt x="9" y="264"/>
                  </a:lnTo>
                  <a:lnTo>
                    <a:pt x="15" y="260"/>
                  </a:lnTo>
                  <a:lnTo>
                    <a:pt x="17" y="260"/>
                  </a:lnTo>
                  <a:lnTo>
                    <a:pt x="22" y="258"/>
                  </a:lnTo>
                  <a:lnTo>
                    <a:pt x="22" y="255"/>
                  </a:lnTo>
                  <a:lnTo>
                    <a:pt x="22" y="243"/>
                  </a:lnTo>
                  <a:lnTo>
                    <a:pt x="24" y="241"/>
                  </a:lnTo>
                  <a:lnTo>
                    <a:pt x="29" y="241"/>
                  </a:lnTo>
                  <a:lnTo>
                    <a:pt x="31" y="240"/>
                  </a:lnTo>
                  <a:lnTo>
                    <a:pt x="31" y="236"/>
                  </a:lnTo>
                  <a:lnTo>
                    <a:pt x="29" y="231"/>
                  </a:lnTo>
                  <a:lnTo>
                    <a:pt x="29" y="228"/>
                  </a:lnTo>
                  <a:lnTo>
                    <a:pt x="26" y="221"/>
                  </a:lnTo>
                  <a:lnTo>
                    <a:pt x="27" y="217"/>
                  </a:lnTo>
                  <a:lnTo>
                    <a:pt x="31" y="214"/>
                  </a:lnTo>
                  <a:lnTo>
                    <a:pt x="31" y="207"/>
                  </a:lnTo>
                  <a:lnTo>
                    <a:pt x="32" y="200"/>
                  </a:lnTo>
                  <a:lnTo>
                    <a:pt x="34" y="197"/>
                  </a:lnTo>
                  <a:lnTo>
                    <a:pt x="36" y="197"/>
                  </a:lnTo>
                  <a:lnTo>
                    <a:pt x="36" y="194"/>
                  </a:lnTo>
                  <a:lnTo>
                    <a:pt x="39" y="192"/>
                  </a:lnTo>
                  <a:lnTo>
                    <a:pt x="43" y="195"/>
                  </a:lnTo>
                  <a:lnTo>
                    <a:pt x="44" y="195"/>
                  </a:lnTo>
                  <a:lnTo>
                    <a:pt x="46" y="195"/>
                  </a:lnTo>
                  <a:lnTo>
                    <a:pt x="50" y="200"/>
                  </a:lnTo>
                  <a:lnTo>
                    <a:pt x="48" y="205"/>
                  </a:lnTo>
                  <a:lnTo>
                    <a:pt x="50" y="205"/>
                  </a:lnTo>
                  <a:lnTo>
                    <a:pt x="51" y="207"/>
                  </a:lnTo>
                  <a:lnTo>
                    <a:pt x="53" y="205"/>
                  </a:lnTo>
                  <a:lnTo>
                    <a:pt x="55" y="199"/>
                  </a:lnTo>
                  <a:lnTo>
                    <a:pt x="55" y="197"/>
                  </a:lnTo>
                  <a:lnTo>
                    <a:pt x="58" y="200"/>
                  </a:lnTo>
                  <a:lnTo>
                    <a:pt x="60" y="199"/>
                  </a:lnTo>
                  <a:lnTo>
                    <a:pt x="58" y="195"/>
                  </a:lnTo>
                  <a:lnTo>
                    <a:pt x="58" y="190"/>
                  </a:lnTo>
                  <a:lnTo>
                    <a:pt x="55" y="187"/>
                  </a:lnTo>
                  <a:lnTo>
                    <a:pt x="53" y="185"/>
                  </a:lnTo>
                  <a:lnTo>
                    <a:pt x="53" y="183"/>
                  </a:lnTo>
                  <a:lnTo>
                    <a:pt x="56" y="183"/>
                  </a:lnTo>
                  <a:lnTo>
                    <a:pt x="58" y="182"/>
                  </a:lnTo>
                  <a:lnTo>
                    <a:pt x="58" y="178"/>
                  </a:lnTo>
                  <a:lnTo>
                    <a:pt x="56" y="173"/>
                  </a:lnTo>
                  <a:lnTo>
                    <a:pt x="60" y="168"/>
                  </a:lnTo>
                  <a:lnTo>
                    <a:pt x="62" y="166"/>
                  </a:lnTo>
                  <a:lnTo>
                    <a:pt x="62" y="163"/>
                  </a:lnTo>
                  <a:lnTo>
                    <a:pt x="63" y="161"/>
                  </a:lnTo>
                  <a:lnTo>
                    <a:pt x="70" y="161"/>
                  </a:lnTo>
                  <a:lnTo>
                    <a:pt x="70" y="152"/>
                  </a:lnTo>
                  <a:lnTo>
                    <a:pt x="72" y="151"/>
                  </a:lnTo>
                  <a:lnTo>
                    <a:pt x="77" y="144"/>
                  </a:lnTo>
                  <a:lnTo>
                    <a:pt x="79" y="144"/>
                  </a:lnTo>
                  <a:lnTo>
                    <a:pt x="80" y="144"/>
                  </a:lnTo>
                  <a:lnTo>
                    <a:pt x="85" y="149"/>
                  </a:lnTo>
                  <a:lnTo>
                    <a:pt x="89" y="149"/>
                  </a:lnTo>
                  <a:lnTo>
                    <a:pt x="92" y="144"/>
                  </a:lnTo>
                  <a:lnTo>
                    <a:pt x="96" y="144"/>
                  </a:lnTo>
                  <a:lnTo>
                    <a:pt x="96" y="141"/>
                  </a:lnTo>
                  <a:lnTo>
                    <a:pt x="99" y="141"/>
                  </a:lnTo>
                  <a:lnTo>
                    <a:pt x="99" y="137"/>
                  </a:lnTo>
                  <a:lnTo>
                    <a:pt x="104" y="134"/>
                  </a:lnTo>
                  <a:lnTo>
                    <a:pt x="106" y="130"/>
                  </a:lnTo>
                  <a:lnTo>
                    <a:pt x="109" y="125"/>
                  </a:lnTo>
                  <a:lnTo>
                    <a:pt x="109" y="123"/>
                  </a:lnTo>
                  <a:lnTo>
                    <a:pt x="113" y="120"/>
                  </a:lnTo>
                  <a:lnTo>
                    <a:pt x="116" y="117"/>
                  </a:lnTo>
                  <a:lnTo>
                    <a:pt x="118" y="115"/>
                  </a:lnTo>
                  <a:lnTo>
                    <a:pt x="121" y="113"/>
                  </a:lnTo>
                  <a:lnTo>
                    <a:pt x="121" y="110"/>
                  </a:lnTo>
                  <a:lnTo>
                    <a:pt x="121" y="108"/>
                  </a:lnTo>
                  <a:lnTo>
                    <a:pt x="123" y="105"/>
                  </a:lnTo>
                  <a:lnTo>
                    <a:pt x="123" y="103"/>
                  </a:lnTo>
                  <a:lnTo>
                    <a:pt x="121" y="101"/>
                  </a:lnTo>
                  <a:lnTo>
                    <a:pt x="120" y="100"/>
                  </a:lnTo>
                  <a:lnTo>
                    <a:pt x="123" y="93"/>
                  </a:lnTo>
                  <a:lnTo>
                    <a:pt x="121" y="89"/>
                  </a:lnTo>
                  <a:lnTo>
                    <a:pt x="123" y="88"/>
                  </a:lnTo>
                  <a:lnTo>
                    <a:pt x="123" y="86"/>
                  </a:lnTo>
                  <a:lnTo>
                    <a:pt x="121" y="82"/>
                  </a:lnTo>
                  <a:lnTo>
                    <a:pt x="121" y="81"/>
                  </a:lnTo>
                  <a:lnTo>
                    <a:pt x="123" y="81"/>
                  </a:lnTo>
                  <a:lnTo>
                    <a:pt x="125" y="81"/>
                  </a:lnTo>
                  <a:lnTo>
                    <a:pt x="125" y="81"/>
                  </a:lnTo>
                  <a:lnTo>
                    <a:pt x="125" y="77"/>
                  </a:lnTo>
                  <a:lnTo>
                    <a:pt x="126" y="74"/>
                  </a:lnTo>
                  <a:lnTo>
                    <a:pt x="125" y="67"/>
                  </a:lnTo>
                  <a:lnTo>
                    <a:pt x="126" y="55"/>
                  </a:lnTo>
                  <a:lnTo>
                    <a:pt x="126" y="53"/>
                  </a:lnTo>
                  <a:lnTo>
                    <a:pt x="126" y="50"/>
                  </a:lnTo>
                  <a:lnTo>
                    <a:pt x="128" y="45"/>
                  </a:lnTo>
                  <a:lnTo>
                    <a:pt x="132" y="40"/>
                  </a:lnTo>
                  <a:lnTo>
                    <a:pt x="132" y="36"/>
                  </a:lnTo>
                  <a:lnTo>
                    <a:pt x="130" y="29"/>
                  </a:lnTo>
                  <a:lnTo>
                    <a:pt x="128" y="29"/>
                  </a:lnTo>
                  <a:lnTo>
                    <a:pt x="128" y="28"/>
                  </a:lnTo>
                  <a:lnTo>
                    <a:pt x="128" y="19"/>
                  </a:lnTo>
                  <a:lnTo>
                    <a:pt x="126" y="16"/>
                  </a:lnTo>
                  <a:lnTo>
                    <a:pt x="125" y="12"/>
                  </a:lnTo>
                  <a:lnTo>
                    <a:pt x="121" y="11"/>
                  </a:lnTo>
                  <a:lnTo>
                    <a:pt x="121" y="9"/>
                  </a:lnTo>
                  <a:lnTo>
                    <a:pt x="123" y="6"/>
                  </a:lnTo>
                  <a:lnTo>
                    <a:pt x="125" y="4"/>
                  </a:lnTo>
                  <a:lnTo>
                    <a:pt x="128" y="4"/>
                  </a:lnTo>
                  <a:lnTo>
                    <a:pt x="132" y="0"/>
                  </a:lnTo>
                  <a:lnTo>
                    <a:pt x="135" y="17"/>
                  </a:lnTo>
                  <a:lnTo>
                    <a:pt x="137" y="26"/>
                  </a:lnTo>
                  <a:lnTo>
                    <a:pt x="140" y="52"/>
                  </a:lnTo>
                  <a:lnTo>
                    <a:pt x="142" y="67"/>
                  </a:lnTo>
                  <a:lnTo>
                    <a:pt x="144" y="74"/>
                  </a:lnTo>
                  <a:lnTo>
                    <a:pt x="149" y="98"/>
                  </a:lnTo>
                  <a:lnTo>
                    <a:pt x="156" y="98"/>
                  </a:lnTo>
                  <a:lnTo>
                    <a:pt x="197" y="91"/>
                  </a:lnTo>
                  <a:lnTo>
                    <a:pt x="209" y="88"/>
                  </a:lnTo>
                  <a:lnTo>
                    <a:pt x="232" y="84"/>
                  </a:lnTo>
                  <a:lnTo>
                    <a:pt x="241" y="141"/>
                  </a:lnTo>
                  <a:lnTo>
                    <a:pt x="243" y="137"/>
                  </a:lnTo>
                  <a:lnTo>
                    <a:pt x="244" y="137"/>
                  </a:lnTo>
                  <a:lnTo>
                    <a:pt x="248" y="130"/>
                  </a:lnTo>
                  <a:lnTo>
                    <a:pt x="251" y="129"/>
                  </a:lnTo>
                  <a:lnTo>
                    <a:pt x="255" y="127"/>
                  </a:lnTo>
                  <a:lnTo>
                    <a:pt x="256" y="123"/>
                  </a:lnTo>
                  <a:lnTo>
                    <a:pt x="256" y="120"/>
                  </a:lnTo>
                  <a:lnTo>
                    <a:pt x="265" y="115"/>
                  </a:lnTo>
                  <a:lnTo>
                    <a:pt x="265" y="111"/>
                  </a:lnTo>
                  <a:lnTo>
                    <a:pt x="267" y="111"/>
                  </a:lnTo>
                  <a:lnTo>
                    <a:pt x="268" y="108"/>
                  </a:lnTo>
                  <a:lnTo>
                    <a:pt x="268" y="106"/>
                  </a:lnTo>
                  <a:lnTo>
                    <a:pt x="267" y="105"/>
                  </a:lnTo>
                  <a:lnTo>
                    <a:pt x="270" y="105"/>
                  </a:lnTo>
                  <a:lnTo>
                    <a:pt x="270" y="103"/>
                  </a:lnTo>
                  <a:lnTo>
                    <a:pt x="272" y="103"/>
                  </a:lnTo>
                  <a:lnTo>
                    <a:pt x="279" y="106"/>
                  </a:lnTo>
                  <a:lnTo>
                    <a:pt x="280" y="105"/>
                  </a:lnTo>
                  <a:lnTo>
                    <a:pt x="285" y="96"/>
                  </a:lnTo>
                  <a:lnTo>
                    <a:pt x="287" y="91"/>
                  </a:lnTo>
                  <a:lnTo>
                    <a:pt x="289" y="91"/>
                  </a:lnTo>
                  <a:lnTo>
                    <a:pt x="287" y="89"/>
                  </a:lnTo>
                  <a:lnTo>
                    <a:pt x="289" y="86"/>
                  </a:lnTo>
                  <a:lnTo>
                    <a:pt x="289" y="84"/>
                  </a:lnTo>
                  <a:lnTo>
                    <a:pt x="291" y="82"/>
                  </a:lnTo>
                  <a:lnTo>
                    <a:pt x="292" y="84"/>
                  </a:lnTo>
                  <a:lnTo>
                    <a:pt x="294" y="84"/>
                  </a:lnTo>
                  <a:lnTo>
                    <a:pt x="294" y="84"/>
                  </a:lnTo>
                  <a:lnTo>
                    <a:pt x="294" y="86"/>
                  </a:lnTo>
                  <a:lnTo>
                    <a:pt x="292" y="86"/>
                  </a:lnTo>
                  <a:lnTo>
                    <a:pt x="292" y="89"/>
                  </a:lnTo>
                  <a:lnTo>
                    <a:pt x="296" y="89"/>
                  </a:lnTo>
                  <a:lnTo>
                    <a:pt x="297" y="91"/>
                  </a:lnTo>
                  <a:lnTo>
                    <a:pt x="301" y="93"/>
                  </a:lnTo>
                  <a:lnTo>
                    <a:pt x="303" y="91"/>
                  </a:lnTo>
                  <a:lnTo>
                    <a:pt x="304" y="93"/>
                  </a:lnTo>
                  <a:lnTo>
                    <a:pt x="306" y="91"/>
                  </a:lnTo>
                  <a:lnTo>
                    <a:pt x="309" y="93"/>
                  </a:lnTo>
                  <a:lnTo>
                    <a:pt x="314" y="91"/>
                  </a:lnTo>
                  <a:lnTo>
                    <a:pt x="316" y="91"/>
                  </a:lnTo>
                  <a:lnTo>
                    <a:pt x="318" y="89"/>
                  </a:lnTo>
                  <a:lnTo>
                    <a:pt x="320" y="88"/>
                  </a:lnTo>
                  <a:lnTo>
                    <a:pt x="321" y="88"/>
                  </a:lnTo>
                  <a:lnTo>
                    <a:pt x="318" y="84"/>
                  </a:lnTo>
                  <a:lnTo>
                    <a:pt x="318" y="82"/>
                  </a:lnTo>
                  <a:lnTo>
                    <a:pt x="321" y="82"/>
                  </a:lnTo>
                  <a:lnTo>
                    <a:pt x="320" y="79"/>
                  </a:lnTo>
                  <a:lnTo>
                    <a:pt x="323" y="79"/>
                  </a:lnTo>
                  <a:lnTo>
                    <a:pt x="323" y="77"/>
                  </a:lnTo>
                  <a:lnTo>
                    <a:pt x="325" y="77"/>
                  </a:lnTo>
                  <a:lnTo>
                    <a:pt x="325" y="76"/>
                  </a:lnTo>
                  <a:lnTo>
                    <a:pt x="332" y="77"/>
                  </a:lnTo>
                  <a:lnTo>
                    <a:pt x="332" y="74"/>
                  </a:lnTo>
                  <a:lnTo>
                    <a:pt x="335" y="72"/>
                  </a:lnTo>
                  <a:lnTo>
                    <a:pt x="335" y="70"/>
                  </a:lnTo>
                  <a:lnTo>
                    <a:pt x="337" y="70"/>
                  </a:lnTo>
                  <a:lnTo>
                    <a:pt x="337" y="67"/>
                  </a:lnTo>
                  <a:lnTo>
                    <a:pt x="345" y="69"/>
                  </a:lnTo>
                  <a:lnTo>
                    <a:pt x="352" y="74"/>
                  </a:lnTo>
                  <a:lnTo>
                    <a:pt x="354" y="76"/>
                  </a:lnTo>
                  <a:lnTo>
                    <a:pt x="357" y="74"/>
                  </a:lnTo>
                  <a:lnTo>
                    <a:pt x="359" y="76"/>
                  </a:lnTo>
                  <a:lnTo>
                    <a:pt x="359" y="76"/>
                  </a:lnTo>
                  <a:lnTo>
                    <a:pt x="357" y="72"/>
                  </a:lnTo>
                  <a:lnTo>
                    <a:pt x="359" y="72"/>
                  </a:lnTo>
                  <a:lnTo>
                    <a:pt x="362" y="74"/>
                  </a:lnTo>
                  <a:lnTo>
                    <a:pt x="362" y="74"/>
                  </a:lnTo>
                  <a:lnTo>
                    <a:pt x="362" y="72"/>
                  </a:lnTo>
                  <a:lnTo>
                    <a:pt x="366" y="72"/>
                  </a:lnTo>
                  <a:lnTo>
                    <a:pt x="366" y="72"/>
                  </a:lnTo>
                  <a:lnTo>
                    <a:pt x="367" y="76"/>
                  </a:lnTo>
                  <a:lnTo>
                    <a:pt x="366" y="77"/>
                  </a:lnTo>
                  <a:lnTo>
                    <a:pt x="364" y="77"/>
                  </a:lnTo>
                  <a:lnTo>
                    <a:pt x="364" y="77"/>
                  </a:lnTo>
                  <a:lnTo>
                    <a:pt x="366" y="79"/>
                  </a:lnTo>
                  <a:lnTo>
                    <a:pt x="367" y="82"/>
                  </a:lnTo>
                  <a:lnTo>
                    <a:pt x="367" y="81"/>
                  </a:lnTo>
                  <a:lnTo>
                    <a:pt x="369" y="81"/>
                  </a:lnTo>
                  <a:lnTo>
                    <a:pt x="369" y="81"/>
                  </a:lnTo>
                  <a:lnTo>
                    <a:pt x="369" y="82"/>
                  </a:lnTo>
                  <a:lnTo>
                    <a:pt x="367" y="82"/>
                  </a:lnTo>
                  <a:lnTo>
                    <a:pt x="371" y="84"/>
                  </a:lnTo>
                  <a:lnTo>
                    <a:pt x="374" y="82"/>
                  </a:lnTo>
                  <a:lnTo>
                    <a:pt x="373" y="84"/>
                  </a:lnTo>
                  <a:lnTo>
                    <a:pt x="374" y="86"/>
                  </a:lnTo>
                  <a:lnTo>
                    <a:pt x="373" y="86"/>
                  </a:lnTo>
                  <a:lnTo>
                    <a:pt x="374" y="88"/>
                  </a:lnTo>
                  <a:lnTo>
                    <a:pt x="373" y="89"/>
                  </a:lnTo>
                  <a:lnTo>
                    <a:pt x="373" y="89"/>
                  </a:lnTo>
                  <a:lnTo>
                    <a:pt x="378" y="89"/>
                  </a:lnTo>
                  <a:lnTo>
                    <a:pt x="379" y="93"/>
                  </a:lnTo>
                  <a:lnTo>
                    <a:pt x="379" y="93"/>
                  </a:lnTo>
                  <a:lnTo>
                    <a:pt x="378" y="94"/>
                  </a:lnTo>
                  <a:lnTo>
                    <a:pt x="379" y="96"/>
                  </a:lnTo>
                  <a:lnTo>
                    <a:pt x="379" y="100"/>
                  </a:lnTo>
                  <a:lnTo>
                    <a:pt x="379" y="100"/>
                  </a:lnTo>
                  <a:lnTo>
                    <a:pt x="381" y="101"/>
                  </a:lnTo>
                  <a:lnTo>
                    <a:pt x="379" y="105"/>
                  </a:lnTo>
                  <a:lnTo>
                    <a:pt x="379" y="110"/>
                  </a:lnTo>
                  <a:lnTo>
                    <a:pt x="378" y="115"/>
                  </a:lnTo>
                  <a:lnTo>
                    <a:pt x="378" y="122"/>
                  </a:lnTo>
                  <a:lnTo>
                    <a:pt x="378" y="122"/>
                  </a:lnTo>
                  <a:lnTo>
                    <a:pt x="359" y="111"/>
                  </a:lnTo>
                  <a:lnTo>
                    <a:pt x="340" y="101"/>
                  </a:lnTo>
                  <a:lnTo>
                    <a:pt x="335" y="98"/>
                  </a:lnTo>
                  <a:lnTo>
                    <a:pt x="328" y="96"/>
                  </a:lnTo>
                  <a:lnTo>
                    <a:pt x="330" y="103"/>
                  </a:lnTo>
                  <a:lnTo>
                    <a:pt x="330" y="106"/>
                  </a:lnTo>
                  <a:lnTo>
                    <a:pt x="332" y="106"/>
                  </a:lnTo>
                  <a:lnTo>
                    <a:pt x="332" y="108"/>
                  </a:lnTo>
                  <a:lnTo>
                    <a:pt x="328" y="118"/>
                  </a:lnTo>
                  <a:lnTo>
                    <a:pt x="328" y="118"/>
                  </a:lnTo>
                  <a:lnTo>
                    <a:pt x="328" y="123"/>
                  </a:lnTo>
                  <a:lnTo>
                    <a:pt x="328" y="123"/>
                  </a:lnTo>
                  <a:lnTo>
                    <a:pt x="330" y="127"/>
                  </a:lnTo>
                  <a:lnTo>
                    <a:pt x="328" y="130"/>
                  </a:lnTo>
                  <a:lnTo>
                    <a:pt x="328" y="134"/>
                  </a:lnTo>
                  <a:lnTo>
                    <a:pt x="325" y="134"/>
                  </a:lnTo>
                  <a:lnTo>
                    <a:pt x="323" y="137"/>
                  </a:lnTo>
                  <a:lnTo>
                    <a:pt x="321" y="141"/>
                  </a:lnTo>
                  <a:lnTo>
                    <a:pt x="320" y="144"/>
                  </a:lnTo>
                  <a:lnTo>
                    <a:pt x="321" y="144"/>
                  </a:lnTo>
                  <a:lnTo>
                    <a:pt x="321" y="146"/>
                  </a:lnTo>
                  <a:lnTo>
                    <a:pt x="318" y="151"/>
                  </a:lnTo>
                  <a:lnTo>
                    <a:pt x="314" y="151"/>
                  </a:lnTo>
                  <a:lnTo>
                    <a:pt x="314" y="154"/>
                  </a:lnTo>
                  <a:lnTo>
                    <a:pt x="313" y="158"/>
                  </a:lnTo>
                  <a:lnTo>
                    <a:pt x="309" y="159"/>
                  </a:lnTo>
                  <a:lnTo>
                    <a:pt x="309" y="158"/>
                  </a:lnTo>
                  <a:lnTo>
                    <a:pt x="308" y="158"/>
                  </a:lnTo>
                  <a:lnTo>
                    <a:pt x="308" y="159"/>
                  </a:lnTo>
                  <a:lnTo>
                    <a:pt x="304" y="163"/>
                  </a:lnTo>
                  <a:lnTo>
                    <a:pt x="303" y="170"/>
                  </a:lnTo>
                  <a:lnTo>
                    <a:pt x="301" y="176"/>
                  </a:lnTo>
                  <a:lnTo>
                    <a:pt x="289" y="170"/>
                  </a:lnTo>
                  <a:lnTo>
                    <a:pt x="285" y="176"/>
                  </a:lnTo>
                  <a:lnTo>
                    <a:pt x="284" y="176"/>
                  </a:lnTo>
                  <a:lnTo>
                    <a:pt x="285" y="180"/>
                  </a:lnTo>
                  <a:lnTo>
                    <a:pt x="284" y="187"/>
                  </a:lnTo>
                  <a:lnTo>
                    <a:pt x="284" y="192"/>
                  </a:lnTo>
                  <a:lnTo>
                    <a:pt x="282" y="192"/>
                  </a:lnTo>
                  <a:lnTo>
                    <a:pt x="280" y="192"/>
                  </a:lnTo>
                  <a:lnTo>
                    <a:pt x="275" y="21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57" name="Freeform 156"/>
            <p:cNvSpPr>
              <a:spLocks noEditPoints="1"/>
            </p:cNvSpPr>
            <p:nvPr/>
          </p:nvSpPr>
          <p:spPr bwMode="gray">
            <a:xfrm>
              <a:off x="7432426" y="3351982"/>
              <a:ext cx="623172" cy="299509"/>
            </a:xfrm>
            <a:custGeom>
              <a:avLst/>
              <a:gdLst/>
              <a:ahLst/>
              <a:cxnLst>
                <a:cxn ang="0">
                  <a:pos x="383" y="121"/>
                </a:cxn>
                <a:cxn ang="0">
                  <a:pos x="370" y="173"/>
                </a:cxn>
                <a:cxn ang="0">
                  <a:pos x="323" y="166"/>
                </a:cxn>
                <a:cxn ang="0">
                  <a:pos x="322" y="145"/>
                </a:cxn>
                <a:cxn ang="0">
                  <a:pos x="308" y="159"/>
                </a:cxn>
                <a:cxn ang="0">
                  <a:pos x="303" y="126"/>
                </a:cxn>
                <a:cxn ang="0">
                  <a:pos x="289" y="113"/>
                </a:cxn>
                <a:cxn ang="0">
                  <a:pos x="277" y="103"/>
                </a:cxn>
                <a:cxn ang="0">
                  <a:pos x="291" y="92"/>
                </a:cxn>
                <a:cxn ang="0">
                  <a:pos x="276" y="74"/>
                </a:cxn>
                <a:cxn ang="0">
                  <a:pos x="300" y="38"/>
                </a:cxn>
                <a:cxn ang="0">
                  <a:pos x="277" y="24"/>
                </a:cxn>
                <a:cxn ang="0">
                  <a:pos x="248" y="63"/>
                </a:cxn>
                <a:cxn ang="0">
                  <a:pos x="245" y="74"/>
                </a:cxn>
                <a:cxn ang="0">
                  <a:pos x="260" y="120"/>
                </a:cxn>
                <a:cxn ang="0">
                  <a:pos x="272" y="159"/>
                </a:cxn>
                <a:cxn ang="0">
                  <a:pos x="267" y="173"/>
                </a:cxn>
                <a:cxn ang="0">
                  <a:pos x="228" y="157"/>
                </a:cxn>
                <a:cxn ang="0">
                  <a:pos x="212" y="133"/>
                </a:cxn>
                <a:cxn ang="0">
                  <a:pos x="216" y="120"/>
                </a:cxn>
                <a:cxn ang="0">
                  <a:pos x="204" y="103"/>
                </a:cxn>
                <a:cxn ang="0">
                  <a:pos x="178" y="97"/>
                </a:cxn>
                <a:cxn ang="0">
                  <a:pos x="173" y="85"/>
                </a:cxn>
                <a:cxn ang="0">
                  <a:pos x="163" y="74"/>
                </a:cxn>
                <a:cxn ang="0">
                  <a:pos x="147" y="74"/>
                </a:cxn>
                <a:cxn ang="0">
                  <a:pos x="146" y="63"/>
                </a:cxn>
                <a:cxn ang="0">
                  <a:pos x="142" y="60"/>
                </a:cxn>
                <a:cxn ang="0">
                  <a:pos x="137" y="56"/>
                </a:cxn>
                <a:cxn ang="0">
                  <a:pos x="134" y="53"/>
                </a:cxn>
                <a:cxn ang="0">
                  <a:pos x="134" y="46"/>
                </a:cxn>
                <a:cxn ang="0">
                  <a:pos x="127" y="46"/>
                </a:cxn>
                <a:cxn ang="0">
                  <a:pos x="122" y="50"/>
                </a:cxn>
                <a:cxn ang="0">
                  <a:pos x="103" y="44"/>
                </a:cxn>
                <a:cxn ang="0">
                  <a:pos x="93" y="51"/>
                </a:cxn>
                <a:cxn ang="0">
                  <a:pos x="86" y="56"/>
                </a:cxn>
                <a:cxn ang="0">
                  <a:pos x="84" y="65"/>
                </a:cxn>
                <a:cxn ang="0">
                  <a:pos x="71" y="65"/>
                </a:cxn>
                <a:cxn ang="0">
                  <a:pos x="60" y="60"/>
                </a:cxn>
                <a:cxn ang="0">
                  <a:pos x="59" y="56"/>
                </a:cxn>
                <a:cxn ang="0">
                  <a:pos x="55" y="65"/>
                </a:cxn>
                <a:cxn ang="0">
                  <a:pos x="38" y="77"/>
                </a:cxn>
                <a:cxn ang="0">
                  <a:pos x="35" y="85"/>
                </a:cxn>
                <a:cxn ang="0">
                  <a:pos x="23" y="101"/>
                </a:cxn>
                <a:cxn ang="0">
                  <a:pos x="9" y="115"/>
                </a:cxn>
                <a:cxn ang="0">
                  <a:pos x="89" y="41"/>
                </a:cxn>
                <a:cxn ang="0">
                  <a:pos x="182" y="24"/>
                </a:cxn>
                <a:cxn ang="0">
                  <a:pos x="269" y="5"/>
                </a:cxn>
                <a:cxn ang="0">
                  <a:pos x="313" y="60"/>
                </a:cxn>
                <a:cxn ang="0">
                  <a:pos x="270" y="91"/>
                </a:cxn>
                <a:cxn ang="0">
                  <a:pos x="269" y="103"/>
                </a:cxn>
                <a:cxn ang="0">
                  <a:pos x="276" y="91"/>
                </a:cxn>
                <a:cxn ang="0">
                  <a:pos x="385" y="121"/>
                </a:cxn>
                <a:cxn ang="0">
                  <a:pos x="385" y="135"/>
                </a:cxn>
              </a:cxnLst>
              <a:rect l="0" t="0" r="r" b="b"/>
              <a:pathLst>
                <a:path w="387" h="186">
                  <a:moveTo>
                    <a:pt x="329" y="111"/>
                  </a:moveTo>
                  <a:lnTo>
                    <a:pt x="330" y="121"/>
                  </a:lnTo>
                  <a:lnTo>
                    <a:pt x="334" y="132"/>
                  </a:lnTo>
                  <a:lnTo>
                    <a:pt x="361" y="126"/>
                  </a:lnTo>
                  <a:lnTo>
                    <a:pt x="383" y="121"/>
                  </a:lnTo>
                  <a:lnTo>
                    <a:pt x="380" y="132"/>
                  </a:lnTo>
                  <a:lnTo>
                    <a:pt x="382" y="142"/>
                  </a:lnTo>
                  <a:lnTo>
                    <a:pt x="375" y="150"/>
                  </a:lnTo>
                  <a:lnTo>
                    <a:pt x="368" y="168"/>
                  </a:lnTo>
                  <a:lnTo>
                    <a:pt x="370" y="173"/>
                  </a:lnTo>
                  <a:lnTo>
                    <a:pt x="349" y="179"/>
                  </a:lnTo>
                  <a:lnTo>
                    <a:pt x="349" y="183"/>
                  </a:lnTo>
                  <a:lnTo>
                    <a:pt x="330" y="185"/>
                  </a:lnTo>
                  <a:lnTo>
                    <a:pt x="335" y="171"/>
                  </a:lnTo>
                  <a:lnTo>
                    <a:pt x="323" y="166"/>
                  </a:lnTo>
                  <a:lnTo>
                    <a:pt x="327" y="159"/>
                  </a:lnTo>
                  <a:lnTo>
                    <a:pt x="325" y="157"/>
                  </a:lnTo>
                  <a:lnTo>
                    <a:pt x="330" y="154"/>
                  </a:lnTo>
                  <a:lnTo>
                    <a:pt x="322" y="156"/>
                  </a:lnTo>
                  <a:lnTo>
                    <a:pt x="322" y="145"/>
                  </a:lnTo>
                  <a:lnTo>
                    <a:pt x="320" y="144"/>
                  </a:lnTo>
                  <a:lnTo>
                    <a:pt x="317" y="156"/>
                  </a:lnTo>
                  <a:lnTo>
                    <a:pt x="313" y="156"/>
                  </a:lnTo>
                  <a:lnTo>
                    <a:pt x="310" y="152"/>
                  </a:lnTo>
                  <a:lnTo>
                    <a:pt x="308" y="159"/>
                  </a:lnTo>
                  <a:lnTo>
                    <a:pt x="286" y="145"/>
                  </a:lnTo>
                  <a:lnTo>
                    <a:pt x="284" y="140"/>
                  </a:lnTo>
                  <a:lnTo>
                    <a:pt x="291" y="132"/>
                  </a:lnTo>
                  <a:lnTo>
                    <a:pt x="286" y="126"/>
                  </a:lnTo>
                  <a:lnTo>
                    <a:pt x="303" y="126"/>
                  </a:lnTo>
                  <a:lnTo>
                    <a:pt x="303" y="120"/>
                  </a:lnTo>
                  <a:lnTo>
                    <a:pt x="301" y="123"/>
                  </a:lnTo>
                  <a:lnTo>
                    <a:pt x="300" y="123"/>
                  </a:lnTo>
                  <a:lnTo>
                    <a:pt x="293" y="113"/>
                  </a:lnTo>
                  <a:lnTo>
                    <a:pt x="289" y="113"/>
                  </a:lnTo>
                  <a:lnTo>
                    <a:pt x="284" y="109"/>
                  </a:lnTo>
                  <a:lnTo>
                    <a:pt x="281" y="109"/>
                  </a:lnTo>
                  <a:lnTo>
                    <a:pt x="276" y="120"/>
                  </a:lnTo>
                  <a:lnTo>
                    <a:pt x="274" y="118"/>
                  </a:lnTo>
                  <a:lnTo>
                    <a:pt x="277" y="103"/>
                  </a:lnTo>
                  <a:lnTo>
                    <a:pt x="286" y="108"/>
                  </a:lnTo>
                  <a:lnTo>
                    <a:pt x="288" y="104"/>
                  </a:lnTo>
                  <a:lnTo>
                    <a:pt x="289" y="94"/>
                  </a:lnTo>
                  <a:lnTo>
                    <a:pt x="293" y="92"/>
                  </a:lnTo>
                  <a:lnTo>
                    <a:pt x="291" y="92"/>
                  </a:lnTo>
                  <a:lnTo>
                    <a:pt x="289" y="87"/>
                  </a:lnTo>
                  <a:lnTo>
                    <a:pt x="289" y="91"/>
                  </a:lnTo>
                  <a:lnTo>
                    <a:pt x="281" y="85"/>
                  </a:lnTo>
                  <a:lnTo>
                    <a:pt x="284" y="70"/>
                  </a:lnTo>
                  <a:lnTo>
                    <a:pt x="276" y="74"/>
                  </a:lnTo>
                  <a:lnTo>
                    <a:pt x="274" y="70"/>
                  </a:lnTo>
                  <a:lnTo>
                    <a:pt x="274" y="62"/>
                  </a:lnTo>
                  <a:lnTo>
                    <a:pt x="281" y="48"/>
                  </a:lnTo>
                  <a:lnTo>
                    <a:pt x="286" y="43"/>
                  </a:lnTo>
                  <a:lnTo>
                    <a:pt x="300" y="38"/>
                  </a:lnTo>
                  <a:lnTo>
                    <a:pt x="289" y="38"/>
                  </a:lnTo>
                  <a:lnTo>
                    <a:pt x="289" y="29"/>
                  </a:lnTo>
                  <a:lnTo>
                    <a:pt x="286" y="24"/>
                  </a:lnTo>
                  <a:lnTo>
                    <a:pt x="281" y="21"/>
                  </a:lnTo>
                  <a:lnTo>
                    <a:pt x="277" y="24"/>
                  </a:lnTo>
                  <a:lnTo>
                    <a:pt x="276" y="39"/>
                  </a:lnTo>
                  <a:lnTo>
                    <a:pt x="270" y="44"/>
                  </a:lnTo>
                  <a:lnTo>
                    <a:pt x="259" y="44"/>
                  </a:lnTo>
                  <a:lnTo>
                    <a:pt x="259" y="62"/>
                  </a:lnTo>
                  <a:lnTo>
                    <a:pt x="248" y="63"/>
                  </a:lnTo>
                  <a:lnTo>
                    <a:pt x="241" y="63"/>
                  </a:lnTo>
                  <a:lnTo>
                    <a:pt x="245" y="65"/>
                  </a:lnTo>
                  <a:lnTo>
                    <a:pt x="245" y="68"/>
                  </a:lnTo>
                  <a:lnTo>
                    <a:pt x="243" y="72"/>
                  </a:lnTo>
                  <a:lnTo>
                    <a:pt x="245" y="74"/>
                  </a:lnTo>
                  <a:lnTo>
                    <a:pt x="247" y="68"/>
                  </a:lnTo>
                  <a:lnTo>
                    <a:pt x="260" y="75"/>
                  </a:lnTo>
                  <a:lnTo>
                    <a:pt x="260" y="97"/>
                  </a:lnTo>
                  <a:lnTo>
                    <a:pt x="257" y="115"/>
                  </a:lnTo>
                  <a:lnTo>
                    <a:pt x="260" y="120"/>
                  </a:lnTo>
                  <a:lnTo>
                    <a:pt x="265" y="138"/>
                  </a:lnTo>
                  <a:lnTo>
                    <a:pt x="279" y="150"/>
                  </a:lnTo>
                  <a:lnTo>
                    <a:pt x="277" y="156"/>
                  </a:lnTo>
                  <a:lnTo>
                    <a:pt x="277" y="159"/>
                  </a:lnTo>
                  <a:lnTo>
                    <a:pt x="272" y="159"/>
                  </a:lnTo>
                  <a:lnTo>
                    <a:pt x="267" y="150"/>
                  </a:lnTo>
                  <a:lnTo>
                    <a:pt x="257" y="149"/>
                  </a:lnTo>
                  <a:lnTo>
                    <a:pt x="286" y="169"/>
                  </a:lnTo>
                  <a:lnTo>
                    <a:pt x="291" y="186"/>
                  </a:lnTo>
                  <a:lnTo>
                    <a:pt x="267" y="173"/>
                  </a:lnTo>
                  <a:lnTo>
                    <a:pt x="252" y="174"/>
                  </a:lnTo>
                  <a:lnTo>
                    <a:pt x="240" y="159"/>
                  </a:lnTo>
                  <a:lnTo>
                    <a:pt x="238" y="169"/>
                  </a:lnTo>
                  <a:lnTo>
                    <a:pt x="231" y="168"/>
                  </a:lnTo>
                  <a:lnTo>
                    <a:pt x="228" y="157"/>
                  </a:lnTo>
                  <a:lnTo>
                    <a:pt x="211" y="164"/>
                  </a:lnTo>
                  <a:lnTo>
                    <a:pt x="207" y="162"/>
                  </a:lnTo>
                  <a:lnTo>
                    <a:pt x="204" y="156"/>
                  </a:lnTo>
                  <a:lnTo>
                    <a:pt x="212" y="137"/>
                  </a:lnTo>
                  <a:lnTo>
                    <a:pt x="212" y="133"/>
                  </a:lnTo>
                  <a:lnTo>
                    <a:pt x="214" y="130"/>
                  </a:lnTo>
                  <a:lnTo>
                    <a:pt x="214" y="128"/>
                  </a:lnTo>
                  <a:lnTo>
                    <a:pt x="217" y="128"/>
                  </a:lnTo>
                  <a:lnTo>
                    <a:pt x="217" y="126"/>
                  </a:lnTo>
                  <a:lnTo>
                    <a:pt x="216" y="120"/>
                  </a:lnTo>
                  <a:lnTo>
                    <a:pt x="224" y="108"/>
                  </a:lnTo>
                  <a:lnTo>
                    <a:pt x="216" y="101"/>
                  </a:lnTo>
                  <a:lnTo>
                    <a:pt x="212" y="97"/>
                  </a:lnTo>
                  <a:lnTo>
                    <a:pt x="207" y="106"/>
                  </a:lnTo>
                  <a:lnTo>
                    <a:pt x="204" y="103"/>
                  </a:lnTo>
                  <a:lnTo>
                    <a:pt x="197" y="103"/>
                  </a:lnTo>
                  <a:lnTo>
                    <a:pt x="194" y="97"/>
                  </a:lnTo>
                  <a:lnTo>
                    <a:pt x="188" y="96"/>
                  </a:lnTo>
                  <a:lnTo>
                    <a:pt x="185" y="96"/>
                  </a:lnTo>
                  <a:lnTo>
                    <a:pt x="178" y="97"/>
                  </a:lnTo>
                  <a:lnTo>
                    <a:pt x="176" y="96"/>
                  </a:lnTo>
                  <a:lnTo>
                    <a:pt x="175" y="94"/>
                  </a:lnTo>
                  <a:lnTo>
                    <a:pt x="171" y="92"/>
                  </a:lnTo>
                  <a:lnTo>
                    <a:pt x="170" y="89"/>
                  </a:lnTo>
                  <a:lnTo>
                    <a:pt x="173" y="85"/>
                  </a:lnTo>
                  <a:lnTo>
                    <a:pt x="173" y="80"/>
                  </a:lnTo>
                  <a:lnTo>
                    <a:pt x="173" y="80"/>
                  </a:lnTo>
                  <a:lnTo>
                    <a:pt x="170" y="79"/>
                  </a:lnTo>
                  <a:lnTo>
                    <a:pt x="166" y="77"/>
                  </a:lnTo>
                  <a:lnTo>
                    <a:pt x="163" y="74"/>
                  </a:lnTo>
                  <a:lnTo>
                    <a:pt x="159" y="75"/>
                  </a:lnTo>
                  <a:lnTo>
                    <a:pt x="154" y="74"/>
                  </a:lnTo>
                  <a:lnTo>
                    <a:pt x="149" y="75"/>
                  </a:lnTo>
                  <a:lnTo>
                    <a:pt x="147" y="74"/>
                  </a:lnTo>
                  <a:lnTo>
                    <a:pt x="147" y="74"/>
                  </a:lnTo>
                  <a:lnTo>
                    <a:pt x="147" y="70"/>
                  </a:lnTo>
                  <a:lnTo>
                    <a:pt x="146" y="68"/>
                  </a:lnTo>
                  <a:lnTo>
                    <a:pt x="147" y="67"/>
                  </a:lnTo>
                  <a:lnTo>
                    <a:pt x="147" y="67"/>
                  </a:lnTo>
                  <a:lnTo>
                    <a:pt x="146" y="63"/>
                  </a:lnTo>
                  <a:lnTo>
                    <a:pt x="141" y="63"/>
                  </a:lnTo>
                  <a:lnTo>
                    <a:pt x="141" y="63"/>
                  </a:lnTo>
                  <a:lnTo>
                    <a:pt x="142" y="62"/>
                  </a:lnTo>
                  <a:lnTo>
                    <a:pt x="141" y="60"/>
                  </a:lnTo>
                  <a:lnTo>
                    <a:pt x="142" y="60"/>
                  </a:lnTo>
                  <a:lnTo>
                    <a:pt x="141" y="58"/>
                  </a:lnTo>
                  <a:lnTo>
                    <a:pt x="142" y="56"/>
                  </a:lnTo>
                  <a:lnTo>
                    <a:pt x="139" y="58"/>
                  </a:lnTo>
                  <a:lnTo>
                    <a:pt x="135" y="56"/>
                  </a:lnTo>
                  <a:lnTo>
                    <a:pt x="137" y="56"/>
                  </a:lnTo>
                  <a:lnTo>
                    <a:pt x="137" y="55"/>
                  </a:lnTo>
                  <a:lnTo>
                    <a:pt x="137" y="55"/>
                  </a:lnTo>
                  <a:lnTo>
                    <a:pt x="135" y="55"/>
                  </a:lnTo>
                  <a:lnTo>
                    <a:pt x="135" y="56"/>
                  </a:lnTo>
                  <a:lnTo>
                    <a:pt x="134" y="53"/>
                  </a:lnTo>
                  <a:lnTo>
                    <a:pt x="132" y="51"/>
                  </a:lnTo>
                  <a:lnTo>
                    <a:pt x="132" y="51"/>
                  </a:lnTo>
                  <a:lnTo>
                    <a:pt x="134" y="51"/>
                  </a:lnTo>
                  <a:lnTo>
                    <a:pt x="135" y="50"/>
                  </a:lnTo>
                  <a:lnTo>
                    <a:pt x="134" y="46"/>
                  </a:lnTo>
                  <a:lnTo>
                    <a:pt x="134" y="46"/>
                  </a:lnTo>
                  <a:lnTo>
                    <a:pt x="130" y="46"/>
                  </a:lnTo>
                  <a:lnTo>
                    <a:pt x="130" y="48"/>
                  </a:lnTo>
                  <a:lnTo>
                    <a:pt x="130" y="48"/>
                  </a:lnTo>
                  <a:lnTo>
                    <a:pt x="127" y="46"/>
                  </a:lnTo>
                  <a:lnTo>
                    <a:pt x="125" y="46"/>
                  </a:lnTo>
                  <a:lnTo>
                    <a:pt x="127" y="50"/>
                  </a:lnTo>
                  <a:lnTo>
                    <a:pt x="127" y="50"/>
                  </a:lnTo>
                  <a:lnTo>
                    <a:pt x="125" y="48"/>
                  </a:lnTo>
                  <a:lnTo>
                    <a:pt x="122" y="50"/>
                  </a:lnTo>
                  <a:lnTo>
                    <a:pt x="120" y="48"/>
                  </a:lnTo>
                  <a:lnTo>
                    <a:pt x="113" y="43"/>
                  </a:lnTo>
                  <a:lnTo>
                    <a:pt x="105" y="41"/>
                  </a:lnTo>
                  <a:lnTo>
                    <a:pt x="105" y="44"/>
                  </a:lnTo>
                  <a:lnTo>
                    <a:pt x="103" y="44"/>
                  </a:lnTo>
                  <a:lnTo>
                    <a:pt x="103" y="46"/>
                  </a:lnTo>
                  <a:lnTo>
                    <a:pt x="100" y="48"/>
                  </a:lnTo>
                  <a:lnTo>
                    <a:pt x="100" y="51"/>
                  </a:lnTo>
                  <a:lnTo>
                    <a:pt x="93" y="50"/>
                  </a:lnTo>
                  <a:lnTo>
                    <a:pt x="93" y="51"/>
                  </a:lnTo>
                  <a:lnTo>
                    <a:pt x="91" y="51"/>
                  </a:lnTo>
                  <a:lnTo>
                    <a:pt x="91" y="53"/>
                  </a:lnTo>
                  <a:lnTo>
                    <a:pt x="88" y="53"/>
                  </a:lnTo>
                  <a:lnTo>
                    <a:pt x="89" y="56"/>
                  </a:lnTo>
                  <a:lnTo>
                    <a:pt x="86" y="56"/>
                  </a:lnTo>
                  <a:lnTo>
                    <a:pt x="86" y="58"/>
                  </a:lnTo>
                  <a:lnTo>
                    <a:pt x="89" y="62"/>
                  </a:lnTo>
                  <a:lnTo>
                    <a:pt x="88" y="62"/>
                  </a:lnTo>
                  <a:lnTo>
                    <a:pt x="86" y="63"/>
                  </a:lnTo>
                  <a:lnTo>
                    <a:pt x="84" y="65"/>
                  </a:lnTo>
                  <a:lnTo>
                    <a:pt x="82" y="65"/>
                  </a:lnTo>
                  <a:lnTo>
                    <a:pt x="77" y="67"/>
                  </a:lnTo>
                  <a:lnTo>
                    <a:pt x="74" y="65"/>
                  </a:lnTo>
                  <a:lnTo>
                    <a:pt x="72" y="67"/>
                  </a:lnTo>
                  <a:lnTo>
                    <a:pt x="71" y="65"/>
                  </a:lnTo>
                  <a:lnTo>
                    <a:pt x="69" y="67"/>
                  </a:lnTo>
                  <a:lnTo>
                    <a:pt x="65" y="65"/>
                  </a:lnTo>
                  <a:lnTo>
                    <a:pt x="64" y="63"/>
                  </a:lnTo>
                  <a:lnTo>
                    <a:pt x="60" y="63"/>
                  </a:lnTo>
                  <a:lnTo>
                    <a:pt x="60" y="60"/>
                  </a:lnTo>
                  <a:lnTo>
                    <a:pt x="62" y="60"/>
                  </a:lnTo>
                  <a:lnTo>
                    <a:pt x="62" y="58"/>
                  </a:lnTo>
                  <a:lnTo>
                    <a:pt x="62" y="58"/>
                  </a:lnTo>
                  <a:lnTo>
                    <a:pt x="60" y="58"/>
                  </a:lnTo>
                  <a:lnTo>
                    <a:pt x="59" y="56"/>
                  </a:lnTo>
                  <a:lnTo>
                    <a:pt x="57" y="58"/>
                  </a:lnTo>
                  <a:lnTo>
                    <a:pt x="57" y="60"/>
                  </a:lnTo>
                  <a:lnTo>
                    <a:pt x="55" y="63"/>
                  </a:lnTo>
                  <a:lnTo>
                    <a:pt x="57" y="65"/>
                  </a:lnTo>
                  <a:lnTo>
                    <a:pt x="55" y="65"/>
                  </a:lnTo>
                  <a:lnTo>
                    <a:pt x="53" y="70"/>
                  </a:lnTo>
                  <a:lnTo>
                    <a:pt x="48" y="79"/>
                  </a:lnTo>
                  <a:lnTo>
                    <a:pt x="47" y="80"/>
                  </a:lnTo>
                  <a:lnTo>
                    <a:pt x="40" y="77"/>
                  </a:lnTo>
                  <a:lnTo>
                    <a:pt x="38" y="77"/>
                  </a:lnTo>
                  <a:lnTo>
                    <a:pt x="38" y="79"/>
                  </a:lnTo>
                  <a:lnTo>
                    <a:pt x="35" y="79"/>
                  </a:lnTo>
                  <a:lnTo>
                    <a:pt x="36" y="80"/>
                  </a:lnTo>
                  <a:lnTo>
                    <a:pt x="36" y="82"/>
                  </a:lnTo>
                  <a:lnTo>
                    <a:pt x="35" y="85"/>
                  </a:lnTo>
                  <a:lnTo>
                    <a:pt x="33" y="85"/>
                  </a:lnTo>
                  <a:lnTo>
                    <a:pt x="33" y="89"/>
                  </a:lnTo>
                  <a:lnTo>
                    <a:pt x="24" y="94"/>
                  </a:lnTo>
                  <a:lnTo>
                    <a:pt x="24" y="97"/>
                  </a:lnTo>
                  <a:lnTo>
                    <a:pt x="23" y="101"/>
                  </a:lnTo>
                  <a:lnTo>
                    <a:pt x="19" y="103"/>
                  </a:lnTo>
                  <a:lnTo>
                    <a:pt x="16" y="104"/>
                  </a:lnTo>
                  <a:lnTo>
                    <a:pt x="12" y="111"/>
                  </a:lnTo>
                  <a:lnTo>
                    <a:pt x="11" y="111"/>
                  </a:lnTo>
                  <a:lnTo>
                    <a:pt x="9" y="115"/>
                  </a:lnTo>
                  <a:lnTo>
                    <a:pt x="0" y="58"/>
                  </a:lnTo>
                  <a:lnTo>
                    <a:pt x="7" y="56"/>
                  </a:lnTo>
                  <a:lnTo>
                    <a:pt x="45" y="50"/>
                  </a:lnTo>
                  <a:lnTo>
                    <a:pt x="53" y="48"/>
                  </a:lnTo>
                  <a:lnTo>
                    <a:pt x="89" y="41"/>
                  </a:lnTo>
                  <a:lnTo>
                    <a:pt x="93" y="41"/>
                  </a:lnTo>
                  <a:lnTo>
                    <a:pt x="112" y="38"/>
                  </a:lnTo>
                  <a:lnTo>
                    <a:pt x="161" y="27"/>
                  </a:lnTo>
                  <a:lnTo>
                    <a:pt x="163" y="27"/>
                  </a:lnTo>
                  <a:lnTo>
                    <a:pt x="182" y="24"/>
                  </a:lnTo>
                  <a:lnTo>
                    <a:pt x="200" y="21"/>
                  </a:lnTo>
                  <a:lnTo>
                    <a:pt x="217" y="17"/>
                  </a:lnTo>
                  <a:lnTo>
                    <a:pt x="235" y="14"/>
                  </a:lnTo>
                  <a:lnTo>
                    <a:pt x="262" y="7"/>
                  </a:lnTo>
                  <a:lnTo>
                    <a:pt x="269" y="5"/>
                  </a:lnTo>
                  <a:lnTo>
                    <a:pt x="296" y="0"/>
                  </a:lnTo>
                  <a:lnTo>
                    <a:pt x="306" y="36"/>
                  </a:lnTo>
                  <a:lnTo>
                    <a:pt x="308" y="44"/>
                  </a:lnTo>
                  <a:lnTo>
                    <a:pt x="310" y="50"/>
                  </a:lnTo>
                  <a:lnTo>
                    <a:pt x="313" y="60"/>
                  </a:lnTo>
                  <a:lnTo>
                    <a:pt x="322" y="92"/>
                  </a:lnTo>
                  <a:lnTo>
                    <a:pt x="329" y="111"/>
                  </a:lnTo>
                  <a:close/>
                  <a:moveTo>
                    <a:pt x="274" y="94"/>
                  </a:moveTo>
                  <a:lnTo>
                    <a:pt x="274" y="89"/>
                  </a:lnTo>
                  <a:lnTo>
                    <a:pt x="270" y="91"/>
                  </a:lnTo>
                  <a:lnTo>
                    <a:pt x="272" y="91"/>
                  </a:lnTo>
                  <a:lnTo>
                    <a:pt x="272" y="94"/>
                  </a:lnTo>
                  <a:lnTo>
                    <a:pt x="270" y="94"/>
                  </a:lnTo>
                  <a:lnTo>
                    <a:pt x="272" y="99"/>
                  </a:lnTo>
                  <a:lnTo>
                    <a:pt x="269" y="103"/>
                  </a:lnTo>
                  <a:lnTo>
                    <a:pt x="269" y="91"/>
                  </a:lnTo>
                  <a:lnTo>
                    <a:pt x="270" y="80"/>
                  </a:lnTo>
                  <a:lnTo>
                    <a:pt x="277" y="87"/>
                  </a:lnTo>
                  <a:lnTo>
                    <a:pt x="277" y="92"/>
                  </a:lnTo>
                  <a:lnTo>
                    <a:pt x="276" y="91"/>
                  </a:lnTo>
                  <a:lnTo>
                    <a:pt x="274" y="94"/>
                  </a:lnTo>
                  <a:close/>
                  <a:moveTo>
                    <a:pt x="385" y="121"/>
                  </a:moveTo>
                  <a:lnTo>
                    <a:pt x="387" y="121"/>
                  </a:lnTo>
                  <a:lnTo>
                    <a:pt x="387" y="135"/>
                  </a:lnTo>
                  <a:lnTo>
                    <a:pt x="385" y="121"/>
                  </a:lnTo>
                  <a:close/>
                  <a:moveTo>
                    <a:pt x="378" y="169"/>
                  </a:moveTo>
                  <a:lnTo>
                    <a:pt x="380" y="168"/>
                  </a:lnTo>
                  <a:lnTo>
                    <a:pt x="382" y="161"/>
                  </a:lnTo>
                  <a:lnTo>
                    <a:pt x="383" y="149"/>
                  </a:lnTo>
                  <a:lnTo>
                    <a:pt x="385" y="135"/>
                  </a:lnTo>
                  <a:lnTo>
                    <a:pt x="383" y="157"/>
                  </a:lnTo>
                  <a:lnTo>
                    <a:pt x="380" y="169"/>
                  </a:lnTo>
                  <a:lnTo>
                    <a:pt x="378" y="169"/>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58" name="Freeform 157"/>
            <p:cNvSpPr>
              <a:spLocks/>
            </p:cNvSpPr>
            <p:nvPr/>
          </p:nvSpPr>
          <p:spPr bwMode="gray">
            <a:xfrm>
              <a:off x="3484064" y="3297232"/>
              <a:ext cx="998362" cy="787418"/>
            </a:xfrm>
            <a:custGeom>
              <a:avLst/>
              <a:gdLst/>
              <a:ahLst/>
              <a:cxnLst>
                <a:cxn ang="0">
                  <a:pos x="596" y="419"/>
                </a:cxn>
                <a:cxn ang="0">
                  <a:pos x="595" y="446"/>
                </a:cxn>
                <a:cxn ang="0">
                  <a:pos x="593" y="489"/>
                </a:cxn>
                <a:cxn ang="0">
                  <a:pos x="511" y="482"/>
                </a:cxn>
                <a:cxn ang="0">
                  <a:pos x="504" y="482"/>
                </a:cxn>
                <a:cxn ang="0">
                  <a:pos x="427" y="475"/>
                </a:cxn>
                <a:cxn ang="0">
                  <a:pos x="330" y="466"/>
                </a:cxn>
                <a:cxn ang="0">
                  <a:pos x="325" y="466"/>
                </a:cxn>
                <a:cxn ang="0">
                  <a:pos x="282" y="461"/>
                </a:cxn>
                <a:cxn ang="0">
                  <a:pos x="258" y="460"/>
                </a:cxn>
                <a:cxn ang="0">
                  <a:pos x="217" y="456"/>
                </a:cxn>
                <a:cxn ang="0">
                  <a:pos x="184" y="453"/>
                </a:cxn>
                <a:cxn ang="0">
                  <a:pos x="183" y="451"/>
                </a:cxn>
                <a:cxn ang="0">
                  <a:pos x="138" y="446"/>
                </a:cxn>
                <a:cxn ang="0">
                  <a:pos x="133" y="444"/>
                </a:cxn>
                <a:cxn ang="0">
                  <a:pos x="56" y="436"/>
                </a:cxn>
                <a:cxn ang="0">
                  <a:pos x="0" y="427"/>
                </a:cxn>
                <a:cxn ang="0">
                  <a:pos x="10" y="360"/>
                </a:cxn>
                <a:cxn ang="0">
                  <a:pos x="14" y="333"/>
                </a:cxn>
                <a:cxn ang="0">
                  <a:pos x="17" y="304"/>
                </a:cxn>
                <a:cxn ang="0">
                  <a:pos x="19" y="294"/>
                </a:cxn>
                <a:cxn ang="0">
                  <a:pos x="22" y="268"/>
                </a:cxn>
                <a:cxn ang="0">
                  <a:pos x="34" y="174"/>
                </a:cxn>
                <a:cxn ang="0">
                  <a:pos x="37" y="157"/>
                </a:cxn>
                <a:cxn ang="0">
                  <a:pos x="39" y="143"/>
                </a:cxn>
                <a:cxn ang="0">
                  <a:pos x="48" y="84"/>
                </a:cxn>
                <a:cxn ang="0">
                  <a:pos x="55" y="36"/>
                </a:cxn>
                <a:cxn ang="0">
                  <a:pos x="60" y="0"/>
                </a:cxn>
                <a:cxn ang="0">
                  <a:pos x="150" y="10"/>
                </a:cxn>
                <a:cxn ang="0">
                  <a:pos x="198" y="17"/>
                </a:cxn>
                <a:cxn ang="0">
                  <a:pos x="234" y="22"/>
                </a:cxn>
                <a:cxn ang="0">
                  <a:pos x="277" y="25"/>
                </a:cxn>
                <a:cxn ang="0">
                  <a:pos x="287" y="27"/>
                </a:cxn>
                <a:cxn ang="0">
                  <a:pos x="360" y="36"/>
                </a:cxn>
                <a:cxn ang="0">
                  <a:pos x="388" y="37"/>
                </a:cxn>
                <a:cxn ang="0">
                  <a:pos x="460" y="44"/>
                </a:cxn>
                <a:cxn ang="0">
                  <a:pos x="497" y="48"/>
                </a:cxn>
                <a:cxn ang="0">
                  <a:pos x="513" y="48"/>
                </a:cxn>
                <a:cxn ang="0">
                  <a:pos x="571" y="53"/>
                </a:cxn>
                <a:cxn ang="0">
                  <a:pos x="574" y="53"/>
                </a:cxn>
                <a:cxn ang="0">
                  <a:pos x="620" y="56"/>
                </a:cxn>
                <a:cxn ang="0">
                  <a:pos x="619" y="84"/>
                </a:cxn>
                <a:cxn ang="0">
                  <a:pos x="617" y="89"/>
                </a:cxn>
                <a:cxn ang="0">
                  <a:pos x="615" y="118"/>
                </a:cxn>
                <a:cxn ang="0">
                  <a:pos x="615" y="126"/>
                </a:cxn>
                <a:cxn ang="0">
                  <a:pos x="612" y="164"/>
                </a:cxn>
                <a:cxn ang="0">
                  <a:pos x="610" y="210"/>
                </a:cxn>
                <a:cxn ang="0">
                  <a:pos x="610" y="210"/>
                </a:cxn>
                <a:cxn ang="0">
                  <a:pos x="607" y="258"/>
                </a:cxn>
                <a:cxn ang="0">
                  <a:pos x="607" y="268"/>
                </a:cxn>
                <a:cxn ang="0">
                  <a:pos x="603" y="304"/>
                </a:cxn>
                <a:cxn ang="0">
                  <a:pos x="603" y="313"/>
                </a:cxn>
                <a:cxn ang="0">
                  <a:pos x="601" y="350"/>
                </a:cxn>
                <a:cxn ang="0">
                  <a:pos x="601" y="352"/>
                </a:cxn>
                <a:cxn ang="0">
                  <a:pos x="598" y="408"/>
                </a:cxn>
                <a:cxn ang="0">
                  <a:pos x="596" y="419"/>
                </a:cxn>
              </a:cxnLst>
              <a:rect l="0" t="0" r="r" b="b"/>
              <a:pathLst>
                <a:path w="620" h="489">
                  <a:moveTo>
                    <a:pt x="596" y="419"/>
                  </a:moveTo>
                  <a:lnTo>
                    <a:pt x="595" y="446"/>
                  </a:lnTo>
                  <a:lnTo>
                    <a:pt x="593" y="489"/>
                  </a:lnTo>
                  <a:lnTo>
                    <a:pt x="511" y="482"/>
                  </a:lnTo>
                  <a:lnTo>
                    <a:pt x="504" y="482"/>
                  </a:lnTo>
                  <a:lnTo>
                    <a:pt x="427" y="475"/>
                  </a:lnTo>
                  <a:lnTo>
                    <a:pt x="330" y="466"/>
                  </a:lnTo>
                  <a:lnTo>
                    <a:pt x="325" y="466"/>
                  </a:lnTo>
                  <a:lnTo>
                    <a:pt x="282" y="461"/>
                  </a:lnTo>
                  <a:lnTo>
                    <a:pt x="258" y="460"/>
                  </a:lnTo>
                  <a:lnTo>
                    <a:pt x="217" y="456"/>
                  </a:lnTo>
                  <a:lnTo>
                    <a:pt x="184" y="453"/>
                  </a:lnTo>
                  <a:lnTo>
                    <a:pt x="183" y="451"/>
                  </a:lnTo>
                  <a:lnTo>
                    <a:pt x="138" y="446"/>
                  </a:lnTo>
                  <a:lnTo>
                    <a:pt x="133" y="444"/>
                  </a:lnTo>
                  <a:lnTo>
                    <a:pt x="56" y="436"/>
                  </a:lnTo>
                  <a:lnTo>
                    <a:pt x="0" y="427"/>
                  </a:lnTo>
                  <a:lnTo>
                    <a:pt x="10" y="360"/>
                  </a:lnTo>
                  <a:lnTo>
                    <a:pt x="14" y="333"/>
                  </a:lnTo>
                  <a:lnTo>
                    <a:pt x="17" y="304"/>
                  </a:lnTo>
                  <a:lnTo>
                    <a:pt x="19" y="294"/>
                  </a:lnTo>
                  <a:lnTo>
                    <a:pt x="22" y="268"/>
                  </a:lnTo>
                  <a:lnTo>
                    <a:pt x="34" y="174"/>
                  </a:lnTo>
                  <a:lnTo>
                    <a:pt x="37" y="157"/>
                  </a:lnTo>
                  <a:lnTo>
                    <a:pt x="39" y="143"/>
                  </a:lnTo>
                  <a:lnTo>
                    <a:pt x="48" y="84"/>
                  </a:lnTo>
                  <a:lnTo>
                    <a:pt x="55" y="36"/>
                  </a:lnTo>
                  <a:lnTo>
                    <a:pt x="60" y="0"/>
                  </a:lnTo>
                  <a:lnTo>
                    <a:pt x="150" y="10"/>
                  </a:lnTo>
                  <a:lnTo>
                    <a:pt x="198" y="17"/>
                  </a:lnTo>
                  <a:lnTo>
                    <a:pt x="234" y="22"/>
                  </a:lnTo>
                  <a:lnTo>
                    <a:pt x="277" y="25"/>
                  </a:lnTo>
                  <a:lnTo>
                    <a:pt x="287" y="27"/>
                  </a:lnTo>
                  <a:lnTo>
                    <a:pt x="360" y="36"/>
                  </a:lnTo>
                  <a:lnTo>
                    <a:pt x="388" y="37"/>
                  </a:lnTo>
                  <a:lnTo>
                    <a:pt x="460" y="44"/>
                  </a:lnTo>
                  <a:lnTo>
                    <a:pt x="497" y="48"/>
                  </a:lnTo>
                  <a:lnTo>
                    <a:pt x="513" y="48"/>
                  </a:lnTo>
                  <a:lnTo>
                    <a:pt x="571" y="53"/>
                  </a:lnTo>
                  <a:lnTo>
                    <a:pt x="574" y="53"/>
                  </a:lnTo>
                  <a:lnTo>
                    <a:pt x="620" y="56"/>
                  </a:lnTo>
                  <a:lnTo>
                    <a:pt x="619" y="84"/>
                  </a:lnTo>
                  <a:lnTo>
                    <a:pt x="617" y="89"/>
                  </a:lnTo>
                  <a:lnTo>
                    <a:pt x="615" y="118"/>
                  </a:lnTo>
                  <a:lnTo>
                    <a:pt x="615" y="126"/>
                  </a:lnTo>
                  <a:lnTo>
                    <a:pt x="612" y="164"/>
                  </a:lnTo>
                  <a:lnTo>
                    <a:pt x="610" y="210"/>
                  </a:lnTo>
                  <a:lnTo>
                    <a:pt x="610" y="210"/>
                  </a:lnTo>
                  <a:lnTo>
                    <a:pt x="607" y="258"/>
                  </a:lnTo>
                  <a:lnTo>
                    <a:pt x="607" y="268"/>
                  </a:lnTo>
                  <a:lnTo>
                    <a:pt x="603" y="304"/>
                  </a:lnTo>
                  <a:lnTo>
                    <a:pt x="603" y="313"/>
                  </a:lnTo>
                  <a:lnTo>
                    <a:pt x="601" y="350"/>
                  </a:lnTo>
                  <a:lnTo>
                    <a:pt x="601" y="352"/>
                  </a:lnTo>
                  <a:lnTo>
                    <a:pt x="598" y="408"/>
                  </a:lnTo>
                  <a:lnTo>
                    <a:pt x="596" y="419"/>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59" name="Freeform 158"/>
            <p:cNvSpPr>
              <a:spLocks noEditPoints="1"/>
            </p:cNvSpPr>
            <p:nvPr/>
          </p:nvSpPr>
          <p:spPr bwMode="gray">
            <a:xfrm>
              <a:off x="6150658" y="3646659"/>
              <a:ext cx="1016075" cy="516894"/>
            </a:xfrm>
            <a:custGeom>
              <a:avLst/>
              <a:gdLst/>
              <a:ahLst/>
              <a:cxnLst>
                <a:cxn ang="0">
                  <a:pos x="162" y="294"/>
                </a:cxn>
                <a:cxn ang="0">
                  <a:pos x="130" y="307"/>
                </a:cxn>
                <a:cxn ang="0">
                  <a:pos x="63" y="318"/>
                </a:cxn>
                <a:cxn ang="0">
                  <a:pos x="19" y="307"/>
                </a:cxn>
                <a:cxn ang="0">
                  <a:pos x="32" y="302"/>
                </a:cxn>
                <a:cxn ang="0">
                  <a:pos x="36" y="290"/>
                </a:cxn>
                <a:cxn ang="0">
                  <a:pos x="36" y="270"/>
                </a:cxn>
                <a:cxn ang="0">
                  <a:pos x="31" y="256"/>
                </a:cxn>
                <a:cxn ang="0">
                  <a:pos x="65" y="246"/>
                </a:cxn>
                <a:cxn ang="0">
                  <a:pos x="87" y="255"/>
                </a:cxn>
                <a:cxn ang="0">
                  <a:pos x="84" y="229"/>
                </a:cxn>
                <a:cxn ang="0">
                  <a:pos x="118" y="203"/>
                </a:cxn>
                <a:cxn ang="0">
                  <a:pos x="120" y="171"/>
                </a:cxn>
                <a:cxn ang="0">
                  <a:pos x="126" y="164"/>
                </a:cxn>
                <a:cxn ang="0">
                  <a:pos x="142" y="159"/>
                </a:cxn>
                <a:cxn ang="0">
                  <a:pos x="154" y="164"/>
                </a:cxn>
                <a:cxn ang="0">
                  <a:pos x="166" y="154"/>
                </a:cxn>
                <a:cxn ang="0">
                  <a:pos x="191" y="162"/>
                </a:cxn>
                <a:cxn ang="0">
                  <a:pos x="205" y="150"/>
                </a:cxn>
                <a:cxn ang="0">
                  <a:pos x="226" y="152"/>
                </a:cxn>
                <a:cxn ang="0">
                  <a:pos x="232" y="157"/>
                </a:cxn>
                <a:cxn ang="0">
                  <a:pos x="244" y="147"/>
                </a:cxn>
                <a:cxn ang="0">
                  <a:pos x="248" y="131"/>
                </a:cxn>
                <a:cxn ang="0">
                  <a:pos x="251" y="126"/>
                </a:cxn>
                <a:cxn ang="0">
                  <a:pos x="253" y="116"/>
                </a:cxn>
                <a:cxn ang="0">
                  <a:pos x="265" y="131"/>
                </a:cxn>
                <a:cxn ang="0">
                  <a:pos x="291" y="133"/>
                </a:cxn>
                <a:cxn ang="0">
                  <a:pos x="299" y="102"/>
                </a:cxn>
                <a:cxn ang="0">
                  <a:pos x="314" y="84"/>
                </a:cxn>
                <a:cxn ang="0">
                  <a:pos x="325" y="55"/>
                </a:cxn>
                <a:cxn ang="0">
                  <a:pos x="349" y="51"/>
                </a:cxn>
                <a:cxn ang="0">
                  <a:pos x="374" y="34"/>
                </a:cxn>
                <a:cxn ang="0">
                  <a:pos x="369" y="24"/>
                </a:cxn>
                <a:cxn ang="0">
                  <a:pos x="366" y="10"/>
                </a:cxn>
                <a:cxn ang="0">
                  <a:pos x="388" y="7"/>
                </a:cxn>
                <a:cxn ang="0">
                  <a:pos x="405" y="7"/>
                </a:cxn>
                <a:cxn ang="0">
                  <a:pos x="422" y="24"/>
                </a:cxn>
                <a:cxn ang="0">
                  <a:pos x="451" y="32"/>
                </a:cxn>
                <a:cxn ang="0">
                  <a:pos x="472" y="44"/>
                </a:cxn>
                <a:cxn ang="0">
                  <a:pos x="485" y="36"/>
                </a:cxn>
                <a:cxn ang="0">
                  <a:pos x="504" y="43"/>
                </a:cxn>
                <a:cxn ang="0">
                  <a:pos x="521" y="31"/>
                </a:cxn>
                <a:cxn ang="0">
                  <a:pos x="537" y="29"/>
                </a:cxn>
                <a:cxn ang="0">
                  <a:pos x="554" y="43"/>
                </a:cxn>
                <a:cxn ang="0">
                  <a:pos x="567" y="68"/>
                </a:cxn>
                <a:cxn ang="0">
                  <a:pos x="564" y="82"/>
                </a:cxn>
                <a:cxn ang="0">
                  <a:pos x="579" y="104"/>
                </a:cxn>
                <a:cxn ang="0">
                  <a:pos x="596" y="121"/>
                </a:cxn>
                <a:cxn ang="0">
                  <a:pos x="614" y="138"/>
                </a:cxn>
                <a:cxn ang="0">
                  <a:pos x="622" y="143"/>
                </a:cxn>
                <a:cxn ang="0">
                  <a:pos x="602" y="176"/>
                </a:cxn>
                <a:cxn ang="0">
                  <a:pos x="574" y="200"/>
                </a:cxn>
                <a:cxn ang="0">
                  <a:pos x="564" y="220"/>
                </a:cxn>
                <a:cxn ang="0">
                  <a:pos x="543" y="241"/>
                </a:cxn>
                <a:cxn ang="0">
                  <a:pos x="511" y="253"/>
                </a:cxn>
                <a:cxn ang="0">
                  <a:pos x="451" y="268"/>
                </a:cxn>
                <a:cxn ang="0">
                  <a:pos x="362" y="275"/>
                </a:cxn>
                <a:cxn ang="0">
                  <a:pos x="260" y="284"/>
                </a:cxn>
                <a:cxn ang="0">
                  <a:pos x="5" y="314"/>
                </a:cxn>
              </a:cxnLst>
              <a:rect l="0" t="0" r="r" b="b"/>
              <a:pathLst>
                <a:path w="631" h="321">
                  <a:moveTo>
                    <a:pt x="260" y="284"/>
                  </a:moveTo>
                  <a:lnTo>
                    <a:pt x="238" y="285"/>
                  </a:lnTo>
                  <a:lnTo>
                    <a:pt x="212" y="289"/>
                  </a:lnTo>
                  <a:lnTo>
                    <a:pt x="209" y="289"/>
                  </a:lnTo>
                  <a:lnTo>
                    <a:pt x="188" y="290"/>
                  </a:lnTo>
                  <a:lnTo>
                    <a:pt x="162" y="294"/>
                  </a:lnTo>
                  <a:lnTo>
                    <a:pt x="159" y="294"/>
                  </a:lnTo>
                  <a:lnTo>
                    <a:pt x="145" y="296"/>
                  </a:lnTo>
                  <a:lnTo>
                    <a:pt x="144" y="292"/>
                  </a:lnTo>
                  <a:lnTo>
                    <a:pt x="126" y="292"/>
                  </a:lnTo>
                  <a:lnTo>
                    <a:pt x="130" y="302"/>
                  </a:lnTo>
                  <a:lnTo>
                    <a:pt x="130" y="307"/>
                  </a:lnTo>
                  <a:lnTo>
                    <a:pt x="130" y="313"/>
                  </a:lnTo>
                  <a:lnTo>
                    <a:pt x="91" y="316"/>
                  </a:lnTo>
                  <a:lnTo>
                    <a:pt x="91" y="316"/>
                  </a:lnTo>
                  <a:lnTo>
                    <a:pt x="65" y="318"/>
                  </a:lnTo>
                  <a:lnTo>
                    <a:pt x="63" y="318"/>
                  </a:lnTo>
                  <a:lnTo>
                    <a:pt x="63" y="318"/>
                  </a:lnTo>
                  <a:lnTo>
                    <a:pt x="19" y="319"/>
                  </a:lnTo>
                  <a:lnTo>
                    <a:pt x="14" y="321"/>
                  </a:lnTo>
                  <a:lnTo>
                    <a:pt x="12" y="319"/>
                  </a:lnTo>
                  <a:lnTo>
                    <a:pt x="15" y="307"/>
                  </a:lnTo>
                  <a:lnTo>
                    <a:pt x="17" y="307"/>
                  </a:lnTo>
                  <a:lnTo>
                    <a:pt x="19" y="307"/>
                  </a:lnTo>
                  <a:lnTo>
                    <a:pt x="21" y="307"/>
                  </a:lnTo>
                  <a:lnTo>
                    <a:pt x="24" y="313"/>
                  </a:lnTo>
                  <a:lnTo>
                    <a:pt x="27" y="313"/>
                  </a:lnTo>
                  <a:lnTo>
                    <a:pt x="29" y="311"/>
                  </a:lnTo>
                  <a:lnTo>
                    <a:pt x="31" y="306"/>
                  </a:lnTo>
                  <a:lnTo>
                    <a:pt x="32" y="302"/>
                  </a:lnTo>
                  <a:lnTo>
                    <a:pt x="32" y="301"/>
                  </a:lnTo>
                  <a:lnTo>
                    <a:pt x="29" y="297"/>
                  </a:lnTo>
                  <a:lnTo>
                    <a:pt x="29" y="296"/>
                  </a:lnTo>
                  <a:lnTo>
                    <a:pt x="31" y="292"/>
                  </a:lnTo>
                  <a:lnTo>
                    <a:pt x="34" y="292"/>
                  </a:lnTo>
                  <a:lnTo>
                    <a:pt x="36" y="290"/>
                  </a:lnTo>
                  <a:lnTo>
                    <a:pt x="36" y="287"/>
                  </a:lnTo>
                  <a:lnTo>
                    <a:pt x="32" y="287"/>
                  </a:lnTo>
                  <a:lnTo>
                    <a:pt x="31" y="284"/>
                  </a:lnTo>
                  <a:lnTo>
                    <a:pt x="31" y="282"/>
                  </a:lnTo>
                  <a:lnTo>
                    <a:pt x="34" y="280"/>
                  </a:lnTo>
                  <a:lnTo>
                    <a:pt x="36" y="270"/>
                  </a:lnTo>
                  <a:lnTo>
                    <a:pt x="36" y="268"/>
                  </a:lnTo>
                  <a:lnTo>
                    <a:pt x="34" y="266"/>
                  </a:lnTo>
                  <a:lnTo>
                    <a:pt x="32" y="266"/>
                  </a:lnTo>
                  <a:lnTo>
                    <a:pt x="29" y="263"/>
                  </a:lnTo>
                  <a:lnTo>
                    <a:pt x="29" y="258"/>
                  </a:lnTo>
                  <a:lnTo>
                    <a:pt x="31" y="256"/>
                  </a:lnTo>
                  <a:lnTo>
                    <a:pt x="34" y="253"/>
                  </a:lnTo>
                  <a:lnTo>
                    <a:pt x="38" y="244"/>
                  </a:lnTo>
                  <a:lnTo>
                    <a:pt x="43" y="241"/>
                  </a:lnTo>
                  <a:lnTo>
                    <a:pt x="48" y="241"/>
                  </a:lnTo>
                  <a:lnTo>
                    <a:pt x="55" y="243"/>
                  </a:lnTo>
                  <a:lnTo>
                    <a:pt x="65" y="246"/>
                  </a:lnTo>
                  <a:lnTo>
                    <a:pt x="65" y="248"/>
                  </a:lnTo>
                  <a:lnTo>
                    <a:pt x="70" y="248"/>
                  </a:lnTo>
                  <a:lnTo>
                    <a:pt x="77" y="251"/>
                  </a:lnTo>
                  <a:lnTo>
                    <a:pt x="80" y="255"/>
                  </a:lnTo>
                  <a:lnTo>
                    <a:pt x="85" y="255"/>
                  </a:lnTo>
                  <a:lnTo>
                    <a:pt x="87" y="255"/>
                  </a:lnTo>
                  <a:lnTo>
                    <a:pt x="89" y="253"/>
                  </a:lnTo>
                  <a:lnTo>
                    <a:pt x="91" y="251"/>
                  </a:lnTo>
                  <a:lnTo>
                    <a:pt x="92" y="244"/>
                  </a:lnTo>
                  <a:lnTo>
                    <a:pt x="89" y="239"/>
                  </a:lnTo>
                  <a:lnTo>
                    <a:pt x="84" y="234"/>
                  </a:lnTo>
                  <a:lnTo>
                    <a:pt x="84" y="229"/>
                  </a:lnTo>
                  <a:lnTo>
                    <a:pt x="85" y="219"/>
                  </a:lnTo>
                  <a:lnTo>
                    <a:pt x="91" y="215"/>
                  </a:lnTo>
                  <a:lnTo>
                    <a:pt x="96" y="217"/>
                  </a:lnTo>
                  <a:lnTo>
                    <a:pt x="99" y="212"/>
                  </a:lnTo>
                  <a:lnTo>
                    <a:pt x="118" y="207"/>
                  </a:lnTo>
                  <a:lnTo>
                    <a:pt x="118" y="203"/>
                  </a:lnTo>
                  <a:lnTo>
                    <a:pt x="113" y="196"/>
                  </a:lnTo>
                  <a:lnTo>
                    <a:pt x="109" y="191"/>
                  </a:lnTo>
                  <a:lnTo>
                    <a:pt x="109" y="188"/>
                  </a:lnTo>
                  <a:lnTo>
                    <a:pt x="111" y="183"/>
                  </a:lnTo>
                  <a:lnTo>
                    <a:pt x="116" y="179"/>
                  </a:lnTo>
                  <a:lnTo>
                    <a:pt x="120" y="171"/>
                  </a:lnTo>
                  <a:lnTo>
                    <a:pt x="121" y="172"/>
                  </a:lnTo>
                  <a:lnTo>
                    <a:pt x="125" y="174"/>
                  </a:lnTo>
                  <a:lnTo>
                    <a:pt x="126" y="171"/>
                  </a:lnTo>
                  <a:lnTo>
                    <a:pt x="128" y="171"/>
                  </a:lnTo>
                  <a:lnTo>
                    <a:pt x="130" y="167"/>
                  </a:lnTo>
                  <a:lnTo>
                    <a:pt x="126" y="164"/>
                  </a:lnTo>
                  <a:lnTo>
                    <a:pt x="126" y="161"/>
                  </a:lnTo>
                  <a:lnTo>
                    <a:pt x="128" y="159"/>
                  </a:lnTo>
                  <a:lnTo>
                    <a:pt x="130" y="157"/>
                  </a:lnTo>
                  <a:lnTo>
                    <a:pt x="133" y="161"/>
                  </a:lnTo>
                  <a:lnTo>
                    <a:pt x="137" y="162"/>
                  </a:lnTo>
                  <a:lnTo>
                    <a:pt x="142" y="159"/>
                  </a:lnTo>
                  <a:lnTo>
                    <a:pt x="144" y="159"/>
                  </a:lnTo>
                  <a:lnTo>
                    <a:pt x="145" y="159"/>
                  </a:lnTo>
                  <a:lnTo>
                    <a:pt x="147" y="159"/>
                  </a:lnTo>
                  <a:lnTo>
                    <a:pt x="149" y="166"/>
                  </a:lnTo>
                  <a:lnTo>
                    <a:pt x="150" y="166"/>
                  </a:lnTo>
                  <a:lnTo>
                    <a:pt x="154" y="164"/>
                  </a:lnTo>
                  <a:lnTo>
                    <a:pt x="156" y="162"/>
                  </a:lnTo>
                  <a:lnTo>
                    <a:pt x="156" y="159"/>
                  </a:lnTo>
                  <a:lnTo>
                    <a:pt x="152" y="155"/>
                  </a:lnTo>
                  <a:lnTo>
                    <a:pt x="154" y="150"/>
                  </a:lnTo>
                  <a:lnTo>
                    <a:pt x="162" y="155"/>
                  </a:lnTo>
                  <a:lnTo>
                    <a:pt x="166" y="154"/>
                  </a:lnTo>
                  <a:lnTo>
                    <a:pt x="173" y="152"/>
                  </a:lnTo>
                  <a:lnTo>
                    <a:pt x="179" y="157"/>
                  </a:lnTo>
                  <a:lnTo>
                    <a:pt x="183" y="159"/>
                  </a:lnTo>
                  <a:lnTo>
                    <a:pt x="186" y="161"/>
                  </a:lnTo>
                  <a:lnTo>
                    <a:pt x="190" y="162"/>
                  </a:lnTo>
                  <a:lnTo>
                    <a:pt x="191" y="162"/>
                  </a:lnTo>
                  <a:lnTo>
                    <a:pt x="195" y="166"/>
                  </a:lnTo>
                  <a:lnTo>
                    <a:pt x="197" y="167"/>
                  </a:lnTo>
                  <a:lnTo>
                    <a:pt x="200" y="164"/>
                  </a:lnTo>
                  <a:lnTo>
                    <a:pt x="202" y="154"/>
                  </a:lnTo>
                  <a:lnTo>
                    <a:pt x="203" y="150"/>
                  </a:lnTo>
                  <a:lnTo>
                    <a:pt x="205" y="150"/>
                  </a:lnTo>
                  <a:lnTo>
                    <a:pt x="210" y="149"/>
                  </a:lnTo>
                  <a:lnTo>
                    <a:pt x="212" y="147"/>
                  </a:lnTo>
                  <a:lnTo>
                    <a:pt x="215" y="143"/>
                  </a:lnTo>
                  <a:lnTo>
                    <a:pt x="219" y="142"/>
                  </a:lnTo>
                  <a:lnTo>
                    <a:pt x="220" y="143"/>
                  </a:lnTo>
                  <a:lnTo>
                    <a:pt x="226" y="152"/>
                  </a:lnTo>
                  <a:lnTo>
                    <a:pt x="227" y="152"/>
                  </a:lnTo>
                  <a:lnTo>
                    <a:pt x="231" y="150"/>
                  </a:lnTo>
                  <a:lnTo>
                    <a:pt x="232" y="149"/>
                  </a:lnTo>
                  <a:lnTo>
                    <a:pt x="232" y="150"/>
                  </a:lnTo>
                  <a:lnTo>
                    <a:pt x="232" y="155"/>
                  </a:lnTo>
                  <a:lnTo>
                    <a:pt x="232" y="157"/>
                  </a:lnTo>
                  <a:lnTo>
                    <a:pt x="234" y="157"/>
                  </a:lnTo>
                  <a:lnTo>
                    <a:pt x="238" y="155"/>
                  </a:lnTo>
                  <a:lnTo>
                    <a:pt x="238" y="149"/>
                  </a:lnTo>
                  <a:lnTo>
                    <a:pt x="239" y="147"/>
                  </a:lnTo>
                  <a:lnTo>
                    <a:pt x="243" y="147"/>
                  </a:lnTo>
                  <a:lnTo>
                    <a:pt x="244" y="147"/>
                  </a:lnTo>
                  <a:lnTo>
                    <a:pt x="244" y="145"/>
                  </a:lnTo>
                  <a:lnTo>
                    <a:pt x="243" y="140"/>
                  </a:lnTo>
                  <a:lnTo>
                    <a:pt x="243" y="137"/>
                  </a:lnTo>
                  <a:lnTo>
                    <a:pt x="243" y="133"/>
                  </a:lnTo>
                  <a:lnTo>
                    <a:pt x="244" y="133"/>
                  </a:lnTo>
                  <a:lnTo>
                    <a:pt x="248" y="131"/>
                  </a:lnTo>
                  <a:lnTo>
                    <a:pt x="250" y="130"/>
                  </a:lnTo>
                  <a:lnTo>
                    <a:pt x="250" y="128"/>
                  </a:lnTo>
                  <a:lnTo>
                    <a:pt x="246" y="126"/>
                  </a:lnTo>
                  <a:lnTo>
                    <a:pt x="246" y="125"/>
                  </a:lnTo>
                  <a:lnTo>
                    <a:pt x="248" y="125"/>
                  </a:lnTo>
                  <a:lnTo>
                    <a:pt x="251" y="126"/>
                  </a:lnTo>
                  <a:lnTo>
                    <a:pt x="253" y="125"/>
                  </a:lnTo>
                  <a:lnTo>
                    <a:pt x="256" y="123"/>
                  </a:lnTo>
                  <a:lnTo>
                    <a:pt x="258" y="121"/>
                  </a:lnTo>
                  <a:lnTo>
                    <a:pt x="256" y="121"/>
                  </a:lnTo>
                  <a:lnTo>
                    <a:pt x="253" y="120"/>
                  </a:lnTo>
                  <a:lnTo>
                    <a:pt x="253" y="116"/>
                  </a:lnTo>
                  <a:lnTo>
                    <a:pt x="255" y="116"/>
                  </a:lnTo>
                  <a:lnTo>
                    <a:pt x="256" y="118"/>
                  </a:lnTo>
                  <a:lnTo>
                    <a:pt x="260" y="121"/>
                  </a:lnTo>
                  <a:lnTo>
                    <a:pt x="261" y="128"/>
                  </a:lnTo>
                  <a:lnTo>
                    <a:pt x="263" y="130"/>
                  </a:lnTo>
                  <a:lnTo>
                    <a:pt x="265" y="131"/>
                  </a:lnTo>
                  <a:lnTo>
                    <a:pt x="272" y="135"/>
                  </a:lnTo>
                  <a:lnTo>
                    <a:pt x="279" y="135"/>
                  </a:lnTo>
                  <a:lnTo>
                    <a:pt x="284" y="138"/>
                  </a:lnTo>
                  <a:lnTo>
                    <a:pt x="284" y="135"/>
                  </a:lnTo>
                  <a:lnTo>
                    <a:pt x="287" y="135"/>
                  </a:lnTo>
                  <a:lnTo>
                    <a:pt x="291" y="133"/>
                  </a:lnTo>
                  <a:lnTo>
                    <a:pt x="292" y="130"/>
                  </a:lnTo>
                  <a:lnTo>
                    <a:pt x="294" y="126"/>
                  </a:lnTo>
                  <a:lnTo>
                    <a:pt x="292" y="114"/>
                  </a:lnTo>
                  <a:lnTo>
                    <a:pt x="297" y="108"/>
                  </a:lnTo>
                  <a:lnTo>
                    <a:pt x="297" y="102"/>
                  </a:lnTo>
                  <a:lnTo>
                    <a:pt x="299" y="102"/>
                  </a:lnTo>
                  <a:lnTo>
                    <a:pt x="301" y="102"/>
                  </a:lnTo>
                  <a:lnTo>
                    <a:pt x="304" y="102"/>
                  </a:lnTo>
                  <a:lnTo>
                    <a:pt x="309" y="99"/>
                  </a:lnTo>
                  <a:lnTo>
                    <a:pt x="313" y="96"/>
                  </a:lnTo>
                  <a:lnTo>
                    <a:pt x="313" y="90"/>
                  </a:lnTo>
                  <a:lnTo>
                    <a:pt x="314" y="84"/>
                  </a:lnTo>
                  <a:lnTo>
                    <a:pt x="323" y="79"/>
                  </a:lnTo>
                  <a:lnTo>
                    <a:pt x="325" y="73"/>
                  </a:lnTo>
                  <a:lnTo>
                    <a:pt x="328" y="72"/>
                  </a:lnTo>
                  <a:lnTo>
                    <a:pt x="328" y="68"/>
                  </a:lnTo>
                  <a:lnTo>
                    <a:pt x="328" y="67"/>
                  </a:lnTo>
                  <a:lnTo>
                    <a:pt x="325" y="55"/>
                  </a:lnTo>
                  <a:lnTo>
                    <a:pt x="325" y="51"/>
                  </a:lnTo>
                  <a:lnTo>
                    <a:pt x="326" y="49"/>
                  </a:lnTo>
                  <a:lnTo>
                    <a:pt x="333" y="49"/>
                  </a:lnTo>
                  <a:lnTo>
                    <a:pt x="338" y="48"/>
                  </a:lnTo>
                  <a:lnTo>
                    <a:pt x="345" y="53"/>
                  </a:lnTo>
                  <a:lnTo>
                    <a:pt x="349" y="51"/>
                  </a:lnTo>
                  <a:lnTo>
                    <a:pt x="352" y="49"/>
                  </a:lnTo>
                  <a:lnTo>
                    <a:pt x="355" y="46"/>
                  </a:lnTo>
                  <a:lnTo>
                    <a:pt x="359" y="43"/>
                  </a:lnTo>
                  <a:lnTo>
                    <a:pt x="362" y="41"/>
                  </a:lnTo>
                  <a:lnTo>
                    <a:pt x="376" y="37"/>
                  </a:lnTo>
                  <a:lnTo>
                    <a:pt x="374" y="34"/>
                  </a:lnTo>
                  <a:lnTo>
                    <a:pt x="378" y="31"/>
                  </a:lnTo>
                  <a:lnTo>
                    <a:pt x="376" y="29"/>
                  </a:lnTo>
                  <a:lnTo>
                    <a:pt x="376" y="27"/>
                  </a:lnTo>
                  <a:lnTo>
                    <a:pt x="371" y="27"/>
                  </a:lnTo>
                  <a:lnTo>
                    <a:pt x="369" y="26"/>
                  </a:lnTo>
                  <a:lnTo>
                    <a:pt x="369" y="24"/>
                  </a:lnTo>
                  <a:lnTo>
                    <a:pt x="371" y="20"/>
                  </a:lnTo>
                  <a:lnTo>
                    <a:pt x="373" y="19"/>
                  </a:lnTo>
                  <a:lnTo>
                    <a:pt x="371" y="15"/>
                  </a:lnTo>
                  <a:lnTo>
                    <a:pt x="367" y="14"/>
                  </a:lnTo>
                  <a:lnTo>
                    <a:pt x="366" y="12"/>
                  </a:lnTo>
                  <a:lnTo>
                    <a:pt x="366" y="10"/>
                  </a:lnTo>
                  <a:lnTo>
                    <a:pt x="371" y="5"/>
                  </a:lnTo>
                  <a:lnTo>
                    <a:pt x="373" y="5"/>
                  </a:lnTo>
                  <a:lnTo>
                    <a:pt x="374" y="5"/>
                  </a:lnTo>
                  <a:lnTo>
                    <a:pt x="378" y="0"/>
                  </a:lnTo>
                  <a:lnTo>
                    <a:pt x="385" y="5"/>
                  </a:lnTo>
                  <a:lnTo>
                    <a:pt x="388" y="7"/>
                  </a:lnTo>
                  <a:lnTo>
                    <a:pt x="390" y="7"/>
                  </a:lnTo>
                  <a:lnTo>
                    <a:pt x="397" y="3"/>
                  </a:lnTo>
                  <a:lnTo>
                    <a:pt x="398" y="2"/>
                  </a:lnTo>
                  <a:lnTo>
                    <a:pt x="402" y="0"/>
                  </a:lnTo>
                  <a:lnTo>
                    <a:pt x="403" y="3"/>
                  </a:lnTo>
                  <a:lnTo>
                    <a:pt x="405" y="7"/>
                  </a:lnTo>
                  <a:lnTo>
                    <a:pt x="407" y="8"/>
                  </a:lnTo>
                  <a:lnTo>
                    <a:pt x="412" y="7"/>
                  </a:lnTo>
                  <a:lnTo>
                    <a:pt x="414" y="10"/>
                  </a:lnTo>
                  <a:lnTo>
                    <a:pt x="417" y="17"/>
                  </a:lnTo>
                  <a:lnTo>
                    <a:pt x="420" y="19"/>
                  </a:lnTo>
                  <a:lnTo>
                    <a:pt x="422" y="24"/>
                  </a:lnTo>
                  <a:lnTo>
                    <a:pt x="424" y="31"/>
                  </a:lnTo>
                  <a:lnTo>
                    <a:pt x="429" y="32"/>
                  </a:lnTo>
                  <a:lnTo>
                    <a:pt x="436" y="34"/>
                  </a:lnTo>
                  <a:lnTo>
                    <a:pt x="439" y="34"/>
                  </a:lnTo>
                  <a:lnTo>
                    <a:pt x="446" y="31"/>
                  </a:lnTo>
                  <a:lnTo>
                    <a:pt x="451" y="32"/>
                  </a:lnTo>
                  <a:lnTo>
                    <a:pt x="455" y="34"/>
                  </a:lnTo>
                  <a:lnTo>
                    <a:pt x="458" y="37"/>
                  </a:lnTo>
                  <a:lnTo>
                    <a:pt x="461" y="39"/>
                  </a:lnTo>
                  <a:lnTo>
                    <a:pt x="463" y="43"/>
                  </a:lnTo>
                  <a:lnTo>
                    <a:pt x="468" y="44"/>
                  </a:lnTo>
                  <a:lnTo>
                    <a:pt x="472" y="44"/>
                  </a:lnTo>
                  <a:lnTo>
                    <a:pt x="473" y="44"/>
                  </a:lnTo>
                  <a:lnTo>
                    <a:pt x="475" y="43"/>
                  </a:lnTo>
                  <a:lnTo>
                    <a:pt x="475" y="39"/>
                  </a:lnTo>
                  <a:lnTo>
                    <a:pt x="475" y="37"/>
                  </a:lnTo>
                  <a:lnTo>
                    <a:pt x="484" y="36"/>
                  </a:lnTo>
                  <a:lnTo>
                    <a:pt x="485" y="36"/>
                  </a:lnTo>
                  <a:lnTo>
                    <a:pt x="491" y="37"/>
                  </a:lnTo>
                  <a:lnTo>
                    <a:pt x="497" y="37"/>
                  </a:lnTo>
                  <a:lnTo>
                    <a:pt x="501" y="39"/>
                  </a:lnTo>
                  <a:lnTo>
                    <a:pt x="501" y="43"/>
                  </a:lnTo>
                  <a:lnTo>
                    <a:pt x="502" y="44"/>
                  </a:lnTo>
                  <a:lnTo>
                    <a:pt x="504" y="43"/>
                  </a:lnTo>
                  <a:lnTo>
                    <a:pt x="506" y="43"/>
                  </a:lnTo>
                  <a:lnTo>
                    <a:pt x="508" y="39"/>
                  </a:lnTo>
                  <a:lnTo>
                    <a:pt x="513" y="41"/>
                  </a:lnTo>
                  <a:lnTo>
                    <a:pt x="516" y="39"/>
                  </a:lnTo>
                  <a:lnTo>
                    <a:pt x="518" y="34"/>
                  </a:lnTo>
                  <a:lnTo>
                    <a:pt x="521" y="31"/>
                  </a:lnTo>
                  <a:lnTo>
                    <a:pt x="525" y="27"/>
                  </a:lnTo>
                  <a:lnTo>
                    <a:pt x="528" y="27"/>
                  </a:lnTo>
                  <a:lnTo>
                    <a:pt x="532" y="24"/>
                  </a:lnTo>
                  <a:lnTo>
                    <a:pt x="535" y="24"/>
                  </a:lnTo>
                  <a:lnTo>
                    <a:pt x="537" y="26"/>
                  </a:lnTo>
                  <a:lnTo>
                    <a:pt x="537" y="29"/>
                  </a:lnTo>
                  <a:lnTo>
                    <a:pt x="538" y="32"/>
                  </a:lnTo>
                  <a:lnTo>
                    <a:pt x="540" y="37"/>
                  </a:lnTo>
                  <a:lnTo>
                    <a:pt x="543" y="41"/>
                  </a:lnTo>
                  <a:lnTo>
                    <a:pt x="545" y="43"/>
                  </a:lnTo>
                  <a:lnTo>
                    <a:pt x="550" y="43"/>
                  </a:lnTo>
                  <a:lnTo>
                    <a:pt x="554" y="43"/>
                  </a:lnTo>
                  <a:lnTo>
                    <a:pt x="557" y="46"/>
                  </a:lnTo>
                  <a:lnTo>
                    <a:pt x="562" y="49"/>
                  </a:lnTo>
                  <a:lnTo>
                    <a:pt x="566" y="55"/>
                  </a:lnTo>
                  <a:lnTo>
                    <a:pt x="564" y="60"/>
                  </a:lnTo>
                  <a:lnTo>
                    <a:pt x="567" y="67"/>
                  </a:lnTo>
                  <a:lnTo>
                    <a:pt x="567" y="68"/>
                  </a:lnTo>
                  <a:lnTo>
                    <a:pt x="567" y="72"/>
                  </a:lnTo>
                  <a:lnTo>
                    <a:pt x="567" y="73"/>
                  </a:lnTo>
                  <a:lnTo>
                    <a:pt x="566" y="73"/>
                  </a:lnTo>
                  <a:lnTo>
                    <a:pt x="566" y="79"/>
                  </a:lnTo>
                  <a:lnTo>
                    <a:pt x="566" y="80"/>
                  </a:lnTo>
                  <a:lnTo>
                    <a:pt x="564" y="82"/>
                  </a:lnTo>
                  <a:lnTo>
                    <a:pt x="564" y="84"/>
                  </a:lnTo>
                  <a:lnTo>
                    <a:pt x="569" y="87"/>
                  </a:lnTo>
                  <a:lnTo>
                    <a:pt x="576" y="97"/>
                  </a:lnTo>
                  <a:lnTo>
                    <a:pt x="581" y="101"/>
                  </a:lnTo>
                  <a:lnTo>
                    <a:pt x="581" y="102"/>
                  </a:lnTo>
                  <a:lnTo>
                    <a:pt x="579" y="104"/>
                  </a:lnTo>
                  <a:lnTo>
                    <a:pt x="579" y="106"/>
                  </a:lnTo>
                  <a:lnTo>
                    <a:pt x="585" y="109"/>
                  </a:lnTo>
                  <a:lnTo>
                    <a:pt x="586" y="111"/>
                  </a:lnTo>
                  <a:lnTo>
                    <a:pt x="590" y="118"/>
                  </a:lnTo>
                  <a:lnTo>
                    <a:pt x="595" y="120"/>
                  </a:lnTo>
                  <a:lnTo>
                    <a:pt x="596" y="121"/>
                  </a:lnTo>
                  <a:lnTo>
                    <a:pt x="596" y="123"/>
                  </a:lnTo>
                  <a:lnTo>
                    <a:pt x="600" y="131"/>
                  </a:lnTo>
                  <a:lnTo>
                    <a:pt x="605" y="131"/>
                  </a:lnTo>
                  <a:lnTo>
                    <a:pt x="608" y="135"/>
                  </a:lnTo>
                  <a:lnTo>
                    <a:pt x="610" y="133"/>
                  </a:lnTo>
                  <a:lnTo>
                    <a:pt x="614" y="138"/>
                  </a:lnTo>
                  <a:lnTo>
                    <a:pt x="615" y="138"/>
                  </a:lnTo>
                  <a:lnTo>
                    <a:pt x="615" y="140"/>
                  </a:lnTo>
                  <a:lnTo>
                    <a:pt x="615" y="140"/>
                  </a:lnTo>
                  <a:lnTo>
                    <a:pt x="615" y="142"/>
                  </a:lnTo>
                  <a:lnTo>
                    <a:pt x="620" y="142"/>
                  </a:lnTo>
                  <a:lnTo>
                    <a:pt x="622" y="143"/>
                  </a:lnTo>
                  <a:lnTo>
                    <a:pt x="622" y="140"/>
                  </a:lnTo>
                  <a:lnTo>
                    <a:pt x="626" y="143"/>
                  </a:lnTo>
                  <a:lnTo>
                    <a:pt x="629" y="140"/>
                  </a:lnTo>
                  <a:lnTo>
                    <a:pt x="631" y="142"/>
                  </a:lnTo>
                  <a:lnTo>
                    <a:pt x="607" y="171"/>
                  </a:lnTo>
                  <a:lnTo>
                    <a:pt x="602" y="176"/>
                  </a:lnTo>
                  <a:lnTo>
                    <a:pt x="598" y="178"/>
                  </a:lnTo>
                  <a:lnTo>
                    <a:pt x="586" y="184"/>
                  </a:lnTo>
                  <a:lnTo>
                    <a:pt x="585" y="184"/>
                  </a:lnTo>
                  <a:lnTo>
                    <a:pt x="574" y="196"/>
                  </a:lnTo>
                  <a:lnTo>
                    <a:pt x="574" y="198"/>
                  </a:lnTo>
                  <a:lnTo>
                    <a:pt x="574" y="200"/>
                  </a:lnTo>
                  <a:lnTo>
                    <a:pt x="574" y="200"/>
                  </a:lnTo>
                  <a:lnTo>
                    <a:pt x="574" y="205"/>
                  </a:lnTo>
                  <a:lnTo>
                    <a:pt x="567" y="208"/>
                  </a:lnTo>
                  <a:lnTo>
                    <a:pt x="564" y="212"/>
                  </a:lnTo>
                  <a:lnTo>
                    <a:pt x="564" y="217"/>
                  </a:lnTo>
                  <a:lnTo>
                    <a:pt x="564" y="220"/>
                  </a:lnTo>
                  <a:lnTo>
                    <a:pt x="557" y="225"/>
                  </a:lnTo>
                  <a:lnTo>
                    <a:pt x="550" y="227"/>
                  </a:lnTo>
                  <a:lnTo>
                    <a:pt x="549" y="227"/>
                  </a:lnTo>
                  <a:lnTo>
                    <a:pt x="543" y="236"/>
                  </a:lnTo>
                  <a:lnTo>
                    <a:pt x="545" y="239"/>
                  </a:lnTo>
                  <a:lnTo>
                    <a:pt x="543" y="241"/>
                  </a:lnTo>
                  <a:lnTo>
                    <a:pt x="538" y="243"/>
                  </a:lnTo>
                  <a:lnTo>
                    <a:pt x="528" y="246"/>
                  </a:lnTo>
                  <a:lnTo>
                    <a:pt x="523" y="249"/>
                  </a:lnTo>
                  <a:lnTo>
                    <a:pt x="523" y="251"/>
                  </a:lnTo>
                  <a:lnTo>
                    <a:pt x="518" y="253"/>
                  </a:lnTo>
                  <a:lnTo>
                    <a:pt x="511" y="253"/>
                  </a:lnTo>
                  <a:lnTo>
                    <a:pt x="502" y="260"/>
                  </a:lnTo>
                  <a:lnTo>
                    <a:pt x="501" y="261"/>
                  </a:lnTo>
                  <a:lnTo>
                    <a:pt x="499" y="263"/>
                  </a:lnTo>
                  <a:lnTo>
                    <a:pt x="479" y="265"/>
                  </a:lnTo>
                  <a:lnTo>
                    <a:pt x="472" y="266"/>
                  </a:lnTo>
                  <a:lnTo>
                    <a:pt x="451" y="268"/>
                  </a:lnTo>
                  <a:lnTo>
                    <a:pt x="451" y="268"/>
                  </a:lnTo>
                  <a:lnTo>
                    <a:pt x="407" y="273"/>
                  </a:lnTo>
                  <a:lnTo>
                    <a:pt x="405" y="273"/>
                  </a:lnTo>
                  <a:lnTo>
                    <a:pt x="388" y="273"/>
                  </a:lnTo>
                  <a:lnTo>
                    <a:pt x="364" y="275"/>
                  </a:lnTo>
                  <a:lnTo>
                    <a:pt x="362" y="275"/>
                  </a:lnTo>
                  <a:lnTo>
                    <a:pt x="350" y="278"/>
                  </a:lnTo>
                  <a:lnTo>
                    <a:pt x="321" y="280"/>
                  </a:lnTo>
                  <a:lnTo>
                    <a:pt x="304" y="282"/>
                  </a:lnTo>
                  <a:lnTo>
                    <a:pt x="285" y="282"/>
                  </a:lnTo>
                  <a:lnTo>
                    <a:pt x="267" y="284"/>
                  </a:lnTo>
                  <a:lnTo>
                    <a:pt x="260" y="284"/>
                  </a:lnTo>
                  <a:close/>
                  <a:moveTo>
                    <a:pt x="3" y="321"/>
                  </a:moveTo>
                  <a:lnTo>
                    <a:pt x="0" y="319"/>
                  </a:lnTo>
                  <a:lnTo>
                    <a:pt x="0" y="318"/>
                  </a:lnTo>
                  <a:lnTo>
                    <a:pt x="0" y="316"/>
                  </a:lnTo>
                  <a:lnTo>
                    <a:pt x="3" y="314"/>
                  </a:lnTo>
                  <a:lnTo>
                    <a:pt x="5" y="314"/>
                  </a:lnTo>
                  <a:lnTo>
                    <a:pt x="7" y="316"/>
                  </a:lnTo>
                  <a:lnTo>
                    <a:pt x="9" y="318"/>
                  </a:lnTo>
                  <a:lnTo>
                    <a:pt x="7" y="321"/>
                  </a:lnTo>
                  <a:lnTo>
                    <a:pt x="9" y="321"/>
                  </a:lnTo>
                  <a:lnTo>
                    <a:pt x="3" y="32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0" name="Freeform 159"/>
            <p:cNvSpPr>
              <a:spLocks/>
            </p:cNvSpPr>
            <p:nvPr/>
          </p:nvSpPr>
          <p:spPr bwMode="gray">
            <a:xfrm>
              <a:off x="4438950" y="3561316"/>
              <a:ext cx="1016075" cy="547489"/>
            </a:xfrm>
            <a:custGeom>
              <a:avLst/>
              <a:gdLst/>
              <a:ahLst/>
              <a:cxnLst>
                <a:cxn ang="0">
                  <a:pos x="564" y="340"/>
                </a:cxn>
                <a:cxn ang="0">
                  <a:pos x="531" y="340"/>
                </a:cxn>
                <a:cxn ang="0">
                  <a:pos x="513" y="340"/>
                </a:cxn>
                <a:cxn ang="0">
                  <a:pos x="449" y="340"/>
                </a:cxn>
                <a:cxn ang="0">
                  <a:pos x="388" y="338"/>
                </a:cxn>
                <a:cxn ang="0">
                  <a:pos x="333" y="338"/>
                </a:cxn>
                <a:cxn ang="0">
                  <a:pos x="297" y="337"/>
                </a:cxn>
                <a:cxn ang="0">
                  <a:pos x="220" y="335"/>
                </a:cxn>
                <a:cxn ang="0">
                  <a:pos x="173" y="333"/>
                </a:cxn>
                <a:cxn ang="0">
                  <a:pos x="120" y="330"/>
                </a:cxn>
                <a:cxn ang="0">
                  <a:pos x="82" y="328"/>
                </a:cxn>
                <a:cxn ang="0">
                  <a:pos x="2" y="325"/>
                </a:cxn>
                <a:cxn ang="0">
                  <a:pos x="2" y="282"/>
                </a:cxn>
                <a:cxn ang="0">
                  <a:pos x="5" y="244"/>
                </a:cxn>
                <a:cxn ang="0">
                  <a:pos x="8" y="186"/>
                </a:cxn>
                <a:cxn ang="0">
                  <a:pos x="10" y="140"/>
                </a:cxn>
                <a:cxn ang="0">
                  <a:pos x="14" y="94"/>
                </a:cxn>
                <a:cxn ang="0">
                  <a:pos x="17" y="46"/>
                </a:cxn>
                <a:cxn ang="0">
                  <a:pos x="72" y="3"/>
                </a:cxn>
                <a:cxn ang="0">
                  <a:pos x="125" y="5"/>
                </a:cxn>
                <a:cxn ang="0">
                  <a:pos x="171" y="8"/>
                </a:cxn>
                <a:cxn ang="0">
                  <a:pos x="217" y="10"/>
                </a:cxn>
                <a:cxn ang="0">
                  <a:pos x="263" y="12"/>
                </a:cxn>
                <a:cxn ang="0">
                  <a:pos x="309" y="14"/>
                </a:cxn>
                <a:cxn ang="0">
                  <a:pos x="355" y="14"/>
                </a:cxn>
                <a:cxn ang="0">
                  <a:pos x="402" y="15"/>
                </a:cxn>
                <a:cxn ang="0">
                  <a:pos x="448" y="15"/>
                </a:cxn>
                <a:cxn ang="0">
                  <a:pos x="494" y="15"/>
                </a:cxn>
                <a:cxn ang="0">
                  <a:pos x="531" y="15"/>
                </a:cxn>
                <a:cxn ang="0">
                  <a:pos x="569" y="15"/>
                </a:cxn>
                <a:cxn ang="0">
                  <a:pos x="578" y="22"/>
                </a:cxn>
                <a:cxn ang="0">
                  <a:pos x="583" y="26"/>
                </a:cxn>
                <a:cxn ang="0">
                  <a:pos x="590" y="29"/>
                </a:cxn>
                <a:cxn ang="0">
                  <a:pos x="593" y="26"/>
                </a:cxn>
                <a:cxn ang="0">
                  <a:pos x="600" y="26"/>
                </a:cxn>
                <a:cxn ang="0">
                  <a:pos x="602" y="32"/>
                </a:cxn>
                <a:cxn ang="0">
                  <a:pos x="603" y="34"/>
                </a:cxn>
                <a:cxn ang="0">
                  <a:pos x="600" y="38"/>
                </a:cxn>
                <a:cxn ang="0">
                  <a:pos x="602" y="41"/>
                </a:cxn>
                <a:cxn ang="0">
                  <a:pos x="605" y="41"/>
                </a:cxn>
                <a:cxn ang="0">
                  <a:pos x="603" y="44"/>
                </a:cxn>
                <a:cxn ang="0">
                  <a:pos x="598" y="43"/>
                </a:cxn>
                <a:cxn ang="0">
                  <a:pos x="596" y="49"/>
                </a:cxn>
                <a:cxn ang="0">
                  <a:pos x="590" y="55"/>
                </a:cxn>
                <a:cxn ang="0">
                  <a:pos x="586" y="63"/>
                </a:cxn>
                <a:cxn ang="0">
                  <a:pos x="591" y="70"/>
                </a:cxn>
                <a:cxn ang="0">
                  <a:pos x="596" y="75"/>
                </a:cxn>
                <a:cxn ang="0">
                  <a:pos x="602" y="82"/>
                </a:cxn>
                <a:cxn ang="0">
                  <a:pos x="603" y="85"/>
                </a:cxn>
                <a:cxn ang="0">
                  <a:pos x="605" y="92"/>
                </a:cxn>
                <a:cxn ang="0">
                  <a:pos x="610" y="101"/>
                </a:cxn>
                <a:cxn ang="0">
                  <a:pos x="617" y="104"/>
                </a:cxn>
                <a:cxn ang="0">
                  <a:pos x="625" y="106"/>
                </a:cxn>
                <a:cxn ang="0">
                  <a:pos x="629" y="108"/>
                </a:cxn>
                <a:cxn ang="0">
                  <a:pos x="627" y="118"/>
                </a:cxn>
                <a:cxn ang="0">
                  <a:pos x="629" y="150"/>
                </a:cxn>
                <a:cxn ang="0">
                  <a:pos x="629" y="188"/>
                </a:cxn>
                <a:cxn ang="0">
                  <a:pos x="629" y="227"/>
                </a:cxn>
                <a:cxn ang="0">
                  <a:pos x="629" y="268"/>
                </a:cxn>
                <a:cxn ang="0">
                  <a:pos x="631" y="302"/>
                </a:cxn>
                <a:cxn ang="0">
                  <a:pos x="631" y="338"/>
                </a:cxn>
                <a:cxn ang="0">
                  <a:pos x="591" y="338"/>
                </a:cxn>
              </a:cxnLst>
              <a:rect l="0" t="0" r="r" b="b"/>
              <a:pathLst>
                <a:path w="631" h="340">
                  <a:moveTo>
                    <a:pt x="591" y="338"/>
                  </a:moveTo>
                  <a:lnTo>
                    <a:pt x="564" y="340"/>
                  </a:lnTo>
                  <a:lnTo>
                    <a:pt x="554" y="340"/>
                  </a:lnTo>
                  <a:lnTo>
                    <a:pt x="531" y="340"/>
                  </a:lnTo>
                  <a:lnTo>
                    <a:pt x="516" y="340"/>
                  </a:lnTo>
                  <a:lnTo>
                    <a:pt x="513" y="340"/>
                  </a:lnTo>
                  <a:lnTo>
                    <a:pt x="468" y="340"/>
                  </a:lnTo>
                  <a:lnTo>
                    <a:pt x="449" y="340"/>
                  </a:lnTo>
                  <a:lnTo>
                    <a:pt x="417" y="338"/>
                  </a:lnTo>
                  <a:lnTo>
                    <a:pt x="388" y="338"/>
                  </a:lnTo>
                  <a:lnTo>
                    <a:pt x="359" y="338"/>
                  </a:lnTo>
                  <a:lnTo>
                    <a:pt x="333" y="338"/>
                  </a:lnTo>
                  <a:lnTo>
                    <a:pt x="313" y="337"/>
                  </a:lnTo>
                  <a:lnTo>
                    <a:pt x="297" y="337"/>
                  </a:lnTo>
                  <a:lnTo>
                    <a:pt x="258" y="335"/>
                  </a:lnTo>
                  <a:lnTo>
                    <a:pt x="220" y="335"/>
                  </a:lnTo>
                  <a:lnTo>
                    <a:pt x="212" y="335"/>
                  </a:lnTo>
                  <a:lnTo>
                    <a:pt x="173" y="333"/>
                  </a:lnTo>
                  <a:lnTo>
                    <a:pt x="166" y="331"/>
                  </a:lnTo>
                  <a:lnTo>
                    <a:pt x="120" y="330"/>
                  </a:lnTo>
                  <a:lnTo>
                    <a:pt x="92" y="328"/>
                  </a:lnTo>
                  <a:lnTo>
                    <a:pt x="82" y="328"/>
                  </a:lnTo>
                  <a:lnTo>
                    <a:pt x="41" y="326"/>
                  </a:lnTo>
                  <a:lnTo>
                    <a:pt x="2" y="325"/>
                  </a:lnTo>
                  <a:lnTo>
                    <a:pt x="0" y="325"/>
                  </a:lnTo>
                  <a:lnTo>
                    <a:pt x="2" y="282"/>
                  </a:lnTo>
                  <a:lnTo>
                    <a:pt x="3" y="255"/>
                  </a:lnTo>
                  <a:lnTo>
                    <a:pt x="5" y="244"/>
                  </a:lnTo>
                  <a:lnTo>
                    <a:pt x="8" y="188"/>
                  </a:lnTo>
                  <a:lnTo>
                    <a:pt x="8" y="186"/>
                  </a:lnTo>
                  <a:lnTo>
                    <a:pt x="10" y="149"/>
                  </a:lnTo>
                  <a:lnTo>
                    <a:pt x="10" y="140"/>
                  </a:lnTo>
                  <a:lnTo>
                    <a:pt x="14" y="104"/>
                  </a:lnTo>
                  <a:lnTo>
                    <a:pt x="14" y="94"/>
                  </a:lnTo>
                  <a:lnTo>
                    <a:pt x="17" y="46"/>
                  </a:lnTo>
                  <a:lnTo>
                    <a:pt x="17" y="46"/>
                  </a:lnTo>
                  <a:lnTo>
                    <a:pt x="19" y="0"/>
                  </a:lnTo>
                  <a:lnTo>
                    <a:pt x="72" y="3"/>
                  </a:lnTo>
                  <a:lnTo>
                    <a:pt x="79" y="3"/>
                  </a:lnTo>
                  <a:lnTo>
                    <a:pt x="125" y="5"/>
                  </a:lnTo>
                  <a:lnTo>
                    <a:pt x="126" y="5"/>
                  </a:lnTo>
                  <a:lnTo>
                    <a:pt x="171" y="8"/>
                  </a:lnTo>
                  <a:lnTo>
                    <a:pt x="173" y="8"/>
                  </a:lnTo>
                  <a:lnTo>
                    <a:pt x="217" y="10"/>
                  </a:lnTo>
                  <a:lnTo>
                    <a:pt x="253" y="10"/>
                  </a:lnTo>
                  <a:lnTo>
                    <a:pt x="263" y="12"/>
                  </a:lnTo>
                  <a:lnTo>
                    <a:pt x="290" y="12"/>
                  </a:lnTo>
                  <a:lnTo>
                    <a:pt x="309" y="14"/>
                  </a:lnTo>
                  <a:lnTo>
                    <a:pt x="328" y="14"/>
                  </a:lnTo>
                  <a:lnTo>
                    <a:pt x="355" y="14"/>
                  </a:lnTo>
                  <a:lnTo>
                    <a:pt x="364" y="14"/>
                  </a:lnTo>
                  <a:lnTo>
                    <a:pt x="402" y="15"/>
                  </a:lnTo>
                  <a:lnTo>
                    <a:pt x="439" y="15"/>
                  </a:lnTo>
                  <a:lnTo>
                    <a:pt x="448" y="15"/>
                  </a:lnTo>
                  <a:lnTo>
                    <a:pt x="475" y="15"/>
                  </a:lnTo>
                  <a:lnTo>
                    <a:pt x="494" y="15"/>
                  </a:lnTo>
                  <a:lnTo>
                    <a:pt x="513" y="15"/>
                  </a:lnTo>
                  <a:lnTo>
                    <a:pt x="531" y="15"/>
                  </a:lnTo>
                  <a:lnTo>
                    <a:pt x="567" y="15"/>
                  </a:lnTo>
                  <a:lnTo>
                    <a:pt x="569" y="15"/>
                  </a:lnTo>
                  <a:lnTo>
                    <a:pt x="574" y="22"/>
                  </a:lnTo>
                  <a:lnTo>
                    <a:pt x="578" y="22"/>
                  </a:lnTo>
                  <a:lnTo>
                    <a:pt x="579" y="26"/>
                  </a:lnTo>
                  <a:lnTo>
                    <a:pt x="583" y="26"/>
                  </a:lnTo>
                  <a:lnTo>
                    <a:pt x="586" y="29"/>
                  </a:lnTo>
                  <a:lnTo>
                    <a:pt x="590" y="29"/>
                  </a:lnTo>
                  <a:lnTo>
                    <a:pt x="591" y="27"/>
                  </a:lnTo>
                  <a:lnTo>
                    <a:pt x="593" y="26"/>
                  </a:lnTo>
                  <a:lnTo>
                    <a:pt x="598" y="26"/>
                  </a:lnTo>
                  <a:lnTo>
                    <a:pt x="600" y="26"/>
                  </a:lnTo>
                  <a:lnTo>
                    <a:pt x="600" y="31"/>
                  </a:lnTo>
                  <a:lnTo>
                    <a:pt x="602" y="32"/>
                  </a:lnTo>
                  <a:lnTo>
                    <a:pt x="603" y="34"/>
                  </a:lnTo>
                  <a:lnTo>
                    <a:pt x="603" y="34"/>
                  </a:lnTo>
                  <a:lnTo>
                    <a:pt x="603" y="38"/>
                  </a:lnTo>
                  <a:lnTo>
                    <a:pt x="600" y="38"/>
                  </a:lnTo>
                  <a:lnTo>
                    <a:pt x="600" y="39"/>
                  </a:lnTo>
                  <a:lnTo>
                    <a:pt x="602" y="41"/>
                  </a:lnTo>
                  <a:lnTo>
                    <a:pt x="605" y="41"/>
                  </a:lnTo>
                  <a:lnTo>
                    <a:pt x="605" y="41"/>
                  </a:lnTo>
                  <a:lnTo>
                    <a:pt x="605" y="43"/>
                  </a:lnTo>
                  <a:lnTo>
                    <a:pt x="603" y="44"/>
                  </a:lnTo>
                  <a:lnTo>
                    <a:pt x="600" y="44"/>
                  </a:lnTo>
                  <a:lnTo>
                    <a:pt x="598" y="43"/>
                  </a:lnTo>
                  <a:lnTo>
                    <a:pt x="598" y="44"/>
                  </a:lnTo>
                  <a:lnTo>
                    <a:pt x="596" y="49"/>
                  </a:lnTo>
                  <a:lnTo>
                    <a:pt x="593" y="51"/>
                  </a:lnTo>
                  <a:lnTo>
                    <a:pt x="590" y="55"/>
                  </a:lnTo>
                  <a:lnTo>
                    <a:pt x="591" y="60"/>
                  </a:lnTo>
                  <a:lnTo>
                    <a:pt x="586" y="63"/>
                  </a:lnTo>
                  <a:lnTo>
                    <a:pt x="586" y="65"/>
                  </a:lnTo>
                  <a:lnTo>
                    <a:pt x="591" y="70"/>
                  </a:lnTo>
                  <a:lnTo>
                    <a:pt x="591" y="73"/>
                  </a:lnTo>
                  <a:lnTo>
                    <a:pt x="596" y="75"/>
                  </a:lnTo>
                  <a:lnTo>
                    <a:pt x="598" y="79"/>
                  </a:lnTo>
                  <a:lnTo>
                    <a:pt x="602" y="82"/>
                  </a:lnTo>
                  <a:lnTo>
                    <a:pt x="603" y="82"/>
                  </a:lnTo>
                  <a:lnTo>
                    <a:pt x="603" y="85"/>
                  </a:lnTo>
                  <a:lnTo>
                    <a:pt x="603" y="89"/>
                  </a:lnTo>
                  <a:lnTo>
                    <a:pt x="605" y="92"/>
                  </a:lnTo>
                  <a:lnTo>
                    <a:pt x="608" y="94"/>
                  </a:lnTo>
                  <a:lnTo>
                    <a:pt x="610" y="101"/>
                  </a:lnTo>
                  <a:lnTo>
                    <a:pt x="614" y="101"/>
                  </a:lnTo>
                  <a:lnTo>
                    <a:pt x="617" y="104"/>
                  </a:lnTo>
                  <a:lnTo>
                    <a:pt x="622" y="104"/>
                  </a:lnTo>
                  <a:lnTo>
                    <a:pt x="625" y="106"/>
                  </a:lnTo>
                  <a:lnTo>
                    <a:pt x="627" y="106"/>
                  </a:lnTo>
                  <a:lnTo>
                    <a:pt x="629" y="108"/>
                  </a:lnTo>
                  <a:lnTo>
                    <a:pt x="627" y="111"/>
                  </a:lnTo>
                  <a:lnTo>
                    <a:pt x="627" y="118"/>
                  </a:lnTo>
                  <a:lnTo>
                    <a:pt x="627" y="140"/>
                  </a:lnTo>
                  <a:lnTo>
                    <a:pt x="629" y="150"/>
                  </a:lnTo>
                  <a:lnTo>
                    <a:pt x="627" y="179"/>
                  </a:lnTo>
                  <a:lnTo>
                    <a:pt x="629" y="188"/>
                  </a:lnTo>
                  <a:lnTo>
                    <a:pt x="629" y="224"/>
                  </a:lnTo>
                  <a:lnTo>
                    <a:pt x="629" y="227"/>
                  </a:lnTo>
                  <a:lnTo>
                    <a:pt x="629" y="265"/>
                  </a:lnTo>
                  <a:lnTo>
                    <a:pt x="629" y="268"/>
                  </a:lnTo>
                  <a:lnTo>
                    <a:pt x="631" y="299"/>
                  </a:lnTo>
                  <a:lnTo>
                    <a:pt x="631" y="302"/>
                  </a:lnTo>
                  <a:lnTo>
                    <a:pt x="631" y="331"/>
                  </a:lnTo>
                  <a:lnTo>
                    <a:pt x="631" y="338"/>
                  </a:lnTo>
                  <a:lnTo>
                    <a:pt x="595" y="338"/>
                  </a:lnTo>
                  <a:lnTo>
                    <a:pt x="591" y="338"/>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1" name="Freeform 160"/>
            <p:cNvSpPr>
              <a:spLocks noEditPoints="1"/>
            </p:cNvSpPr>
            <p:nvPr/>
          </p:nvSpPr>
          <p:spPr bwMode="gray">
            <a:xfrm>
              <a:off x="6957398" y="3464700"/>
              <a:ext cx="1086928" cy="602238"/>
            </a:xfrm>
            <a:custGeom>
              <a:avLst/>
              <a:gdLst/>
              <a:ahLst/>
              <a:cxnLst>
                <a:cxn ang="0">
                  <a:pos x="273" y="338"/>
                </a:cxn>
                <a:cxn ang="0">
                  <a:pos x="155" y="352"/>
                </a:cxn>
                <a:cxn ang="0">
                  <a:pos x="70" y="366"/>
                </a:cxn>
                <a:cxn ang="0">
                  <a:pos x="1" y="373"/>
                </a:cxn>
                <a:cxn ang="0">
                  <a:pos x="42" y="354"/>
                </a:cxn>
                <a:cxn ang="0">
                  <a:pos x="63" y="330"/>
                </a:cxn>
                <a:cxn ang="0">
                  <a:pos x="73" y="309"/>
                </a:cxn>
                <a:cxn ang="0">
                  <a:pos x="131" y="256"/>
                </a:cxn>
                <a:cxn ang="0">
                  <a:pos x="142" y="275"/>
                </a:cxn>
                <a:cxn ang="0">
                  <a:pos x="155" y="284"/>
                </a:cxn>
                <a:cxn ang="0">
                  <a:pos x="181" y="272"/>
                </a:cxn>
                <a:cxn ang="0">
                  <a:pos x="215" y="267"/>
                </a:cxn>
                <a:cxn ang="0">
                  <a:pos x="229" y="253"/>
                </a:cxn>
                <a:cxn ang="0">
                  <a:pos x="237" y="253"/>
                </a:cxn>
                <a:cxn ang="0">
                  <a:pos x="260" y="244"/>
                </a:cxn>
                <a:cxn ang="0">
                  <a:pos x="266" y="233"/>
                </a:cxn>
                <a:cxn ang="0">
                  <a:pos x="266" y="217"/>
                </a:cxn>
                <a:cxn ang="0">
                  <a:pos x="273" y="197"/>
                </a:cxn>
                <a:cxn ang="0">
                  <a:pos x="287" y="171"/>
                </a:cxn>
                <a:cxn ang="0">
                  <a:pos x="297" y="145"/>
                </a:cxn>
                <a:cxn ang="0">
                  <a:pos x="301" y="121"/>
                </a:cxn>
                <a:cxn ang="0">
                  <a:pos x="336" y="121"/>
                </a:cxn>
                <a:cxn ang="0">
                  <a:pos x="347" y="80"/>
                </a:cxn>
                <a:cxn ang="0">
                  <a:pos x="371" y="62"/>
                </a:cxn>
                <a:cxn ang="0">
                  <a:pos x="384" y="50"/>
                </a:cxn>
                <a:cxn ang="0">
                  <a:pos x="391" y="34"/>
                </a:cxn>
                <a:cxn ang="0">
                  <a:pos x="395" y="10"/>
                </a:cxn>
                <a:cxn ang="0">
                  <a:pos x="441" y="26"/>
                </a:cxn>
                <a:cxn ang="0">
                  <a:pos x="454" y="5"/>
                </a:cxn>
                <a:cxn ang="0">
                  <a:pos x="465" y="19"/>
                </a:cxn>
                <a:cxn ang="0">
                  <a:pos x="489" y="27"/>
                </a:cxn>
                <a:cxn ang="0">
                  <a:pos x="511" y="45"/>
                </a:cxn>
                <a:cxn ang="0">
                  <a:pos x="509" y="60"/>
                </a:cxn>
                <a:cxn ang="0">
                  <a:pos x="495" y="92"/>
                </a:cxn>
                <a:cxn ang="0">
                  <a:pos x="562" y="113"/>
                </a:cxn>
                <a:cxn ang="0">
                  <a:pos x="596" y="135"/>
                </a:cxn>
                <a:cxn ang="0">
                  <a:pos x="571" y="150"/>
                </a:cxn>
                <a:cxn ang="0">
                  <a:pos x="598" y="169"/>
                </a:cxn>
                <a:cxn ang="0">
                  <a:pos x="605" y="192"/>
                </a:cxn>
                <a:cxn ang="0">
                  <a:pos x="598" y="197"/>
                </a:cxn>
                <a:cxn ang="0">
                  <a:pos x="600" y="212"/>
                </a:cxn>
                <a:cxn ang="0">
                  <a:pos x="612" y="224"/>
                </a:cxn>
                <a:cxn ang="0">
                  <a:pos x="581" y="219"/>
                </a:cxn>
                <a:cxn ang="0">
                  <a:pos x="557" y="202"/>
                </a:cxn>
                <a:cxn ang="0">
                  <a:pos x="577" y="217"/>
                </a:cxn>
                <a:cxn ang="0">
                  <a:pos x="598" y="238"/>
                </a:cxn>
                <a:cxn ang="0">
                  <a:pos x="612" y="243"/>
                </a:cxn>
                <a:cxn ang="0">
                  <a:pos x="622" y="233"/>
                </a:cxn>
                <a:cxn ang="0">
                  <a:pos x="648" y="250"/>
                </a:cxn>
                <a:cxn ang="0">
                  <a:pos x="605" y="277"/>
                </a:cxn>
                <a:cxn ang="0">
                  <a:pos x="487" y="301"/>
                </a:cxn>
                <a:cxn ang="0">
                  <a:pos x="673" y="99"/>
                </a:cxn>
                <a:cxn ang="0">
                  <a:pos x="670" y="113"/>
                </a:cxn>
                <a:cxn ang="0">
                  <a:pos x="637" y="142"/>
                </a:cxn>
                <a:cxn ang="0">
                  <a:pos x="644" y="109"/>
                </a:cxn>
                <a:cxn ang="0">
                  <a:pos x="646" y="162"/>
                </a:cxn>
                <a:cxn ang="0">
                  <a:pos x="639" y="205"/>
                </a:cxn>
                <a:cxn ang="0">
                  <a:pos x="636" y="161"/>
                </a:cxn>
              </a:cxnLst>
              <a:rect l="0" t="0" r="r" b="b"/>
              <a:pathLst>
                <a:path w="675" h="374">
                  <a:moveTo>
                    <a:pt x="383" y="321"/>
                  </a:moveTo>
                  <a:lnTo>
                    <a:pt x="377" y="321"/>
                  </a:lnTo>
                  <a:lnTo>
                    <a:pt x="352" y="327"/>
                  </a:lnTo>
                  <a:lnTo>
                    <a:pt x="335" y="330"/>
                  </a:lnTo>
                  <a:lnTo>
                    <a:pt x="309" y="333"/>
                  </a:lnTo>
                  <a:lnTo>
                    <a:pt x="307" y="333"/>
                  </a:lnTo>
                  <a:lnTo>
                    <a:pt x="273" y="338"/>
                  </a:lnTo>
                  <a:lnTo>
                    <a:pt x="260" y="340"/>
                  </a:lnTo>
                  <a:lnTo>
                    <a:pt x="239" y="344"/>
                  </a:lnTo>
                  <a:lnTo>
                    <a:pt x="234" y="344"/>
                  </a:lnTo>
                  <a:lnTo>
                    <a:pt x="196" y="349"/>
                  </a:lnTo>
                  <a:lnTo>
                    <a:pt x="169" y="352"/>
                  </a:lnTo>
                  <a:lnTo>
                    <a:pt x="171" y="349"/>
                  </a:lnTo>
                  <a:lnTo>
                    <a:pt x="155" y="352"/>
                  </a:lnTo>
                  <a:lnTo>
                    <a:pt x="148" y="352"/>
                  </a:lnTo>
                  <a:lnTo>
                    <a:pt x="147" y="354"/>
                  </a:lnTo>
                  <a:lnTo>
                    <a:pt x="128" y="357"/>
                  </a:lnTo>
                  <a:lnTo>
                    <a:pt x="123" y="357"/>
                  </a:lnTo>
                  <a:lnTo>
                    <a:pt x="116" y="359"/>
                  </a:lnTo>
                  <a:lnTo>
                    <a:pt x="90" y="362"/>
                  </a:lnTo>
                  <a:lnTo>
                    <a:pt x="70" y="366"/>
                  </a:lnTo>
                  <a:lnTo>
                    <a:pt x="58" y="368"/>
                  </a:lnTo>
                  <a:lnTo>
                    <a:pt x="39" y="371"/>
                  </a:lnTo>
                  <a:lnTo>
                    <a:pt x="36" y="371"/>
                  </a:lnTo>
                  <a:lnTo>
                    <a:pt x="34" y="369"/>
                  </a:lnTo>
                  <a:lnTo>
                    <a:pt x="17" y="373"/>
                  </a:lnTo>
                  <a:lnTo>
                    <a:pt x="0" y="374"/>
                  </a:lnTo>
                  <a:lnTo>
                    <a:pt x="1" y="373"/>
                  </a:lnTo>
                  <a:lnTo>
                    <a:pt x="10" y="366"/>
                  </a:lnTo>
                  <a:lnTo>
                    <a:pt x="17" y="366"/>
                  </a:lnTo>
                  <a:lnTo>
                    <a:pt x="22" y="364"/>
                  </a:lnTo>
                  <a:lnTo>
                    <a:pt x="22" y="362"/>
                  </a:lnTo>
                  <a:lnTo>
                    <a:pt x="27" y="359"/>
                  </a:lnTo>
                  <a:lnTo>
                    <a:pt x="37" y="356"/>
                  </a:lnTo>
                  <a:lnTo>
                    <a:pt x="42" y="354"/>
                  </a:lnTo>
                  <a:lnTo>
                    <a:pt x="44" y="352"/>
                  </a:lnTo>
                  <a:lnTo>
                    <a:pt x="42" y="349"/>
                  </a:lnTo>
                  <a:lnTo>
                    <a:pt x="48" y="340"/>
                  </a:lnTo>
                  <a:lnTo>
                    <a:pt x="49" y="340"/>
                  </a:lnTo>
                  <a:lnTo>
                    <a:pt x="56" y="338"/>
                  </a:lnTo>
                  <a:lnTo>
                    <a:pt x="63" y="333"/>
                  </a:lnTo>
                  <a:lnTo>
                    <a:pt x="63" y="330"/>
                  </a:lnTo>
                  <a:lnTo>
                    <a:pt x="63" y="325"/>
                  </a:lnTo>
                  <a:lnTo>
                    <a:pt x="66" y="321"/>
                  </a:lnTo>
                  <a:lnTo>
                    <a:pt x="73" y="318"/>
                  </a:lnTo>
                  <a:lnTo>
                    <a:pt x="73" y="313"/>
                  </a:lnTo>
                  <a:lnTo>
                    <a:pt x="73" y="313"/>
                  </a:lnTo>
                  <a:lnTo>
                    <a:pt x="73" y="311"/>
                  </a:lnTo>
                  <a:lnTo>
                    <a:pt x="73" y="309"/>
                  </a:lnTo>
                  <a:lnTo>
                    <a:pt x="84" y="297"/>
                  </a:lnTo>
                  <a:lnTo>
                    <a:pt x="85" y="297"/>
                  </a:lnTo>
                  <a:lnTo>
                    <a:pt x="97" y="291"/>
                  </a:lnTo>
                  <a:lnTo>
                    <a:pt x="101" y="289"/>
                  </a:lnTo>
                  <a:lnTo>
                    <a:pt x="106" y="284"/>
                  </a:lnTo>
                  <a:lnTo>
                    <a:pt x="130" y="255"/>
                  </a:lnTo>
                  <a:lnTo>
                    <a:pt x="131" y="256"/>
                  </a:lnTo>
                  <a:lnTo>
                    <a:pt x="131" y="258"/>
                  </a:lnTo>
                  <a:lnTo>
                    <a:pt x="130" y="260"/>
                  </a:lnTo>
                  <a:lnTo>
                    <a:pt x="128" y="262"/>
                  </a:lnTo>
                  <a:lnTo>
                    <a:pt x="135" y="267"/>
                  </a:lnTo>
                  <a:lnTo>
                    <a:pt x="135" y="272"/>
                  </a:lnTo>
                  <a:lnTo>
                    <a:pt x="138" y="274"/>
                  </a:lnTo>
                  <a:lnTo>
                    <a:pt x="142" y="275"/>
                  </a:lnTo>
                  <a:lnTo>
                    <a:pt x="142" y="277"/>
                  </a:lnTo>
                  <a:lnTo>
                    <a:pt x="143" y="279"/>
                  </a:lnTo>
                  <a:lnTo>
                    <a:pt x="145" y="280"/>
                  </a:lnTo>
                  <a:lnTo>
                    <a:pt x="147" y="279"/>
                  </a:lnTo>
                  <a:lnTo>
                    <a:pt x="152" y="280"/>
                  </a:lnTo>
                  <a:lnTo>
                    <a:pt x="152" y="282"/>
                  </a:lnTo>
                  <a:lnTo>
                    <a:pt x="155" y="284"/>
                  </a:lnTo>
                  <a:lnTo>
                    <a:pt x="159" y="285"/>
                  </a:lnTo>
                  <a:lnTo>
                    <a:pt x="169" y="284"/>
                  </a:lnTo>
                  <a:lnTo>
                    <a:pt x="172" y="280"/>
                  </a:lnTo>
                  <a:lnTo>
                    <a:pt x="172" y="279"/>
                  </a:lnTo>
                  <a:lnTo>
                    <a:pt x="174" y="279"/>
                  </a:lnTo>
                  <a:lnTo>
                    <a:pt x="181" y="274"/>
                  </a:lnTo>
                  <a:lnTo>
                    <a:pt x="181" y="272"/>
                  </a:lnTo>
                  <a:lnTo>
                    <a:pt x="183" y="268"/>
                  </a:lnTo>
                  <a:lnTo>
                    <a:pt x="188" y="272"/>
                  </a:lnTo>
                  <a:lnTo>
                    <a:pt x="196" y="277"/>
                  </a:lnTo>
                  <a:lnTo>
                    <a:pt x="201" y="272"/>
                  </a:lnTo>
                  <a:lnTo>
                    <a:pt x="212" y="268"/>
                  </a:lnTo>
                  <a:lnTo>
                    <a:pt x="215" y="267"/>
                  </a:lnTo>
                  <a:lnTo>
                    <a:pt x="215" y="267"/>
                  </a:lnTo>
                  <a:lnTo>
                    <a:pt x="217" y="267"/>
                  </a:lnTo>
                  <a:lnTo>
                    <a:pt x="219" y="267"/>
                  </a:lnTo>
                  <a:lnTo>
                    <a:pt x="225" y="262"/>
                  </a:lnTo>
                  <a:lnTo>
                    <a:pt x="225" y="260"/>
                  </a:lnTo>
                  <a:lnTo>
                    <a:pt x="222" y="256"/>
                  </a:lnTo>
                  <a:lnTo>
                    <a:pt x="224" y="251"/>
                  </a:lnTo>
                  <a:lnTo>
                    <a:pt x="229" y="253"/>
                  </a:lnTo>
                  <a:lnTo>
                    <a:pt x="229" y="255"/>
                  </a:lnTo>
                  <a:lnTo>
                    <a:pt x="232" y="255"/>
                  </a:lnTo>
                  <a:lnTo>
                    <a:pt x="232" y="256"/>
                  </a:lnTo>
                  <a:lnTo>
                    <a:pt x="234" y="255"/>
                  </a:lnTo>
                  <a:lnTo>
                    <a:pt x="234" y="255"/>
                  </a:lnTo>
                  <a:lnTo>
                    <a:pt x="234" y="253"/>
                  </a:lnTo>
                  <a:lnTo>
                    <a:pt x="237" y="253"/>
                  </a:lnTo>
                  <a:lnTo>
                    <a:pt x="244" y="246"/>
                  </a:lnTo>
                  <a:lnTo>
                    <a:pt x="249" y="243"/>
                  </a:lnTo>
                  <a:lnTo>
                    <a:pt x="251" y="241"/>
                  </a:lnTo>
                  <a:lnTo>
                    <a:pt x="254" y="243"/>
                  </a:lnTo>
                  <a:lnTo>
                    <a:pt x="254" y="246"/>
                  </a:lnTo>
                  <a:lnTo>
                    <a:pt x="256" y="246"/>
                  </a:lnTo>
                  <a:lnTo>
                    <a:pt x="260" y="244"/>
                  </a:lnTo>
                  <a:lnTo>
                    <a:pt x="261" y="241"/>
                  </a:lnTo>
                  <a:lnTo>
                    <a:pt x="265" y="239"/>
                  </a:lnTo>
                  <a:lnTo>
                    <a:pt x="265" y="238"/>
                  </a:lnTo>
                  <a:lnTo>
                    <a:pt x="270" y="234"/>
                  </a:lnTo>
                  <a:lnTo>
                    <a:pt x="270" y="233"/>
                  </a:lnTo>
                  <a:lnTo>
                    <a:pt x="268" y="233"/>
                  </a:lnTo>
                  <a:lnTo>
                    <a:pt x="266" y="233"/>
                  </a:lnTo>
                  <a:lnTo>
                    <a:pt x="266" y="229"/>
                  </a:lnTo>
                  <a:lnTo>
                    <a:pt x="272" y="226"/>
                  </a:lnTo>
                  <a:lnTo>
                    <a:pt x="273" y="222"/>
                  </a:lnTo>
                  <a:lnTo>
                    <a:pt x="270" y="221"/>
                  </a:lnTo>
                  <a:lnTo>
                    <a:pt x="266" y="221"/>
                  </a:lnTo>
                  <a:lnTo>
                    <a:pt x="265" y="221"/>
                  </a:lnTo>
                  <a:lnTo>
                    <a:pt x="266" y="217"/>
                  </a:lnTo>
                  <a:lnTo>
                    <a:pt x="265" y="217"/>
                  </a:lnTo>
                  <a:lnTo>
                    <a:pt x="268" y="212"/>
                  </a:lnTo>
                  <a:lnTo>
                    <a:pt x="268" y="209"/>
                  </a:lnTo>
                  <a:lnTo>
                    <a:pt x="270" y="205"/>
                  </a:lnTo>
                  <a:lnTo>
                    <a:pt x="270" y="203"/>
                  </a:lnTo>
                  <a:lnTo>
                    <a:pt x="273" y="198"/>
                  </a:lnTo>
                  <a:lnTo>
                    <a:pt x="273" y="197"/>
                  </a:lnTo>
                  <a:lnTo>
                    <a:pt x="273" y="193"/>
                  </a:lnTo>
                  <a:lnTo>
                    <a:pt x="277" y="192"/>
                  </a:lnTo>
                  <a:lnTo>
                    <a:pt x="277" y="190"/>
                  </a:lnTo>
                  <a:lnTo>
                    <a:pt x="280" y="185"/>
                  </a:lnTo>
                  <a:lnTo>
                    <a:pt x="285" y="180"/>
                  </a:lnTo>
                  <a:lnTo>
                    <a:pt x="287" y="174"/>
                  </a:lnTo>
                  <a:lnTo>
                    <a:pt x="287" y="171"/>
                  </a:lnTo>
                  <a:lnTo>
                    <a:pt x="289" y="166"/>
                  </a:lnTo>
                  <a:lnTo>
                    <a:pt x="287" y="164"/>
                  </a:lnTo>
                  <a:lnTo>
                    <a:pt x="289" y="161"/>
                  </a:lnTo>
                  <a:lnTo>
                    <a:pt x="289" y="159"/>
                  </a:lnTo>
                  <a:lnTo>
                    <a:pt x="294" y="150"/>
                  </a:lnTo>
                  <a:lnTo>
                    <a:pt x="297" y="147"/>
                  </a:lnTo>
                  <a:lnTo>
                    <a:pt x="297" y="145"/>
                  </a:lnTo>
                  <a:lnTo>
                    <a:pt x="295" y="144"/>
                  </a:lnTo>
                  <a:lnTo>
                    <a:pt x="295" y="142"/>
                  </a:lnTo>
                  <a:lnTo>
                    <a:pt x="297" y="139"/>
                  </a:lnTo>
                  <a:lnTo>
                    <a:pt x="301" y="137"/>
                  </a:lnTo>
                  <a:lnTo>
                    <a:pt x="301" y="133"/>
                  </a:lnTo>
                  <a:lnTo>
                    <a:pt x="302" y="128"/>
                  </a:lnTo>
                  <a:lnTo>
                    <a:pt x="301" y="121"/>
                  </a:lnTo>
                  <a:lnTo>
                    <a:pt x="302" y="118"/>
                  </a:lnTo>
                  <a:lnTo>
                    <a:pt x="302" y="116"/>
                  </a:lnTo>
                  <a:lnTo>
                    <a:pt x="302" y="111"/>
                  </a:lnTo>
                  <a:lnTo>
                    <a:pt x="313" y="113"/>
                  </a:lnTo>
                  <a:lnTo>
                    <a:pt x="318" y="121"/>
                  </a:lnTo>
                  <a:lnTo>
                    <a:pt x="333" y="125"/>
                  </a:lnTo>
                  <a:lnTo>
                    <a:pt x="336" y="121"/>
                  </a:lnTo>
                  <a:lnTo>
                    <a:pt x="338" y="116"/>
                  </a:lnTo>
                  <a:lnTo>
                    <a:pt x="343" y="96"/>
                  </a:lnTo>
                  <a:lnTo>
                    <a:pt x="345" y="96"/>
                  </a:lnTo>
                  <a:lnTo>
                    <a:pt x="347" y="96"/>
                  </a:lnTo>
                  <a:lnTo>
                    <a:pt x="347" y="91"/>
                  </a:lnTo>
                  <a:lnTo>
                    <a:pt x="348" y="84"/>
                  </a:lnTo>
                  <a:lnTo>
                    <a:pt x="347" y="80"/>
                  </a:lnTo>
                  <a:lnTo>
                    <a:pt x="348" y="80"/>
                  </a:lnTo>
                  <a:lnTo>
                    <a:pt x="352" y="74"/>
                  </a:lnTo>
                  <a:lnTo>
                    <a:pt x="364" y="80"/>
                  </a:lnTo>
                  <a:lnTo>
                    <a:pt x="366" y="74"/>
                  </a:lnTo>
                  <a:lnTo>
                    <a:pt x="367" y="67"/>
                  </a:lnTo>
                  <a:lnTo>
                    <a:pt x="371" y="63"/>
                  </a:lnTo>
                  <a:lnTo>
                    <a:pt x="371" y="62"/>
                  </a:lnTo>
                  <a:lnTo>
                    <a:pt x="372" y="62"/>
                  </a:lnTo>
                  <a:lnTo>
                    <a:pt x="372" y="63"/>
                  </a:lnTo>
                  <a:lnTo>
                    <a:pt x="376" y="62"/>
                  </a:lnTo>
                  <a:lnTo>
                    <a:pt x="377" y="58"/>
                  </a:lnTo>
                  <a:lnTo>
                    <a:pt x="377" y="55"/>
                  </a:lnTo>
                  <a:lnTo>
                    <a:pt x="381" y="55"/>
                  </a:lnTo>
                  <a:lnTo>
                    <a:pt x="384" y="50"/>
                  </a:lnTo>
                  <a:lnTo>
                    <a:pt x="384" y="48"/>
                  </a:lnTo>
                  <a:lnTo>
                    <a:pt x="383" y="48"/>
                  </a:lnTo>
                  <a:lnTo>
                    <a:pt x="384" y="45"/>
                  </a:lnTo>
                  <a:lnTo>
                    <a:pt x="386" y="41"/>
                  </a:lnTo>
                  <a:lnTo>
                    <a:pt x="388" y="38"/>
                  </a:lnTo>
                  <a:lnTo>
                    <a:pt x="391" y="38"/>
                  </a:lnTo>
                  <a:lnTo>
                    <a:pt x="391" y="34"/>
                  </a:lnTo>
                  <a:lnTo>
                    <a:pt x="393" y="31"/>
                  </a:lnTo>
                  <a:lnTo>
                    <a:pt x="391" y="27"/>
                  </a:lnTo>
                  <a:lnTo>
                    <a:pt x="391" y="27"/>
                  </a:lnTo>
                  <a:lnTo>
                    <a:pt x="391" y="22"/>
                  </a:lnTo>
                  <a:lnTo>
                    <a:pt x="391" y="22"/>
                  </a:lnTo>
                  <a:lnTo>
                    <a:pt x="395" y="12"/>
                  </a:lnTo>
                  <a:lnTo>
                    <a:pt x="395" y="10"/>
                  </a:lnTo>
                  <a:lnTo>
                    <a:pt x="393" y="10"/>
                  </a:lnTo>
                  <a:lnTo>
                    <a:pt x="393" y="7"/>
                  </a:lnTo>
                  <a:lnTo>
                    <a:pt x="391" y="0"/>
                  </a:lnTo>
                  <a:lnTo>
                    <a:pt x="398" y="2"/>
                  </a:lnTo>
                  <a:lnTo>
                    <a:pt x="403" y="5"/>
                  </a:lnTo>
                  <a:lnTo>
                    <a:pt x="422" y="15"/>
                  </a:lnTo>
                  <a:lnTo>
                    <a:pt x="441" y="26"/>
                  </a:lnTo>
                  <a:lnTo>
                    <a:pt x="441" y="26"/>
                  </a:lnTo>
                  <a:lnTo>
                    <a:pt x="441" y="19"/>
                  </a:lnTo>
                  <a:lnTo>
                    <a:pt x="442" y="14"/>
                  </a:lnTo>
                  <a:lnTo>
                    <a:pt x="442" y="9"/>
                  </a:lnTo>
                  <a:lnTo>
                    <a:pt x="444" y="5"/>
                  </a:lnTo>
                  <a:lnTo>
                    <a:pt x="449" y="4"/>
                  </a:lnTo>
                  <a:lnTo>
                    <a:pt x="454" y="5"/>
                  </a:lnTo>
                  <a:lnTo>
                    <a:pt x="458" y="4"/>
                  </a:lnTo>
                  <a:lnTo>
                    <a:pt x="461" y="7"/>
                  </a:lnTo>
                  <a:lnTo>
                    <a:pt x="465" y="9"/>
                  </a:lnTo>
                  <a:lnTo>
                    <a:pt x="468" y="10"/>
                  </a:lnTo>
                  <a:lnTo>
                    <a:pt x="468" y="10"/>
                  </a:lnTo>
                  <a:lnTo>
                    <a:pt x="468" y="15"/>
                  </a:lnTo>
                  <a:lnTo>
                    <a:pt x="465" y="19"/>
                  </a:lnTo>
                  <a:lnTo>
                    <a:pt x="466" y="22"/>
                  </a:lnTo>
                  <a:lnTo>
                    <a:pt x="470" y="24"/>
                  </a:lnTo>
                  <a:lnTo>
                    <a:pt x="471" y="26"/>
                  </a:lnTo>
                  <a:lnTo>
                    <a:pt x="473" y="27"/>
                  </a:lnTo>
                  <a:lnTo>
                    <a:pt x="480" y="26"/>
                  </a:lnTo>
                  <a:lnTo>
                    <a:pt x="483" y="26"/>
                  </a:lnTo>
                  <a:lnTo>
                    <a:pt x="489" y="27"/>
                  </a:lnTo>
                  <a:lnTo>
                    <a:pt x="492" y="33"/>
                  </a:lnTo>
                  <a:lnTo>
                    <a:pt x="499" y="33"/>
                  </a:lnTo>
                  <a:lnTo>
                    <a:pt x="502" y="36"/>
                  </a:lnTo>
                  <a:lnTo>
                    <a:pt x="506" y="38"/>
                  </a:lnTo>
                  <a:lnTo>
                    <a:pt x="507" y="39"/>
                  </a:lnTo>
                  <a:lnTo>
                    <a:pt x="511" y="41"/>
                  </a:lnTo>
                  <a:lnTo>
                    <a:pt x="511" y="45"/>
                  </a:lnTo>
                  <a:lnTo>
                    <a:pt x="511" y="46"/>
                  </a:lnTo>
                  <a:lnTo>
                    <a:pt x="511" y="46"/>
                  </a:lnTo>
                  <a:lnTo>
                    <a:pt x="511" y="50"/>
                  </a:lnTo>
                  <a:lnTo>
                    <a:pt x="512" y="56"/>
                  </a:lnTo>
                  <a:lnTo>
                    <a:pt x="512" y="58"/>
                  </a:lnTo>
                  <a:lnTo>
                    <a:pt x="509" y="58"/>
                  </a:lnTo>
                  <a:lnTo>
                    <a:pt x="509" y="60"/>
                  </a:lnTo>
                  <a:lnTo>
                    <a:pt x="507" y="63"/>
                  </a:lnTo>
                  <a:lnTo>
                    <a:pt x="507" y="67"/>
                  </a:lnTo>
                  <a:lnTo>
                    <a:pt x="502" y="70"/>
                  </a:lnTo>
                  <a:lnTo>
                    <a:pt x="502" y="65"/>
                  </a:lnTo>
                  <a:lnTo>
                    <a:pt x="499" y="67"/>
                  </a:lnTo>
                  <a:lnTo>
                    <a:pt x="497" y="84"/>
                  </a:lnTo>
                  <a:lnTo>
                    <a:pt x="495" y="92"/>
                  </a:lnTo>
                  <a:lnTo>
                    <a:pt x="501" y="99"/>
                  </a:lnTo>
                  <a:lnTo>
                    <a:pt x="499" y="101"/>
                  </a:lnTo>
                  <a:lnTo>
                    <a:pt x="506" y="101"/>
                  </a:lnTo>
                  <a:lnTo>
                    <a:pt x="519" y="94"/>
                  </a:lnTo>
                  <a:lnTo>
                    <a:pt x="526" y="103"/>
                  </a:lnTo>
                  <a:lnTo>
                    <a:pt x="533" y="109"/>
                  </a:lnTo>
                  <a:lnTo>
                    <a:pt x="562" y="113"/>
                  </a:lnTo>
                  <a:lnTo>
                    <a:pt x="567" y="118"/>
                  </a:lnTo>
                  <a:lnTo>
                    <a:pt x="567" y="123"/>
                  </a:lnTo>
                  <a:lnTo>
                    <a:pt x="567" y="125"/>
                  </a:lnTo>
                  <a:lnTo>
                    <a:pt x="571" y="123"/>
                  </a:lnTo>
                  <a:lnTo>
                    <a:pt x="584" y="127"/>
                  </a:lnTo>
                  <a:lnTo>
                    <a:pt x="595" y="132"/>
                  </a:lnTo>
                  <a:lnTo>
                    <a:pt x="596" y="135"/>
                  </a:lnTo>
                  <a:lnTo>
                    <a:pt x="591" y="142"/>
                  </a:lnTo>
                  <a:lnTo>
                    <a:pt x="595" y="150"/>
                  </a:lnTo>
                  <a:lnTo>
                    <a:pt x="591" y="154"/>
                  </a:lnTo>
                  <a:lnTo>
                    <a:pt x="595" y="156"/>
                  </a:lnTo>
                  <a:lnTo>
                    <a:pt x="595" y="161"/>
                  </a:lnTo>
                  <a:lnTo>
                    <a:pt x="579" y="161"/>
                  </a:lnTo>
                  <a:lnTo>
                    <a:pt x="571" y="150"/>
                  </a:lnTo>
                  <a:lnTo>
                    <a:pt x="567" y="149"/>
                  </a:lnTo>
                  <a:lnTo>
                    <a:pt x="552" y="137"/>
                  </a:lnTo>
                  <a:lnTo>
                    <a:pt x="548" y="139"/>
                  </a:lnTo>
                  <a:lnTo>
                    <a:pt x="559" y="149"/>
                  </a:lnTo>
                  <a:lnTo>
                    <a:pt x="564" y="150"/>
                  </a:lnTo>
                  <a:lnTo>
                    <a:pt x="576" y="162"/>
                  </a:lnTo>
                  <a:lnTo>
                    <a:pt x="598" y="169"/>
                  </a:lnTo>
                  <a:lnTo>
                    <a:pt x="596" y="171"/>
                  </a:lnTo>
                  <a:lnTo>
                    <a:pt x="583" y="171"/>
                  </a:lnTo>
                  <a:lnTo>
                    <a:pt x="589" y="174"/>
                  </a:lnTo>
                  <a:lnTo>
                    <a:pt x="596" y="173"/>
                  </a:lnTo>
                  <a:lnTo>
                    <a:pt x="606" y="185"/>
                  </a:lnTo>
                  <a:lnTo>
                    <a:pt x="606" y="192"/>
                  </a:lnTo>
                  <a:lnTo>
                    <a:pt x="605" y="192"/>
                  </a:lnTo>
                  <a:lnTo>
                    <a:pt x="600" y="186"/>
                  </a:lnTo>
                  <a:lnTo>
                    <a:pt x="589" y="181"/>
                  </a:lnTo>
                  <a:lnTo>
                    <a:pt x="589" y="185"/>
                  </a:lnTo>
                  <a:lnTo>
                    <a:pt x="593" y="185"/>
                  </a:lnTo>
                  <a:lnTo>
                    <a:pt x="595" y="188"/>
                  </a:lnTo>
                  <a:lnTo>
                    <a:pt x="591" y="190"/>
                  </a:lnTo>
                  <a:lnTo>
                    <a:pt x="598" y="197"/>
                  </a:lnTo>
                  <a:lnTo>
                    <a:pt x="593" y="202"/>
                  </a:lnTo>
                  <a:lnTo>
                    <a:pt x="574" y="190"/>
                  </a:lnTo>
                  <a:lnTo>
                    <a:pt x="569" y="190"/>
                  </a:lnTo>
                  <a:lnTo>
                    <a:pt x="572" y="193"/>
                  </a:lnTo>
                  <a:lnTo>
                    <a:pt x="581" y="200"/>
                  </a:lnTo>
                  <a:lnTo>
                    <a:pt x="596" y="207"/>
                  </a:lnTo>
                  <a:lnTo>
                    <a:pt x="600" y="212"/>
                  </a:lnTo>
                  <a:lnTo>
                    <a:pt x="600" y="210"/>
                  </a:lnTo>
                  <a:lnTo>
                    <a:pt x="603" y="212"/>
                  </a:lnTo>
                  <a:lnTo>
                    <a:pt x="605" y="209"/>
                  </a:lnTo>
                  <a:lnTo>
                    <a:pt x="610" y="214"/>
                  </a:lnTo>
                  <a:lnTo>
                    <a:pt x="601" y="217"/>
                  </a:lnTo>
                  <a:lnTo>
                    <a:pt x="612" y="219"/>
                  </a:lnTo>
                  <a:lnTo>
                    <a:pt x="612" y="224"/>
                  </a:lnTo>
                  <a:lnTo>
                    <a:pt x="605" y="229"/>
                  </a:lnTo>
                  <a:lnTo>
                    <a:pt x="601" y="233"/>
                  </a:lnTo>
                  <a:lnTo>
                    <a:pt x="591" y="224"/>
                  </a:lnTo>
                  <a:lnTo>
                    <a:pt x="591" y="221"/>
                  </a:lnTo>
                  <a:lnTo>
                    <a:pt x="588" y="219"/>
                  </a:lnTo>
                  <a:lnTo>
                    <a:pt x="588" y="222"/>
                  </a:lnTo>
                  <a:lnTo>
                    <a:pt x="581" y="219"/>
                  </a:lnTo>
                  <a:lnTo>
                    <a:pt x="583" y="214"/>
                  </a:lnTo>
                  <a:lnTo>
                    <a:pt x="577" y="209"/>
                  </a:lnTo>
                  <a:lnTo>
                    <a:pt x="574" y="209"/>
                  </a:lnTo>
                  <a:lnTo>
                    <a:pt x="571" y="214"/>
                  </a:lnTo>
                  <a:lnTo>
                    <a:pt x="565" y="210"/>
                  </a:lnTo>
                  <a:lnTo>
                    <a:pt x="560" y="210"/>
                  </a:lnTo>
                  <a:lnTo>
                    <a:pt x="557" y="202"/>
                  </a:lnTo>
                  <a:lnTo>
                    <a:pt x="559" y="209"/>
                  </a:lnTo>
                  <a:lnTo>
                    <a:pt x="554" y="212"/>
                  </a:lnTo>
                  <a:lnTo>
                    <a:pt x="557" y="215"/>
                  </a:lnTo>
                  <a:lnTo>
                    <a:pt x="565" y="214"/>
                  </a:lnTo>
                  <a:lnTo>
                    <a:pt x="572" y="219"/>
                  </a:lnTo>
                  <a:lnTo>
                    <a:pt x="576" y="212"/>
                  </a:lnTo>
                  <a:lnTo>
                    <a:pt x="577" y="217"/>
                  </a:lnTo>
                  <a:lnTo>
                    <a:pt x="579" y="227"/>
                  </a:lnTo>
                  <a:lnTo>
                    <a:pt x="588" y="229"/>
                  </a:lnTo>
                  <a:lnTo>
                    <a:pt x="586" y="233"/>
                  </a:lnTo>
                  <a:lnTo>
                    <a:pt x="589" y="231"/>
                  </a:lnTo>
                  <a:lnTo>
                    <a:pt x="596" y="234"/>
                  </a:lnTo>
                  <a:lnTo>
                    <a:pt x="596" y="239"/>
                  </a:lnTo>
                  <a:lnTo>
                    <a:pt x="598" y="238"/>
                  </a:lnTo>
                  <a:lnTo>
                    <a:pt x="598" y="241"/>
                  </a:lnTo>
                  <a:lnTo>
                    <a:pt x="593" y="248"/>
                  </a:lnTo>
                  <a:lnTo>
                    <a:pt x="595" y="253"/>
                  </a:lnTo>
                  <a:lnTo>
                    <a:pt x="598" y="244"/>
                  </a:lnTo>
                  <a:lnTo>
                    <a:pt x="605" y="239"/>
                  </a:lnTo>
                  <a:lnTo>
                    <a:pt x="610" y="236"/>
                  </a:lnTo>
                  <a:lnTo>
                    <a:pt x="612" y="243"/>
                  </a:lnTo>
                  <a:lnTo>
                    <a:pt x="608" y="246"/>
                  </a:lnTo>
                  <a:lnTo>
                    <a:pt x="606" y="246"/>
                  </a:lnTo>
                  <a:lnTo>
                    <a:pt x="613" y="243"/>
                  </a:lnTo>
                  <a:lnTo>
                    <a:pt x="617" y="244"/>
                  </a:lnTo>
                  <a:lnTo>
                    <a:pt x="612" y="233"/>
                  </a:lnTo>
                  <a:lnTo>
                    <a:pt x="613" y="231"/>
                  </a:lnTo>
                  <a:lnTo>
                    <a:pt x="622" y="233"/>
                  </a:lnTo>
                  <a:lnTo>
                    <a:pt x="624" y="234"/>
                  </a:lnTo>
                  <a:lnTo>
                    <a:pt x="629" y="231"/>
                  </a:lnTo>
                  <a:lnTo>
                    <a:pt x="639" y="229"/>
                  </a:lnTo>
                  <a:lnTo>
                    <a:pt x="656" y="267"/>
                  </a:lnTo>
                  <a:lnTo>
                    <a:pt x="654" y="267"/>
                  </a:lnTo>
                  <a:lnTo>
                    <a:pt x="654" y="262"/>
                  </a:lnTo>
                  <a:lnTo>
                    <a:pt x="648" y="250"/>
                  </a:lnTo>
                  <a:lnTo>
                    <a:pt x="648" y="268"/>
                  </a:lnTo>
                  <a:lnTo>
                    <a:pt x="644" y="268"/>
                  </a:lnTo>
                  <a:lnTo>
                    <a:pt x="641" y="265"/>
                  </a:lnTo>
                  <a:lnTo>
                    <a:pt x="642" y="268"/>
                  </a:lnTo>
                  <a:lnTo>
                    <a:pt x="636" y="270"/>
                  </a:lnTo>
                  <a:lnTo>
                    <a:pt x="618" y="274"/>
                  </a:lnTo>
                  <a:lnTo>
                    <a:pt x="605" y="277"/>
                  </a:lnTo>
                  <a:lnTo>
                    <a:pt x="600" y="279"/>
                  </a:lnTo>
                  <a:lnTo>
                    <a:pt x="569" y="284"/>
                  </a:lnTo>
                  <a:lnTo>
                    <a:pt x="569" y="284"/>
                  </a:lnTo>
                  <a:lnTo>
                    <a:pt x="548" y="289"/>
                  </a:lnTo>
                  <a:lnTo>
                    <a:pt x="536" y="291"/>
                  </a:lnTo>
                  <a:lnTo>
                    <a:pt x="499" y="299"/>
                  </a:lnTo>
                  <a:lnTo>
                    <a:pt x="487" y="301"/>
                  </a:lnTo>
                  <a:lnTo>
                    <a:pt x="475" y="303"/>
                  </a:lnTo>
                  <a:lnTo>
                    <a:pt x="453" y="308"/>
                  </a:lnTo>
                  <a:lnTo>
                    <a:pt x="441" y="311"/>
                  </a:lnTo>
                  <a:lnTo>
                    <a:pt x="417" y="315"/>
                  </a:lnTo>
                  <a:lnTo>
                    <a:pt x="412" y="316"/>
                  </a:lnTo>
                  <a:lnTo>
                    <a:pt x="383" y="321"/>
                  </a:lnTo>
                  <a:close/>
                  <a:moveTo>
                    <a:pt x="673" y="99"/>
                  </a:moveTo>
                  <a:lnTo>
                    <a:pt x="675" y="99"/>
                  </a:lnTo>
                  <a:lnTo>
                    <a:pt x="673" y="108"/>
                  </a:lnTo>
                  <a:lnTo>
                    <a:pt x="671" y="116"/>
                  </a:lnTo>
                  <a:lnTo>
                    <a:pt x="668" y="118"/>
                  </a:lnTo>
                  <a:lnTo>
                    <a:pt x="670" y="115"/>
                  </a:lnTo>
                  <a:lnTo>
                    <a:pt x="668" y="115"/>
                  </a:lnTo>
                  <a:lnTo>
                    <a:pt x="670" y="113"/>
                  </a:lnTo>
                  <a:lnTo>
                    <a:pt x="673" y="99"/>
                  </a:lnTo>
                  <a:close/>
                  <a:moveTo>
                    <a:pt x="636" y="161"/>
                  </a:moveTo>
                  <a:lnTo>
                    <a:pt x="629" y="161"/>
                  </a:lnTo>
                  <a:lnTo>
                    <a:pt x="629" y="157"/>
                  </a:lnTo>
                  <a:lnTo>
                    <a:pt x="632" y="157"/>
                  </a:lnTo>
                  <a:lnTo>
                    <a:pt x="630" y="157"/>
                  </a:lnTo>
                  <a:lnTo>
                    <a:pt x="637" y="142"/>
                  </a:lnTo>
                  <a:lnTo>
                    <a:pt x="637" y="133"/>
                  </a:lnTo>
                  <a:lnTo>
                    <a:pt x="642" y="128"/>
                  </a:lnTo>
                  <a:lnTo>
                    <a:pt x="642" y="125"/>
                  </a:lnTo>
                  <a:lnTo>
                    <a:pt x="637" y="118"/>
                  </a:lnTo>
                  <a:lnTo>
                    <a:pt x="644" y="116"/>
                  </a:lnTo>
                  <a:lnTo>
                    <a:pt x="644" y="113"/>
                  </a:lnTo>
                  <a:lnTo>
                    <a:pt x="644" y="109"/>
                  </a:lnTo>
                  <a:lnTo>
                    <a:pt x="665" y="103"/>
                  </a:lnTo>
                  <a:lnTo>
                    <a:pt x="653" y="140"/>
                  </a:lnTo>
                  <a:lnTo>
                    <a:pt x="654" y="142"/>
                  </a:lnTo>
                  <a:lnTo>
                    <a:pt x="648" y="154"/>
                  </a:lnTo>
                  <a:lnTo>
                    <a:pt x="653" y="156"/>
                  </a:lnTo>
                  <a:lnTo>
                    <a:pt x="646" y="157"/>
                  </a:lnTo>
                  <a:lnTo>
                    <a:pt x="646" y="162"/>
                  </a:lnTo>
                  <a:lnTo>
                    <a:pt x="649" y="164"/>
                  </a:lnTo>
                  <a:lnTo>
                    <a:pt x="641" y="168"/>
                  </a:lnTo>
                  <a:lnTo>
                    <a:pt x="642" y="173"/>
                  </a:lnTo>
                  <a:lnTo>
                    <a:pt x="644" y="174"/>
                  </a:lnTo>
                  <a:lnTo>
                    <a:pt x="641" y="174"/>
                  </a:lnTo>
                  <a:lnTo>
                    <a:pt x="637" y="181"/>
                  </a:lnTo>
                  <a:lnTo>
                    <a:pt x="639" y="205"/>
                  </a:lnTo>
                  <a:lnTo>
                    <a:pt x="636" y="207"/>
                  </a:lnTo>
                  <a:lnTo>
                    <a:pt x="629" y="188"/>
                  </a:lnTo>
                  <a:lnTo>
                    <a:pt x="630" y="169"/>
                  </a:lnTo>
                  <a:lnTo>
                    <a:pt x="629" y="169"/>
                  </a:lnTo>
                  <a:lnTo>
                    <a:pt x="629" y="166"/>
                  </a:lnTo>
                  <a:lnTo>
                    <a:pt x="630" y="161"/>
                  </a:lnTo>
                  <a:lnTo>
                    <a:pt x="636" y="16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2" name="Freeform 161"/>
            <p:cNvSpPr>
              <a:spLocks/>
            </p:cNvSpPr>
            <p:nvPr/>
          </p:nvSpPr>
          <p:spPr bwMode="gray">
            <a:xfrm>
              <a:off x="5293999" y="3467921"/>
              <a:ext cx="914628" cy="792249"/>
            </a:xfrm>
            <a:custGeom>
              <a:avLst/>
              <a:gdLst/>
              <a:ahLst/>
              <a:cxnLst>
                <a:cxn ang="0">
                  <a:pos x="568" y="398"/>
                </a:cxn>
                <a:cxn ang="0">
                  <a:pos x="564" y="412"/>
                </a:cxn>
                <a:cxn ang="0">
                  <a:pos x="553" y="418"/>
                </a:cxn>
                <a:cxn ang="0">
                  <a:pos x="542" y="437"/>
                </a:cxn>
                <a:cxn ang="0">
                  <a:pos x="539" y="427"/>
                </a:cxn>
                <a:cxn ang="0">
                  <a:pos x="535" y="432"/>
                </a:cxn>
                <a:cxn ang="0">
                  <a:pos x="530" y="449"/>
                </a:cxn>
                <a:cxn ang="0">
                  <a:pos x="530" y="461"/>
                </a:cxn>
                <a:cxn ang="0">
                  <a:pos x="532" y="470"/>
                </a:cxn>
                <a:cxn ang="0">
                  <a:pos x="501" y="489"/>
                </a:cxn>
                <a:cxn ang="0">
                  <a:pos x="477" y="475"/>
                </a:cxn>
                <a:cxn ang="0">
                  <a:pos x="491" y="460"/>
                </a:cxn>
                <a:cxn ang="0">
                  <a:pos x="486" y="446"/>
                </a:cxn>
                <a:cxn ang="0">
                  <a:pos x="445" y="439"/>
                </a:cxn>
                <a:cxn ang="0">
                  <a:pos x="313" y="446"/>
                </a:cxn>
                <a:cxn ang="0">
                  <a:pos x="211" y="449"/>
                </a:cxn>
                <a:cxn ang="0">
                  <a:pos x="100" y="422"/>
                </a:cxn>
                <a:cxn ang="0">
                  <a:pos x="98" y="323"/>
                </a:cxn>
                <a:cxn ang="0">
                  <a:pos x="96" y="198"/>
                </a:cxn>
                <a:cxn ang="0">
                  <a:pos x="91" y="162"/>
                </a:cxn>
                <a:cxn ang="0">
                  <a:pos x="72" y="147"/>
                </a:cxn>
                <a:cxn ang="0">
                  <a:pos x="60" y="131"/>
                </a:cxn>
                <a:cxn ang="0">
                  <a:pos x="62" y="109"/>
                </a:cxn>
                <a:cxn ang="0">
                  <a:pos x="74" y="101"/>
                </a:cxn>
                <a:cxn ang="0">
                  <a:pos x="72" y="96"/>
                </a:cxn>
                <a:cxn ang="0">
                  <a:pos x="67" y="84"/>
                </a:cxn>
                <a:cxn ang="0">
                  <a:pos x="48" y="84"/>
                </a:cxn>
                <a:cxn ang="0">
                  <a:pos x="31" y="68"/>
                </a:cxn>
                <a:cxn ang="0">
                  <a:pos x="26" y="54"/>
                </a:cxn>
                <a:cxn ang="0">
                  <a:pos x="11" y="39"/>
                </a:cxn>
                <a:cxn ang="0">
                  <a:pos x="7" y="19"/>
                </a:cxn>
                <a:cxn ang="0">
                  <a:pos x="4" y="15"/>
                </a:cxn>
                <a:cxn ang="0">
                  <a:pos x="93" y="10"/>
                </a:cxn>
                <a:cxn ang="0">
                  <a:pos x="195" y="8"/>
                </a:cxn>
                <a:cxn ang="0">
                  <a:pos x="310" y="0"/>
                </a:cxn>
                <a:cxn ang="0">
                  <a:pos x="337" y="10"/>
                </a:cxn>
                <a:cxn ang="0">
                  <a:pos x="344" y="20"/>
                </a:cxn>
                <a:cxn ang="0">
                  <a:pos x="347" y="37"/>
                </a:cxn>
                <a:cxn ang="0">
                  <a:pos x="354" y="73"/>
                </a:cxn>
                <a:cxn ang="0">
                  <a:pos x="361" y="94"/>
                </a:cxn>
                <a:cxn ang="0">
                  <a:pos x="390" y="123"/>
                </a:cxn>
                <a:cxn ang="0">
                  <a:pos x="417" y="148"/>
                </a:cxn>
                <a:cxn ang="0">
                  <a:pos x="428" y="181"/>
                </a:cxn>
                <a:cxn ang="0">
                  <a:pos x="455" y="176"/>
                </a:cxn>
                <a:cxn ang="0">
                  <a:pos x="465" y="191"/>
                </a:cxn>
                <a:cxn ang="0">
                  <a:pos x="460" y="217"/>
                </a:cxn>
                <a:cxn ang="0">
                  <a:pos x="453" y="249"/>
                </a:cxn>
                <a:cxn ang="0">
                  <a:pos x="474" y="272"/>
                </a:cxn>
                <a:cxn ang="0">
                  <a:pos x="494" y="287"/>
                </a:cxn>
                <a:cxn ang="0">
                  <a:pos x="513" y="295"/>
                </a:cxn>
                <a:cxn ang="0">
                  <a:pos x="529" y="313"/>
                </a:cxn>
                <a:cxn ang="0">
                  <a:pos x="534" y="342"/>
                </a:cxn>
                <a:cxn ang="0">
                  <a:pos x="535" y="354"/>
                </a:cxn>
                <a:cxn ang="0">
                  <a:pos x="553" y="377"/>
                </a:cxn>
                <a:cxn ang="0">
                  <a:pos x="553" y="367"/>
                </a:cxn>
                <a:cxn ang="0">
                  <a:pos x="568" y="381"/>
                </a:cxn>
              </a:cxnLst>
              <a:rect l="0" t="0" r="r" b="b"/>
              <a:pathLst>
                <a:path w="568" h="492">
                  <a:moveTo>
                    <a:pt x="568" y="381"/>
                  </a:moveTo>
                  <a:lnTo>
                    <a:pt x="566" y="391"/>
                  </a:lnTo>
                  <a:lnTo>
                    <a:pt x="563" y="393"/>
                  </a:lnTo>
                  <a:lnTo>
                    <a:pt x="563" y="395"/>
                  </a:lnTo>
                  <a:lnTo>
                    <a:pt x="564" y="398"/>
                  </a:lnTo>
                  <a:lnTo>
                    <a:pt x="568" y="398"/>
                  </a:lnTo>
                  <a:lnTo>
                    <a:pt x="568" y="401"/>
                  </a:lnTo>
                  <a:lnTo>
                    <a:pt x="566" y="403"/>
                  </a:lnTo>
                  <a:lnTo>
                    <a:pt x="563" y="403"/>
                  </a:lnTo>
                  <a:lnTo>
                    <a:pt x="561" y="407"/>
                  </a:lnTo>
                  <a:lnTo>
                    <a:pt x="561" y="408"/>
                  </a:lnTo>
                  <a:lnTo>
                    <a:pt x="564" y="412"/>
                  </a:lnTo>
                  <a:lnTo>
                    <a:pt x="564" y="413"/>
                  </a:lnTo>
                  <a:lnTo>
                    <a:pt x="563" y="417"/>
                  </a:lnTo>
                  <a:lnTo>
                    <a:pt x="561" y="422"/>
                  </a:lnTo>
                  <a:lnTo>
                    <a:pt x="559" y="424"/>
                  </a:lnTo>
                  <a:lnTo>
                    <a:pt x="556" y="424"/>
                  </a:lnTo>
                  <a:lnTo>
                    <a:pt x="553" y="418"/>
                  </a:lnTo>
                  <a:lnTo>
                    <a:pt x="551" y="418"/>
                  </a:lnTo>
                  <a:lnTo>
                    <a:pt x="549" y="418"/>
                  </a:lnTo>
                  <a:lnTo>
                    <a:pt x="547" y="418"/>
                  </a:lnTo>
                  <a:lnTo>
                    <a:pt x="544" y="430"/>
                  </a:lnTo>
                  <a:lnTo>
                    <a:pt x="546" y="432"/>
                  </a:lnTo>
                  <a:lnTo>
                    <a:pt x="542" y="437"/>
                  </a:lnTo>
                  <a:lnTo>
                    <a:pt x="541" y="437"/>
                  </a:lnTo>
                  <a:lnTo>
                    <a:pt x="539" y="436"/>
                  </a:lnTo>
                  <a:lnTo>
                    <a:pt x="541" y="432"/>
                  </a:lnTo>
                  <a:lnTo>
                    <a:pt x="539" y="432"/>
                  </a:lnTo>
                  <a:lnTo>
                    <a:pt x="541" y="429"/>
                  </a:lnTo>
                  <a:lnTo>
                    <a:pt x="539" y="427"/>
                  </a:lnTo>
                  <a:lnTo>
                    <a:pt x="537" y="425"/>
                  </a:lnTo>
                  <a:lnTo>
                    <a:pt x="535" y="425"/>
                  </a:lnTo>
                  <a:lnTo>
                    <a:pt x="532" y="427"/>
                  </a:lnTo>
                  <a:lnTo>
                    <a:pt x="532" y="429"/>
                  </a:lnTo>
                  <a:lnTo>
                    <a:pt x="532" y="430"/>
                  </a:lnTo>
                  <a:lnTo>
                    <a:pt x="535" y="432"/>
                  </a:lnTo>
                  <a:lnTo>
                    <a:pt x="537" y="436"/>
                  </a:lnTo>
                  <a:lnTo>
                    <a:pt x="534" y="439"/>
                  </a:lnTo>
                  <a:lnTo>
                    <a:pt x="537" y="442"/>
                  </a:lnTo>
                  <a:lnTo>
                    <a:pt x="537" y="448"/>
                  </a:lnTo>
                  <a:lnTo>
                    <a:pt x="535" y="449"/>
                  </a:lnTo>
                  <a:lnTo>
                    <a:pt x="530" y="449"/>
                  </a:lnTo>
                  <a:lnTo>
                    <a:pt x="529" y="451"/>
                  </a:lnTo>
                  <a:lnTo>
                    <a:pt x="530" y="454"/>
                  </a:lnTo>
                  <a:lnTo>
                    <a:pt x="535" y="456"/>
                  </a:lnTo>
                  <a:lnTo>
                    <a:pt x="537" y="458"/>
                  </a:lnTo>
                  <a:lnTo>
                    <a:pt x="535" y="460"/>
                  </a:lnTo>
                  <a:lnTo>
                    <a:pt x="530" y="461"/>
                  </a:lnTo>
                  <a:lnTo>
                    <a:pt x="525" y="460"/>
                  </a:lnTo>
                  <a:lnTo>
                    <a:pt x="523" y="460"/>
                  </a:lnTo>
                  <a:lnTo>
                    <a:pt x="523" y="461"/>
                  </a:lnTo>
                  <a:lnTo>
                    <a:pt x="525" y="463"/>
                  </a:lnTo>
                  <a:lnTo>
                    <a:pt x="530" y="468"/>
                  </a:lnTo>
                  <a:lnTo>
                    <a:pt x="532" y="470"/>
                  </a:lnTo>
                  <a:lnTo>
                    <a:pt x="532" y="473"/>
                  </a:lnTo>
                  <a:lnTo>
                    <a:pt x="527" y="477"/>
                  </a:lnTo>
                  <a:lnTo>
                    <a:pt x="525" y="478"/>
                  </a:lnTo>
                  <a:lnTo>
                    <a:pt x="525" y="485"/>
                  </a:lnTo>
                  <a:lnTo>
                    <a:pt x="522" y="487"/>
                  </a:lnTo>
                  <a:lnTo>
                    <a:pt x="501" y="489"/>
                  </a:lnTo>
                  <a:lnTo>
                    <a:pt x="474" y="492"/>
                  </a:lnTo>
                  <a:lnTo>
                    <a:pt x="465" y="492"/>
                  </a:lnTo>
                  <a:lnTo>
                    <a:pt x="470" y="482"/>
                  </a:lnTo>
                  <a:lnTo>
                    <a:pt x="474" y="478"/>
                  </a:lnTo>
                  <a:lnTo>
                    <a:pt x="476" y="478"/>
                  </a:lnTo>
                  <a:lnTo>
                    <a:pt x="477" y="475"/>
                  </a:lnTo>
                  <a:lnTo>
                    <a:pt x="477" y="473"/>
                  </a:lnTo>
                  <a:lnTo>
                    <a:pt x="479" y="471"/>
                  </a:lnTo>
                  <a:lnTo>
                    <a:pt x="482" y="468"/>
                  </a:lnTo>
                  <a:lnTo>
                    <a:pt x="486" y="466"/>
                  </a:lnTo>
                  <a:lnTo>
                    <a:pt x="488" y="461"/>
                  </a:lnTo>
                  <a:lnTo>
                    <a:pt x="491" y="460"/>
                  </a:lnTo>
                  <a:lnTo>
                    <a:pt x="493" y="458"/>
                  </a:lnTo>
                  <a:lnTo>
                    <a:pt x="491" y="454"/>
                  </a:lnTo>
                  <a:lnTo>
                    <a:pt x="491" y="451"/>
                  </a:lnTo>
                  <a:lnTo>
                    <a:pt x="491" y="448"/>
                  </a:lnTo>
                  <a:lnTo>
                    <a:pt x="489" y="448"/>
                  </a:lnTo>
                  <a:lnTo>
                    <a:pt x="486" y="446"/>
                  </a:lnTo>
                  <a:lnTo>
                    <a:pt x="484" y="444"/>
                  </a:lnTo>
                  <a:lnTo>
                    <a:pt x="486" y="441"/>
                  </a:lnTo>
                  <a:lnTo>
                    <a:pt x="484" y="441"/>
                  </a:lnTo>
                  <a:lnTo>
                    <a:pt x="482" y="437"/>
                  </a:lnTo>
                  <a:lnTo>
                    <a:pt x="476" y="437"/>
                  </a:lnTo>
                  <a:lnTo>
                    <a:pt x="445" y="439"/>
                  </a:lnTo>
                  <a:lnTo>
                    <a:pt x="426" y="441"/>
                  </a:lnTo>
                  <a:lnTo>
                    <a:pt x="399" y="442"/>
                  </a:lnTo>
                  <a:lnTo>
                    <a:pt x="375" y="442"/>
                  </a:lnTo>
                  <a:lnTo>
                    <a:pt x="371" y="442"/>
                  </a:lnTo>
                  <a:lnTo>
                    <a:pt x="351" y="444"/>
                  </a:lnTo>
                  <a:lnTo>
                    <a:pt x="313" y="446"/>
                  </a:lnTo>
                  <a:lnTo>
                    <a:pt x="312" y="446"/>
                  </a:lnTo>
                  <a:lnTo>
                    <a:pt x="279" y="448"/>
                  </a:lnTo>
                  <a:lnTo>
                    <a:pt x="257" y="448"/>
                  </a:lnTo>
                  <a:lnTo>
                    <a:pt x="252" y="448"/>
                  </a:lnTo>
                  <a:lnTo>
                    <a:pt x="212" y="449"/>
                  </a:lnTo>
                  <a:lnTo>
                    <a:pt x="211" y="449"/>
                  </a:lnTo>
                  <a:lnTo>
                    <a:pt x="187" y="449"/>
                  </a:lnTo>
                  <a:lnTo>
                    <a:pt x="165" y="451"/>
                  </a:lnTo>
                  <a:lnTo>
                    <a:pt x="146" y="451"/>
                  </a:lnTo>
                  <a:lnTo>
                    <a:pt x="100" y="451"/>
                  </a:lnTo>
                  <a:lnTo>
                    <a:pt x="100" y="432"/>
                  </a:lnTo>
                  <a:lnTo>
                    <a:pt x="100" y="422"/>
                  </a:lnTo>
                  <a:lnTo>
                    <a:pt x="100" y="396"/>
                  </a:lnTo>
                  <a:lnTo>
                    <a:pt x="100" y="389"/>
                  </a:lnTo>
                  <a:lnTo>
                    <a:pt x="100" y="360"/>
                  </a:lnTo>
                  <a:lnTo>
                    <a:pt x="100" y="357"/>
                  </a:lnTo>
                  <a:lnTo>
                    <a:pt x="98" y="326"/>
                  </a:lnTo>
                  <a:lnTo>
                    <a:pt x="98" y="323"/>
                  </a:lnTo>
                  <a:lnTo>
                    <a:pt x="98" y="285"/>
                  </a:lnTo>
                  <a:lnTo>
                    <a:pt x="98" y="282"/>
                  </a:lnTo>
                  <a:lnTo>
                    <a:pt x="98" y="246"/>
                  </a:lnTo>
                  <a:lnTo>
                    <a:pt x="96" y="237"/>
                  </a:lnTo>
                  <a:lnTo>
                    <a:pt x="98" y="208"/>
                  </a:lnTo>
                  <a:lnTo>
                    <a:pt x="96" y="198"/>
                  </a:lnTo>
                  <a:lnTo>
                    <a:pt x="96" y="176"/>
                  </a:lnTo>
                  <a:lnTo>
                    <a:pt x="96" y="169"/>
                  </a:lnTo>
                  <a:lnTo>
                    <a:pt x="98" y="166"/>
                  </a:lnTo>
                  <a:lnTo>
                    <a:pt x="96" y="164"/>
                  </a:lnTo>
                  <a:lnTo>
                    <a:pt x="94" y="164"/>
                  </a:lnTo>
                  <a:lnTo>
                    <a:pt x="91" y="162"/>
                  </a:lnTo>
                  <a:lnTo>
                    <a:pt x="86" y="162"/>
                  </a:lnTo>
                  <a:lnTo>
                    <a:pt x="83" y="159"/>
                  </a:lnTo>
                  <a:lnTo>
                    <a:pt x="79" y="159"/>
                  </a:lnTo>
                  <a:lnTo>
                    <a:pt x="77" y="152"/>
                  </a:lnTo>
                  <a:lnTo>
                    <a:pt x="74" y="150"/>
                  </a:lnTo>
                  <a:lnTo>
                    <a:pt x="72" y="147"/>
                  </a:lnTo>
                  <a:lnTo>
                    <a:pt x="72" y="143"/>
                  </a:lnTo>
                  <a:lnTo>
                    <a:pt x="72" y="140"/>
                  </a:lnTo>
                  <a:lnTo>
                    <a:pt x="71" y="140"/>
                  </a:lnTo>
                  <a:lnTo>
                    <a:pt x="67" y="137"/>
                  </a:lnTo>
                  <a:lnTo>
                    <a:pt x="65" y="133"/>
                  </a:lnTo>
                  <a:lnTo>
                    <a:pt x="60" y="131"/>
                  </a:lnTo>
                  <a:lnTo>
                    <a:pt x="60" y="128"/>
                  </a:lnTo>
                  <a:lnTo>
                    <a:pt x="55" y="123"/>
                  </a:lnTo>
                  <a:lnTo>
                    <a:pt x="55" y="121"/>
                  </a:lnTo>
                  <a:lnTo>
                    <a:pt x="60" y="118"/>
                  </a:lnTo>
                  <a:lnTo>
                    <a:pt x="59" y="113"/>
                  </a:lnTo>
                  <a:lnTo>
                    <a:pt x="62" y="109"/>
                  </a:lnTo>
                  <a:lnTo>
                    <a:pt x="65" y="107"/>
                  </a:lnTo>
                  <a:lnTo>
                    <a:pt x="67" y="102"/>
                  </a:lnTo>
                  <a:lnTo>
                    <a:pt x="67" y="101"/>
                  </a:lnTo>
                  <a:lnTo>
                    <a:pt x="69" y="102"/>
                  </a:lnTo>
                  <a:lnTo>
                    <a:pt x="72" y="102"/>
                  </a:lnTo>
                  <a:lnTo>
                    <a:pt x="74" y="101"/>
                  </a:lnTo>
                  <a:lnTo>
                    <a:pt x="74" y="99"/>
                  </a:lnTo>
                  <a:lnTo>
                    <a:pt x="74" y="99"/>
                  </a:lnTo>
                  <a:lnTo>
                    <a:pt x="71" y="99"/>
                  </a:lnTo>
                  <a:lnTo>
                    <a:pt x="69" y="97"/>
                  </a:lnTo>
                  <a:lnTo>
                    <a:pt x="69" y="96"/>
                  </a:lnTo>
                  <a:lnTo>
                    <a:pt x="72" y="96"/>
                  </a:lnTo>
                  <a:lnTo>
                    <a:pt x="72" y="92"/>
                  </a:lnTo>
                  <a:lnTo>
                    <a:pt x="72" y="92"/>
                  </a:lnTo>
                  <a:lnTo>
                    <a:pt x="71" y="90"/>
                  </a:lnTo>
                  <a:lnTo>
                    <a:pt x="69" y="89"/>
                  </a:lnTo>
                  <a:lnTo>
                    <a:pt x="69" y="84"/>
                  </a:lnTo>
                  <a:lnTo>
                    <a:pt x="67" y="84"/>
                  </a:lnTo>
                  <a:lnTo>
                    <a:pt x="62" y="84"/>
                  </a:lnTo>
                  <a:lnTo>
                    <a:pt x="60" y="85"/>
                  </a:lnTo>
                  <a:lnTo>
                    <a:pt x="59" y="87"/>
                  </a:lnTo>
                  <a:lnTo>
                    <a:pt x="55" y="87"/>
                  </a:lnTo>
                  <a:lnTo>
                    <a:pt x="52" y="84"/>
                  </a:lnTo>
                  <a:lnTo>
                    <a:pt x="48" y="84"/>
                  </a:lnTo>
                  <a:lnTo>
                    <a:pt x="47" y="80"/>
                  </a:lnTo>
                  <a:lnTo>
                    <a:pt x="43" y="80"/>
                  </a:lnTo>
                  <a:lnTo>
                    <a:pt x="38" y="73"/>
                  </a:lnTo>
                  <a:lnTo>
                    <a:pt x="35" y="70"/>
                  </a:lnTo>
                  <a:lnTo>
                    <a:pt x="33" y="70"/>
                  </a:lnTo>
                  <a:lnTo>
                    <a:pt x="31" y="68"/>
                  </a:lnTo>
                  <a:lnTo>
                    <a:pt x="30" y="68"/>
                  </a:lnTo>
                  <a:lnTo>
                    <a:pt x="31" y="65"/>
                  </a:lnTo>
                  <a:lnTo>
                    <a:pt x="31" y="63"/>
                  </a:lnTo>
                  <a:lnTo>
                    <a:pt x="31" y="61"/>
                  </a:lnTo>
                  <a:lnTo>
                    <a:pt x="30" y="60"/>
                  </a:lnTo>
                  <a:lnTo>
                    <a:pt x="26" y="54"/>
                  </a:lnTo>
                  <a:lnTo>
                    <a:pt x="26" y="49"/>
                  </a:lnTo>
                  <a:lnTo>
                    <a:pt x="24" y="49"/>
                  </a:lnTo>
                  <a:lnTo>
                    <a:pt x="19" y="44"/>
                  </a:lnTo>
                  <a:lnTo>
                    <a:pt x="14" y="39"/>
                  </a:lnTo>
                  <a:lnTo>
                    <a:pt x="11" y="39"/>
                  </a:lnTo>
                  <a:lnTo>
                    <a:pt x="11" y="39"/>
                  </a:lnTo>
                  <a:lnTo>
                    <a:pt x="12" y="37"/>
                  </a:lnTo>
                  <a:lnTo>
                    <a:pt x="12" y="36"/>
                  </a:lnTo>
                  <a:lnTo>
                    <a:pt x="12" y="34"/>
                  </a:lnTo>
                  <a:lnTo>
                    <a:pt x="11" y="31"/>
                  </a:lnTo>
                  <a:lnTo>
                    <a:pt x="7" y="20"/>
                  </a:lnTo>
                  <a:lnTo>
                    <a:pt x="7" y="19"/>
                  </a:lnTo>
                  <a:lnTo>
                    <a:pt x="9" y="15"/>
                  </a:lnTo>
                  <a:lnTo>
                    <a:pt x="9" y="13"/>
                  </a:lnTo>
                  <a:lnTo>
                    <a:pt x="7" y="12"/>
                  </a:lnTo>
                  <a:lnTo>
                    <a:pt x="7" y="13"/>
                  </a:lnTo>
                  <a:lnTo>
                    <a:pt x="7" y="17"/>
                  </a:lnTo>
                  <a:lnTo>
                    <a:pt x="4" y="15"/>
                  </a:lnTo>
                  <a:lnTo>
                    <a:pt x="0" y="13"/>
                  </a:lnTo>
                  <a:lnTo>
                    <a:pt x="0" y="10"/>
                  </a:lnTo>
                  <a:lnTo>
                    <a:pt x="31" y="10"/>
                  </a:lnTo>
                  <a:lnTo>
                    <a:pt x="45" y="10"/>
                  </a:lnTo>
                  <a:lnTo>
                    <a:pt x="69" y="10"/>
                  </a:lnTo>
                  <a:lnTo>
                    <a:pt x="93" y="10"/>
                  </a:lnTo>
                  <a:lnTo>
                    <a:pt x="105" y="10"/>
                  </a:lnTo>
                  <a:lnTo>
                    <a:pt x="125" y="10"/>
                  </a:lnTo>
                  <a:lnTo>
                    <a:pt x="142" y="10"/>
                  </a:lnTo>
                  <a:lnTo>
                    <a:pt x="161" y="8"/>
                  </a:lnTo>
                  <a:lnTo>
                    <a:pt x="180" y="8"/>
                  </a:lnTo>
                  <a:lnTo>
                    <a:pt x="195" y="8"/>
                  </a:lnTo>
                  <a:lnTo>
                    <a:pt x="216" y="7"/>
                  </a:lnTo>
                  <a:lnTo>
                    <a:pt x="248" y="5"/>
                  </a:lnTo>
                  <a:lnTo>
                    <a:pt x="253" y="5"/>
                  </a:lnTo>
                  <a:lnTo>
                    <a:pt x="276" y="3"/>
                  </a:lnTo>
                  <a:lnTo>
                    <a:pt x="289" y="2"/>
                  </a:lnTo>
                  <a:lnTo>
                    <a:pt x="310" y="0"/>
                  </a:lnTo>
                  <a:lnTo>
                    <a:pt x="327" y="0"/>
                  </a:lnTo>
                  <a:lnTo>
                    <a:pt x="329" y="2"/>
                  </a:lnTo>
                  <a:lnTo>
                    <a:pt x="330" y="3"/>
                  </a:lnTo>
                  <a:lnTo>
                    <a:pt x="330" y="7"/>
                  </a:lnTo>
                  <a:lnTo>
                    <a:pt x="337" y="8"/>
                  </a:lnTo>
                  <a:lnTo>
                    <a:pt x="337" y="10"/>
                  </a:lnTo>
                  <a:lnTo>
                    <a:pt x="339" y="13"/>
                  </a:lnTo>
                  <a:lnTo>
                    <a:pt x="341" y="15"/>
                  </a:lnTo>
                  <a:lnTo>
                    <a:pt x="344" y="15"/>
                  </a:lnTo>
                  <a:lnTo>
                    <a:pt x="344" y="17"/>
                  </a:lnTo>
                  <a:lnTo>
                    <a:pt x="344" y="19"/>
                  </a:lnTo>
                  <a:lnTo>
                    <a:pt x="344" y="20"/>
                  </a:lnTo>
                  <a:lnTo>
                    <a:pt x="347" y="20"/>
                  </a:lnTo>
                  <a:lnTo>
                    <a:pt x="347" y="22"/>
                  </a:lnTo>
                  <a:lnTo>
                    <a:pt x="349" y="22"/>
                  </a:lnTo>
                  <a:lnTo>
                    <a:pt x="351" y="24"/>
                  </a:lnTo>
                  <a:lnTo>
                    <a:pt x="349" y="31"/>
                  </a:lnTo>
                  <a:lnTo>
                    <a:pt x="347" y="37"/>
                  </a:lnTo>
                  <a:lnTo>
                    <a:pt x="347" y="43"/>
                  </a:lnTo>
                  <a:lnTo>
                    <a:pt x="347" y="49"/>
                  </a:lnTo>
                  <a:lnTo>
                    <a:pt x="347" y="58"/>
                  </a:lnTo>
                  <a:lnTo>
                    <a:pt x="349" y="65"/>
                  </a:lnTo>
                  <a:lnTo>
                    <a:pt x="354" y="70"/>
                  </a:lnTo>
                  <a:lnTo>
                    <a:pt x="354" y="73"/>
                  </a:lnTo>
                  <a:lnTo>
                    <a:pt x="354" y="75"/>
                  </a:lnTo>
                  <a:lnTo>
                    <a:pt x="354" y="77"/>
                  </a:lnTo>
                  <a:lnTo>
                    <a:pt x="354" y="78"/>
                  </a:lnTo>
                  <a:lnTo>
                    <a:pt x="359" y="85"/>
                  </a:lnTo>
                  <a:lnTo>
                    <a:pt x="361" y="90"/>
                  </a:lnTo>
                  <a:lnTo>
                    <a:pt x="361" y="94"/>
                  </a:lnTo>
                  <a:lnTo>
                    <a:pt x="366" y="97"/>
                  </a:lnTo>
                  <a:lnTo>
                    <a:pt x="375" y="106"/>
                  </a:lnTo>
                  <a:lnTo>
                    <a:pt x="380" y="111"/>
                  </a:lnTo>
                  <a:lnTo>
                    <a:pt x="385" y="114"/>
                  </a:lnTo>
                  <a:lnTo>
                    <a:pt x="387" y="119"/>
                  </a:lnTo>
                  <a:lnTo>
                    <a:pt x="390" y="123"/>
                  </a:lnTo>
                  <a:lnTo>
                    <a:pt x="397" y="126"/>
                  </a:lnTo>
                  <a:lnTo>
                    <a:pt x="406" y="131"/>
                  </a:lnTo>
                  <a:lnTo>
                    <a:pt x="412" y="138"/>
                  </a:lnTo>
                  <a:lnTo>
                    <a:pt x="416" y="143"/>
                  </a:lnTo>
                  <a:lnTo>
                    <a:pt x="416" y="145"/>
                  </a:lnTo>
                  <a:lnTo>
                    <a:pt x="417" y="148"/>
                  </a:lnTo>
                  <a:lnTo>
                    <a:pt x="417" y="154"/>
                  </a:lnTo>
                  <a:lnTo>
                    <a:pt x="421" y="159"/>
                  </a:lnTo>
                  <a:lnTo>
                    <a:pt x="419" y="162"/>
                  </a:lnTo>
                  <a:lnTo>
                    <a:pt x="419" y="166"/>
                  </a:lnTo>
                  <a:lnTo>
                    <a:pt x="423" y="176"/>
                  </a:lnTo>
                  <a:lnTo>
                    <a:pt x="428" y="181"/>
                  </a:lnTo>
                  <a:lnTo>
                    <a:pt x="431" y="183"/>
                  </a:lnTo>
                  <a:lnTo>
                    <a:pt x="435" y="179"/>
                  </a:lnTo>
                  <a:lnTo>
                    <a:pt x="440" y="172"/>
                  </a:lnTo>
                  <a:lnTo>
                    <a:pt x="445" y="172"/>
                  </a:lnTo>
                  <a:lnTo>
                    <a:pt x="452" y="176"/>
                  </a:lnTo>
                  <a:lnTo>
                    <a:pt x="455" y="176"/>
                  </a:lnTo>
                  <a:lnTo>
                    <a:pt x="459" y="176"/>
                  </a:lnTo>
                  <a:lnTo>
                    <a:pt x="469" y="183"/>
                  </a:lnTo>
                  <a:lnTo>
                    <a:pt x="470" y="184"/>
                  </a:lnTo>
                  <a:lnTo>
                    <a:pt x="469" y="188"/>
                  </a:lnTo>
                  <a:lnTo>
                    <a:pt x="469" y="190"/>
                  </a:lnTo>
                  <a:lnTo>
                    <a:pt x="465" y="191"/>
                  </a:lnTo>
                  <a:lnTo>
                    <a:pt x="464" y="196"/>
                  </a:lnTo>
                  <a:lnTo>
                    <a:pt x="464" y="200"/>
                  </a:lnTo>
                  <a:lnTo>
                    <a:pt x="465" y="203"/>
                  </a:lnTo>
                  <a:lnTo>
                    <a:pt x="465" y="208"/>
                  </a:lnTo>
                  <a:lnTo>
                    <a:pt x="460" y="213"/>
                  </a:lnTo>
                  <a:lnTo>
                    <a:pt x="460" y="217"/>
                  </a:lnTo>
                  <a:lnTo>
                    <a:pt x="459" y="219"/>
                  </a:lnTo>
                  <a:lnTo>
                    <a:pt x="457" y="229"/>
                  </a:lnTo>
                  <a:lnTo>
                    <a:pt x="453" y="234"/>
                  </a:lnTo>
                  <a:lnTo>
                    <a:pt x="452" y="236"/>
                  </a:lnTo>
                  <a:lnTo>
                    <a:pt x="452" y="241"/>
                  </a:lnTo>
                  <a:lnTo>
                    <a:pt x="453" y="249"/>
                  </a:lnTo>
                  <a:lnTo>
                    <a:pt x="455" y="254"/>
                  </a:lnTo>
                  <a:lnTo>
                    <a:pt x="460" y="258"/>
                  </a:lnTo>
                  <a:lnTo>
                    <a:pt x="462" y="261"/>
                  </a:lnTo>
                  <a:lnTo>
                    <a:pt x="467" y="265"/>
                  </a:lnTo>
                  <a:lnTo>
                    <a:pt x="474" y="268"/>
                  </a:lnTo>
                  <a:lnTo>
                    <a:pt x="474" y="272"/>
                  </a:lnTo>
                  <a:lnTo>
                    <a:pt x="481" y="275"/>
                  </a:lnTo>
                  <a:lnTo>
                    <a:pt x="484" y="277"/>
                  </a:lnTo>
                  <a:lnTo>
                    <a:pt x="489" y="277"/>
                  </a:lnTo>
                  <a:lnTo>
                    <a:pt x="488" y="283"/>
                  </a:lnTo>
                  <a:lnTo>
                    <a:pt x="491" y="287"/>
                  </a:lnTo>
                  <a:lnTo>
                    <a:pt x="494" y="287"/>
                  </a:lnTo>
                  <a:lnTo>
                    <a:pt x="496" y="285"/>
                  </a:lnTo>
                  <a:lnTo>
                    <a:pt x="498" y="283"/>
                  </a:lnTo>
                  <a:lnTo>
                    <a:pt x="498" y="283"/>
                  </a:lnTo>
                  <a:lnTo>
                    <a:pt x="508" y="289"/>
                  </a:lnTo>
                  <a:lnTo>
                    <a:pt x="511" y="294"/>
                  </a:lnTo>
                  <a:lnTo>
                    <a:pt x="513" y="295"/>
                  </a:lnTo>
                  <a:lnTo>
                    <a:pt x="515" y="299"/>
                  </a:lnTo>
                  <a:lnTo>
                    <a:pt x="522" y="302"/>
                  </a:lnTo>
                  <a:lnTo>
                    <a:pt x="527" y="304"/>
                  </a:lnTo>
                  <a:lnTo>
                    <a:pt x="529" y="306"/>
                  </a:lnTo>
                  <a:lnTo>
                    <a:pt x="527" y="309"/>
                  </a:lnTo>
                  <a:lnTo>
                    <a:pt x="529" y="313"/>
                  </a:lnTo>
                  <a:lnTo>
                    <a:pt x="527" y="318"/>
                  </a:lnTo>
                  <a:lnTo>
                    <a:pt x="530" y="326"/>
                  </a:lnTo>
                  <a:lnTo>
                    <a:pt x="535" y="330"/>
                  </a:lnTo>
                  <a:lnTo>
                    <a:pt x="537" y="333"/>
                  </a:lnTo>
                  <a:lnTo>
                    <a:pt x="537" y="340"/>
                  </a:lnTo>
                  <a:lnTo>
                    <a:pt x="534" y="342"/>
                  </a:lnTo>
                  <a:lnTo>
                    <a:pt x="532" y="343"/>
                  </a:lnTo>
                  <a:lnTo>
                    <a:pt x="530" y="345"/>
                  </a:lnTo>
                  <a:lnTo>
                    <a:pt x="530" y="348"/>
                  </a:lnTo>
                  <a:lnTo>
                    <a:pt x="534" y="350"/>
                  </a:lnTo>
                  <a:lnTo>
                    <a:pt x="535" y="352"/>
                  </a:lnTo>
                  <a:lnTo>
                    <a:pt x="535" y="354"/>
                  </a:lnTo>
                  <a:lnTo>
                    <a:pt x="537" y="360"/>
                  </a:lnTo>
                  <a:lnTo>
                    <a:pt x="539" y="364"/>
                  </a:lnTo>
                  <a:lnTo>
                    <a:pt x="544" y="367"/>
                  </a:lnTo>
                  <a:lnTo>
                    <a:pt x="544" y="372"/>
                  </a:lnTo>
                  <a:lnTo>
                    <a:pt x="551" y="376"/>
                  </a:lnTo>
                  <a:lnTo>
                    <a:pt x="553" y="377"/>
                  </a:lnTo>
                  <a:lnTo>
                    <a:pt x="554" y="376"/>
                  </a:lnTo>
                  <a:lnTo>
                    <a:pt x="554" y="374"/>
                  </a:lnTo>
                  <a:lnTo>
                    <a:pt x="549" y="371"/>
                  </a:lnTo>
                  <a:lnTo>
                    <a:pt x="551" y="369"/>
                  </a:lnTo>
                  <a:lnTo>
                    <a:pt x="551" y="367"/>
                  </a:lnTo>
                  <a:lnTo>
                    <a:pt x="553" y="367"/>
                  </a:lnTo>
                  <a:lnTo>
                    <a:pt x="556" y="372"/>
                  </a:lnTo>
                  <a:lnTo>
                    <a:pt x="558" y="374"/>
                  </a:lnTo>
                  <a:lnTo>
                    <a:pt x="559" y="377"/>
                  </a:lnTo>
                  <a:lnTo>
                    <a:pt x="566" y="377"/>
                  </a:lnTo>
                  <a:lnTo>
                    <a:pt x="568" y="379"/>
                  </a:lnTo>
                  <a:lnTo>
                    <a:pt x="568" y="381"/>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3" name="Freeform 162"/>
            <p:cNvSpPr>
              <a:spLocks/>
            </p:cNvSpPr>
            <p:nvPr/>
          </p:nvSpPr>
          <p:spPr bwMode="gray">
            <a:xfrm>
              <a:off x="2550113" y="3875316"/>
              <a:ext cx="933952" cy="1080486"/>
            </a:xfrm>
            <a:custGeom>
              <a:avLst/>
              <a:gdLst/>
              <a:ahLst/>
              <a:cxnLst>
                <a:cxn ang="0">
                  <a:pos x="31" y="410"/>
                </a:cxn>
                <a:cxn ang="0">
                  <a:pos x="26" y="408"/>
                </a:cxn>
                <a:cxn ang="0">
                  <a:pos x="28" y="394"/>
                </a:cxn>
                <a:cxn ang="0">
                  <a:pos x="30" y="384"/>
                </a:cxn>
                <a:cxn ang="0">
                  <a:pos x="28" y="367"/>
                </a:cxn>
                <a:cxn ang="0">
                  <a:pos x="38" y="364"/>
                </a:cxn>
                <a:cxn ang="0">
                  <a:pos x="48" y="355"/>
                </a:cxn>
                <a:cxn ang="0">
                  <a:pos x="52" y="345"/>
                </a:cxn>
                <a:cxn ang="0">
                  <a:pos x="53" y="336"/>
                </a:cxn>
                <a:cxn ang="0">
                  <a:pos x="57" y="326"/>
                </a:cxn>
                <a:cxn ang="0">
                  <a:pos x="57" y="314"/>
                </a:cxn>
                <a:cxn ang="0">
                  <a:pos x="69" y="302"/>
                </a:cxn>
                <a:cxn ang="0">
                  <a:pos x="83" y="295"/>
                </a:cxn>
                <a:cxn ang="0">
                  <a:pos x="98" y="287"/>
                </a:cxn>
                <a:cxn ang="0">
                  <a:pos x="96" y="277"/>
                </a:cxn>
                <a:cxn ang="0">
                  <a:pos x="86" y="266"/>
                </a:cxn>
                <a:cxn ang="0">
                  <a:pos x="81" y="261"/>
                </a:cxn>
                <a:cxn ang="0">
                  <a:pos x="79" y="248"/>
                </a:cxn>
                <a:cxn ang="0">
                  <a:pos x="76" y="230"/>
                </a:cxn>
                <a:cxn ang="0">
                  <a:pos x="72" y="220"/>
                </a:cxn>
                <a:cxn ang="0">
                  <a:pos x="71" y="208"/>
                </a:cxn>
                <a:cxn ang="0">
                  <a:pos x="71" y="196"/>
                </a:cxn>
                <a:cxn ang="0">
                  <a:pos x="74" y="188"/>
                </a:cxn>
                <a:cxn ang="0">
                  <a:pos x="79" y="184"/>
                </a:cxn>
                <a:cxn ang="0">
                  <a:pos x="81" y="164"/>
                </a:cxn>
                <a:cxn ang="0">
                  <a:pos x="81" y="143"/>
                </a:cxn>
                <a:cxn ang="0">
                  <a:pos x="83" y="133"/>
                </a:cxn>
                <a:cxn ang="0">
                  <a:pos x="81" y="123"/>
                </a:cxn>
                <a:cxn ang="0">
                  <a:pos x="86" y="109"/>
                </a:cxn>
                <a:cxn ang="0">
                  <a:pos x="83" y="95"/>
                </a:cxn>
                <a:cxn ang="0">
                  <a:pos x="84" y="85"/>
                </a:cxn>
                <a:cxn ang="0">
                  <a:pos x="96" y="82"/>
                </a:cxn>
                <a:cxn ang="0">
                  <a:pos x="110" y="85"/>
                </a:cxn>
                <a:cxn ang="0">
                  <a:pos x="120" y="89"/>
                </a:cxn>
                <a:cxn ang="0">
                  <a:pos x="125" y="101"/>
                </a:cxn>
                <a:cxn ang="0">
                  <a:pos x="137" y="92"/>
                </a:cxn>
                <a:cxn ang="0">
                  <a:pos x="158" y="17"/>
                </a:cxn>
                <a:cxn ang="0">
                  <a:pos x="286" y="22"/>
                </a:cxn>
                <a:cxn ang="0">
                  <a:pos x="438" y="48"/>
                </a:cxn>
                <a:cxn ang="0">
                  <a:pos x="500" y="58"/>
                </a:cxn>
                <a:cxn ang="0">
                  <a:pos x="551" y="287"/>
                </a:cxn>
                <a:cxn ang="0">
                  <a:pos x="523" y="473"/>
                </a:cxn>
                <a:cxn ang="0">
                  <a:pos x="498" y="671"/>
                </a:cxn>
                <a:cxn ang="0">
                  <a:pos x="288" y="632"/>
                </a:cxn>
                <a:cxn ang="0">
                  <a:pos x="4" y="451"/>
                </a:cxn>
                <a:cxn ang="0">
                  <a:pos x="18" y="439"/>
                </a:cxn>
                <a:cxn ang="0">
                  <a:pos x="28" y="442"/>
                </a:cxn>
                <a:cxn ang="0">
                  <a:pos x="30" y="439"/>
                </a:cxn>
                <a:cxn ang="0">
                  <a:pos x="33" y="439"/>
                </a:cxn>
                <a:cxn ang="0">
                  <a:pos x="40" y="432"/>
                </a:cxn>
                <a:cxn ang="0">
                  <a:pos x="38" y="412"/>
                </a:cxn>
              </a:cxnLst>
              <a:rect l="0" t="0" r="r" b="b"/>
              <a:pathLst>
                <a:path w="580" h="671">
                  <a:moveTo>
                    <a:pt x="38" y="412"/>
                  </a:moveTo>
                  <a:lnTo>
                    <a:pt x="35" y="410"/>
                  </a:lnTo>
                  <a:lnTo>
                    <a:pt x="31" y="410"/>
                  </a:lnTo>
                  <a:lnTo>
                    <a:pt x="28" y="410"/>
                  </a:lnTo>
                  <a:lnTo>
                    <a:pt x="28" y="408"/>
                  </a:lnTo>
                  <a:lnTo>
                    <a:pt x="26" y="408"/>
                  </a:lnTo>
                  <a:lnTo>
                    <a:pt x="23" y="401"/>
                  </a:lnTo>
                  <a:lnTo>
                    <a:pt x="24" y="398"/>
                  </a:lnTo>
                  <a:lnTo>
                    <a:pt x="28" y="394"/>
                  </a:lnTo>
                  <a:lnTo>
                    <a:pt x="28" y="388"/>
                  </a:lnTo>
                  <a:lnTo>
                    <a:pt x="28" y="386"/>
                  </a:lnTo>
                  <a:lnTo>
                    <a:pt x="30" y="384"/>
                  </a:lnTo>
                  <a:lnTo>
                    <a:pt x="26" y="379"/>
                  </a:lnTo>
                  <a:lnTo>
                    <a:pt x="30" y="374"/>
                  </a:lnTo>
                  <a:lnTo>
                    <a:pt x="28" y="367"/>
                  </a:lnTo>
                  <a:lnTo>
                    <a:pt x="36" y="369"/>
                  </a:lnTo>
                  <a:lnTo>
                    <a:pt x="38" y="367"/>
                  </a:lnTo>
                  <a:lnTo>
                    <a:pt x="38" y="364"/>
                  </a:lnTo>
                  <a:lnTo>
                    <a:pt x="42" y="362"/>
                  </a:lnTo>
                  <a:lnTo>
                    <a:pt x="43" y="360"/>
                  </a:lnTo>
                  <a:lnTo>
                    <a:pt x="48" y="355"/>
                  </a:lnTo>
                  <a:lnTo>
                    <a:pt x="48" y="353"/>
                  </a:lnTo>
                  <a:lnTo>
                    <a:pt x="50" y="348"/>
                  </a:lnTo>
                  <a:lnTo>
                    <a:pt x="52" y="345"/>
                  </a:lnTo>
                  <a:lnTo>
                    <a:pt x="50" y="343"/>
                  </a:lnTo>
                  <a:lnTo>
                    <a:pt x="55" y="340"/>
                  </a:lnTo>
                  <a:lnTo>
                    <a:pt x="53" y="336"/>
                  </a:lnTo>
                  <a:lnTo>
                    <a:pt x="55" y="333"/>
                  </a:lnTo>
                  <a:lnTo>
                    <a:pt x="55" y="328"/>
                  </a:lnTo>
                  <a:lnTo>
                    <a:pt x="57" y="326"/>
                  </a:lnTo>
                  <a:lnTo>
                    <a:pt x="55" y="324"/>
                  </a:lnTo>
                  <a:lnTo>
                    <a:pt x="59" y="318"/>
                  </a:lnTo>
                  <a:lnTo>
                    <a:pt x="57" y="314"/>
                  </a:lnTo>
                  <a:lnTo>
                    <a:pt x="59" y="312"/>
                  </a:lnTo>
                  <a:lnTo>
                    <a:pt x="67" y="307"/>
                  </a:lnTo>
                  <a:lnTo>
                    <a:pt x="69" y="302"/>
                  </a:lnTo>
                  <a:lnTo>
                    <a:pt x="71" y="300"/>
                  </a:lnTo>
                  <a:lnTo>
                    <a:pt x="79" y="297"/>
                  </a:lnTo>
                  <a:lnTo>
                    <a:pt x="83" y="295"/>
                  </a:lnTo>
                  <a:lnTo>
                    <a:pt x="88" y="294"/>
                  </a:lnTo>
                  <a:lnTo>
                    <a:pt x="96" y="287"/>
                  </a:lnTo>
                  <a:lnTo>
                    <a:pt x="98" y="287"/>
                  </a:lnTo>
                  <a:lnTo>
                    <a:pt x="98" y="282"/>
                  </a:lnTo>
                  <a:lnTo>
                    <a:pt x="98" y="280"/>
                  </a:lnTo>
                  <a:lnTo>
                    <a:pt x="96" y="277"/>
                  </a:lnTo>
                  <a:lnTo>
                    <a:pt x="89" y="271"/>
                  </a:lnTo>
                  <a:lnTo>
                    <a:pt x="88" y="270"/>
                  </a:lnTo>
                  <a:lnTo>
                    <a:pt x="86" y="266"/>
                  </a:lnTo>
                  <a:lnTo>
                    <a:pt x="84" y="265"/>
                  </a:lnTo>
                  <a:lnTo>
                    <a:pt x="81" y="263"/>
                  </a:lnTo>
                  <a:lnTo>
                    <a:pt x="81" y="261"/>
                  </a:lnTo>
                  <a:lnTo>
                    <a:pt x="83" y="254"/>
                  </a:lnTo>
                  <a:lnTo>
                    <a:pt x="81" y="249"/>
                  </a:lnTo>
                  <a:lnTo>
                    <a:pt x="79" y="248"/>
                  </a:lnTo>
                  <a:lnTo>
                    <a:pt x="81" y="246"/>
                  </a:lnTo>
                  <a:lnTo>
                    <a:pt x="79" y="236"/>
                  </a:lnTo>
                  <a:lnTo>
                    <a:pt x="76" y="230"/>
                  </a:lnTo>
                  <a:lnTo>
                    <a:pt x="74" y="230"/>
                  </a:lnTo>
                  <a:lnTo>
                    <a:pt x="72" y="229"/>
                  </a:lnTo>
                  <a:lnTo>
                    <a:pt x="72" y="220"/>
                  </a:lnTo>
                  <a:lnTo>
                    <a:pt x="67" y="215"/>
                  </a:lnTo>
                  <a:lnTo>
                    <a:pt x="69" y="210"/>
                  </a:lnTo>
                  <a:lnTo>
                    <a:pt x="71" y="208"/>
                  </a:lnTo>
                  <a:lnTo>
                    <a:pt x="71" y="201"/>
                  </a:lnTo>
                  <a:lnTo>
                    <a:pt x="71" y="201"/>
                  </a:lnTo>
                  <a:lnTo>
                    <a:pt x="71" y="196"/>
                  </a:lnTo>
                  <a:lnTo>
                    <a:pt x="74" y="195"/>
                  </a:lnTo>
                  <a:lnTo>
                    <a:pt x="72" y="189"/>
                  </a:lnTo>
                  <a:lnTo>
                    <a:pt x="74" y="188"/>
                  </a:lnTo>
                  <a:lnTo>
                    <a:pt x="77" y="188"/>
                  </a:lnTo>
                  <a:lnTo>
                    <a:pt x="77" y="188"/>
                  </a:lnTo>
                  <a:lnTo>
                    <a:pt x="79" y="184"/>
                  </a:lnTo>
                  <a:lnTo>
                    <a:pt x="81" y="179"/>
                  </a:lnTo>
                  <a:lnTo>
                    <a:pt x="81" y="171"/>
                  </a:lnTo>
                  <a:lnTo>
                    <a:pt x="81" y="164"/>
                  </a:lnTo>
                  <a:lnTo>
                    <a:pt x="79" y="154"/>
                  </a:lnTo>
                  <a:lnTo>
                    <a:pt x="77" y="147"/>
                  </a:lnTo>
                  <a:lnTo>
                    <a:pt x="81" y="143"/>
                  </a:lnTo>
                  <a:lnTo>
                    <a:pt x="81" y="140"/>
                  </a:lnTo>
                  <a:lnTo>
                    <a:pt x="83" y="136"/>
                  </a:lnTo>
                  <a:lnTo>
                    <a:pt x="83" y="133"/>
                  </a:lnTo>
                  <a:lnTo>
                    <a:pt x="81" y="131"/>
                  </a:lnTo>
                  <a:lnTo>
                    <a:pt x="83" y="128"/>
                  </a:lnTo>
                  <a:lnTo>
                    <a:pt x="81" y="123"/>
                  </a:lnTo>
                  <a:lnTo>
                    <a:pt x="83" y="119"/>
                  </a:lnTo>
                  <a:lnTo>
                    <a:pt x="83" y="111"/>
                  </a:lnTo>
                  <a:lnTo>
                    <a:pt x="86" y="109"/>
                  </a:lnTo>
                  <a:lnTo>
                    <a:pt x="86" y="107"/>
                  </a:lnTo>
                  <a:lnTo>
                    <a:pt x="84" y="104"/>
                  </a:lnTo>
                  <a:lnTo>
                    <a:pt x="83" y="95"/>
                  </a:lnTo>
                  <a:lnTo>
                    <a:pt x="84" y="90"/>
                  </a:lnTo>
                  <a:lnTo>
                    <a:pt x="84" y="89"/>
                  </a:lnTo>
                  <a:lnTo>
                    <a:pt x="84" y="85"/>
                  </a:lnTo>
                  <a:lnTo>
                    <a:pt x="86" y="83"/>
                  </a:lnTo>
                  <a:lnTo>
                    <a:pt x="94" y="80"/>
                  </a:lnTo>
                  <a:lnTo>
                    <a:pt x="96" y="82"/>
                  </a:lnTo>
                  <a:lnTo>
                    <a:pt x="103" y="82"/>
                  </a:lnTo>
                  <a:lnTo>
                    <a:pt x="108" y="85"/>
                  </a:lnTo>
                  <a:lnTo>
                    <a:pt x="110" y="85"/>
                  </a:lnTo>
                  <a:lnTo>
                    <a:pt x="115" y="83"/>
                  </a:lnTo>
                  <a:lnTo>
                    <a:pt x="118" y="85"/>
                  </a:lnTo>
                  <a:lnTo>
                    <a:pt x="120" y="89"/>
                  </a:lnTo>
                  <a:lnTo>
                    <a:pt x="120" y="92"/>
                  </a:lnTo>
                  <a:lnTo>
                    <a:pt x="120" y="94"/>
                  </a:lnTo>
                  <a:lnTo>
                    <a:pt x="125" y="101"/>
                  </a:lnTo>
                  <a:lnTo>
                    <a:pt x="127" y="101"/>
                  </a:lnTo>
                  <a:lnTo>
                    <a:pt x="134" y="99"/>
                  </a:lnTo>
                  <a:lnTo>
                    <a:pt x="137" y="92"/>
                  </a:lnTo>
                  <a:lnTo>
                    <a:pt x="144" y="85"/>
                  </a:lnTo>
                  <a:lnTo>
                    <a:pt x="146" y="82"/>
                  </a:lnTo>
                  <a:lnTo>
                    <a:pt x="158" y="17"/>
                  </a:lnTo>
                  <a:lnTo>
                    <a:pt x="161" y="0"/>
                  </a:lnTo>
                  <a:lnTo>
                    <a:pt x="257" y="17"/>
                  </a:lnTo>
                  <a:lnTo>
                    <a:pt x="286" y="22"/>
                  </a:lnTo>
                  <a:lnTo>
                    <a:pt x="312" y="27"/>
                  </a:lnTo>
                  <a:lnTo>
                    <a:pt x="387" y="39"/>
                  </a:lnTo>
                  <a:lnTo>
                    <a:pt x="438" y="48"/>
                  </a:lnTo>
                  <a:lnTo>
                    <a:pt x="460" y="51"/>
                  </a:lnTo>
                  <a:lnTo>
                    <a:pt x="462" y="53"/>
                  </a:lnTo>
                  <a:lnTo>
                    <a:pt x="500" y="58"/>
                  </a:lnTo>
                  <a:lnTo>
                    <a:pt x="580" y="68"/>
                  </a:lnTo>
                  <a:lnTo>
                    <a:pt x="566" y="176"/>
                  </a:lnTo>
                  <a:lnTo>
                    <a:pt x="551" y="287"/>
                  </a:lnTo>
                  <a:lnTo>
                    <a:pt x="544" y="326"/>
                  </a:lnTo>
                  <a:lnTo>
                    <a:pt x="532" y="412"/>
                  </a:lnTo>
                  <a:lnTo>
                    <a:pt x="523" y="473"/>
                  </a:lnTo>
                  <a:lnTo>
                    <a:pt x="518" y="519"/>
                  </a:lnTo>
                  <a:lnTo>
                    <a:pt x="513" y="555"/>
                  </a:lnTo>
                  <a:lnTo>
                    <a:pt x="498" y="671"/>
                  </a:lnTo>
                  <a:lnTo>
                    <a:pt x="370" y="654"/>
                  </a:lnTo>
                  <a:lnTo>
                    <a:pt x="313" y="646"/>
                  </a:lnTo>
                  <a:lnTo>
                    <a:pt x="288" y="632"/>
                  </a:lnTo>
                  <a:lnTo>
                    <a:pt x="124" y="536"/>
                  </a:lnTo>
                  <a:lnTo>
                    <a:pt x="0" y="463"/>
                  </a:lnTo>
                  <a:lnTo>
                    <a:pt x="4" y="451"/>
                  </a:lnTo>
                  <a:lnTo>
                    <a:pt x="14" y="441"/>
                  </a:lnTo>
                  <a:lnTo>
                    <a:pt x="16" y="439"/>
                  </a:lnTo>
                  <a:lnTo>
                    <a:pt x="18" y="439"/>
                  </a:lnTo>
                  <a:lnTo>
                    <a:pt x="24" y="442"/>
                  </a:lnTo>
                  <a:lnTo>
                    <a:pt x="24" y="441"/>
                  </a:lnTo>
                  <a:lnTo>
                    <a:pt x="28" y="442"/>
                  </a:lnTo>
                  <a:lnTo>
                    <a:pt x="28" y="441"/>
                  </a:lnTo>
                  <a:lnTo>
                    <a:pt x="30" y="441"/>
                  </a:lnTo>
                  <a:lnTo>
                    <a:pt x="30" y="439"/>
                  </a:lnTo>
                  <a:lnTo>
                    <a:pt x="31" y="439"/>
                  </a:lnTo>
                  <a:lnTo>
                    <a:pt x="31" y="439"/>
                  </a:lnTo>
                  <a:lnTo>
                    <a:pt x="33" y="439"/>
                  </a:lnTo>
                  <a:lnTo>
                    <a:pt x="33" y="437"/>
                  </a:lnTo>
                  <a:lnTo>
                    <a:pt x="33" y="436"/>
                  </a:lnTo>
                  <a:lnTo>
                    <a:pt x="40" y="432"/>
                  </a:lnTo>
                  <a:lnTo>
                    <a:pt x="40" y="422"/>
                  </a:lnTo>
                  <a:lnTo>
                    <a:pt x="42" y="418"/>
                  </a:lnTo>
                  <a:lnTo>
                    <a:pt x="38" y="41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4" name="Freeform 163"/>
            <p:cNvSpPr>
              <a:spLocks/>
            </p:cNvSpPr>
            <p:nvPr/>
          </p:nvSpPr>
          <p:spPr bwMode="gray">
            <a:xfrm>
              <a:off x="4300467" y="4073379"/>
              <a:ext cx="1183543" cy="618340"/>
            </a:xfrm>
            <a:custGeom>
              <a:avLst/>
              <a:gdLst/>
              <a:ahLst/>
              <a:cxnLst>
                <a:cxn ang="0">
                  <a:pos x="734" y="350"/>
                </a:cxn>
                <a:cxn ang="0">
                  <a:pos x="730" y="383"/>
                </a:cxn>
                <a:cxn ang="0">
                  <a:pos x="729" y="381"/>
                </a:cxn>
                <a:cxn ang="0">
                  <a:pos x="727" y="379"/>
                </a:cxn>
                <a:cxn ang="0">
                  <a:pos x="720" y="379"/>
                </a:cxn>
                <a:cxn ang="0">
                  <a:pos x="718" y="377"/>
                </a:cxn>
                <a:cxn ang="0">
                  <a:pos x="710" y="374"/>
                </a:cxn>
                <a:cxn ang="0">
                  <a:pos x="708" y="371"/>
                </a:cxn>
                <a:cxn ang="0">
                  <a:pos x="698" y="369"/>
                </a:cxn>
                <a:cxn ang="0">
                  <a:pos x="693" y="362"/>
                </a:cxn>
                <a:cxn ang="0">
                  <a:pos x="684" y="359"/>
                </a:cxn>
                <a:cxn ang="0">
                  <a:pos x="679" y="355"/>
                </a:cxn>
                <a:cxn ang="0">
                  <a:pos x="676" y="352"/>
                </a:cxn>
                <a:cxn ang="0">
                  <a:pos x="664" y="355"/>
                </a:cxn>
                <a:cxn ang="0">
                  <a:pos x="658" y="359"/>
                </a:cxn>
                <a:cxn ang="0">
                  <a:pos x="640" y="357"/>
                </a:cxn>
                <a:cxn ang="0">
                  <a:pos x="638" y="352"/>
                </a:cxn>
                <a:cxn ang="0">
                  <a:pos x="626" y="357"/>
                </a:cxn>
                <a:cxn ang="0">
                  <a:pos x="617" y="360"/>
                </a:cxn>
                <a:cxn ang="0">
                  <a:pos x="602" y="360"/>
                </a:cxn>
                <a:cxn ang="0">
                  <a:pos x="597" y="362"/>
                </a:cxn>
                <a:cxn ang="0">
                  <a:pos x="585" y="362"/>
                </a:cxn>
                <a:cxn ang="0">
                  <a:pos x="587" y="364"/>
                </a:cxn>
                <a:cxn ang="0">
                  <a:pos x="575" y="369"/>
                </a:cxn>
                <a:cxn ang="0">
                  <a:pos x="566" y="372"/>
                </a:cxn>
                <a:cxn ang="0">
                  <a:pos x="549" y="364"/>
                </a:cxn>
                <a:cxn ang="0">
                  <a:pos x="539" y="355"/>
                </a:cxn>
                <a:cxn ang="0">
                  <a:pos x="527" y="359"/>
                </a:cxn>
                <a:cxn ang="0">
                  <a:pos x="520" y="350"/>
                </a:cxn>
                <a:cxn ang="0">
                  <a:pos x="511" y="359"/>
                </a:cxn>
                <a:cxn ang="0">
                  <a:pos x="503" y="362"/>
                </a:cxn>
                <a:cxn ang="0">
                  <a:pos x="500" y="374"/>
                </a:cxn>
                <a:cxn ang="0">
                  <a:pos x="496" y="360"/>
                </a:cxn>
                <a:cxn ang="0">
                  <a:pos x="488" y="359"/>
                </a:cxn>
                <a:cxn ang="0">
                  <a:pos x="481" y="359"/>
                </a:cxn>
                <a:cxn ang="0">
                  <a:pos x="469" y="355"/>
                </a:cxn>
                <a:cxn ang="0">
                  <a:pos x="459" y="354"/>
                </a:cxn>
                <a:cxn ang="0">
                  <a:pos x="443" y="352"/>
                </a:cxn>
                <a:cxn ang="0">
                  <a:pos x="426" y="355"/>
                </a:cxn>
                <a:cxn ang="0">
                  <a:pos x="426" y="348"/>
                </a:cxn>
                <a:cxn ang="0">
                  <a:pos x="414" y="343"/>
                </a:cxn>
                <a:cxn ang="0">
                  <a:pos x="407" y="331"/>
                </a:cxn>
                <a:cxn ang="0">
                  <a:pos x="388" y="333"/>
                </a:cxn>
                <a:cxn ang="0">
                  <a:pos x="373" y="331"/>
                </a:cxn>
                <a:cxn ang="0">
                  <a:pos x="363" y="326"/>
                </a:cxn>
                <a:cxn ang="0">
                  <a:pos x="339" y="319"/>
                </a:cxn>
                <a:cxn ang="0">
                  <a:pos x="318" y="318"/>
                </a:cxn>
                <a:cxn ang="0">
                  <a:pos x="313" y="301"/>
                </a:cxn>
                <a:cxn ang="0">
                  <a:pos x="300" y="297"/>
                </a:cxn>
                <a:cxn ang="0">
                  <a:pos x="286" y="295"/>
                </a:cxn>
                <a:cxn ang="0">
                  <a:pos x="267" y="290"/>
                </a:cxn>
                <a:cxn ang="0">
                  <a:pos x="253" y="275"/>
                </a:cxn>
                <a:cxn ang="0">
                  <a:pos x="252" y="210"/>
                </a:cxn>
                <a:cxn ang="0">
                  <a:pos x="257" y="70"/>
                </a:cxn>
                <a:cxn ang="0">
                  <a:pos x="118" y="61"/>
                </a:cxn>
                <a:cxn ang="0">
                  <a:pos x="86" y="7"/>
                </a:cxn>
                <a:cxn ang="0">
                  <a:pos x="206" y="12"/>
                </a:cxn>
                <a:cxn ang="0">
                  <a:pos x="344" y="17"/>
                </a:cxn>
                <a:cxn ang="0">
                  <a:pos x="474" y="20"/>
                </a:cxn>
                <a:cxn ang="0">
                  <a:pos x="602" y="22"/>
                </a:cxn>
                <a:cxn ang="0">
                  <a:pos x="681" y="20"/>
                </a:cxn>
                <a:cxn ang="0">
                  <a:pos x="718" y="77"/>
                </a:cxn>
                <a:cxn ang="0">
                  <a:pos x="735" y="193"/>
                </a:cxn>
              </a:cxnLst>
              <a:rect l="0" t="0" r="r" b="b"/>
              <a:pathLst>
                <a:path w="735" h="384">
                  <a:moveTo>
                    <a:pt x="735" y="244"/>
                  </a:moveTo>
                  <a:lnTo>
                    <a:pt x="735" y="265"/>
                  </a:lnTo>
                  <a:lnTo>
                    <a:pt x="735" y="289"/>
                  </a:lnTo>
                  <a:lnTo>
                    <a:pt x="735" y="323"/>
                  </a:lnTo>
                  <a:lnTo>
                    <a:pt x="734" y="350"/>
                  </a:lnTo>
                  <a:lnTo>
                    <a:pt x="734" y="384"/>
                  </a:lnTo>
                  <a:lnTo>
                    <a:pt x="732" y="384"/>
                  </a:lnTo>
                  <a:lnTo>
                    <a:pt x="732" y="384"/>
                  </a:lnTo>
                  <a:lnTo>
                    <a:pt x="730" y="384"/>
                  </a:lnTo>
                  <a:lnTo>
                    <a:pt x="730" y="383"/>
                  </a:lnTo>
                  <a:lnTo>
                    <a:pt x="727" y="384"/>
                  </a:lnTo>
                  <a:lnTo>
                    <a:pt x="727" y="384"/>
                  </a:lnTo>
                  <a:lnTo>
                    <a:pt x="727" y="383"/>
                  </a:lnTo>
                  <a:lnTo>
                    <a:pt x="729" y="383"/>
                  </a:lnTo>
                  <a:lnTo>
                    <a:pt x="729" y="381"/>
                  </a:lnTo>
                  <a:lnTo>
                    <a:pt x="725" y="383"/>
                  </a:lnTo>
                  <a:lnTo>
                    <a:pt x="723" y="381"/>
                  </a:lnTo>
                  <a:lnTo>
                    <a:pt x="725" y="381"/>
                  </a:lnTo>
                  <a:lnTo>
                    <a:pt x="727" y="381"/>
                  </a:lnTo>
                  <a:lnTo>
                    <a:pt x="727" y="379"/>
                  </a:lnTo>
                  <a:lnTo>
                    <a:pt x="725" y="379"/>
                  </a:lnTo>
                  <a:lnTo>
                    <a:pt x="725" y="379"/>
                  </a:lnTo>
                  <a:lnTo>
                    <a:pt x="723" y="381"/>
                  </a:lnTo>
                  <a:lnTo>
                    <a:pt x="720" y="379"/>
                  </a:lnTo>
                  <a:lnTo>
                    <a:pt x="720" y="379"/>
                  </a:lnTo>
                  <a:lnTo>
                    <a:pt x="718" y="381"/>
                  </a:lnTo>
                  <a:lnTo>
                    <a:pt x="717" y="381"/>
                  </a:lnTo>
                  <a:lnTo>
                    <a:pt x="717" y="379"/>
                  </a:lnTo>
                  <a:lnTo>
                    <a:pt x="720" y="379"/>
                  </a:lnTo>
                  <a:lnTo>
                    <a:pt x="718" y="377"/>
                  </a:lnTo>
                  <a:lnTo>
                    <a:pt x="717" y="377"/>
                  </a:lnTo>
                  <a:lnTo>
                    <a:pt x="715" y="377"/>
                  </a:lnTo>
                  <a:lnTo>
                    <a:pt x="710" y="377"/>
                  </a:lnTo>
                  <a:lnTo>
                    <a:pt x="710" y="376"/>
                  </a:lnTo>
                  <a:lnTo>
                    <a:pt x="710" y="374"/>
                  </a:lnTo>
                  <a:lnTo>
                    <a:pt x="708" y="376"/>
                  </a:lnTo>
                  <a:lnTo>
                    <a:pt x="710" y="372"/>
                  </a:lnTo>
                  <a:lnTo>
                    <a:pt x="706" y="374"/>
                  </a:lnTo>
                  <a:lnTo>
                    <a:pt x="706" y="372"/>
                  </a:lnTo>
                  <a:lnTo>
                    <a:pt x="708" y="371"/>
                  </a:lnTo>
                  <a:lnTo>
                    <a:pt x="706" y="371"/>
                  </a:lnTo>
                  <a:lnTo>
                    <a:pt x="705" y="372"/>
                  </a:lnTo>
                  <a:lnTo>
                    <a:pt x="703" y="372"/>
                  </a:lnTo>
                  <a:lnTo>
                    <a:pt x="700" y="372"/>
                  </a:lnTo>
                  <a:lnTo>
                    <a:pt x="698" y="369"/>
                  </a:lnTo>
                  <a:lnTo>
                    <a:pt x="694" y="367"/>
                  </a:lnTo>
                  <a:lnTo>
                    <a:pt x="696" y="365"/>
                  </a:lnTo>
                  <a:lnTo>
                    <a:pt x="694" y="364"/>
                  </a:lnTo>
                  <a:lnTo>
                    <a:pt x="693" y="364"/>
                  </a:lnTo>
                  <a:lnTo>
                    <a:pt x="693" y="362"/>
                  </a:lnTo>
                  <a:lnTo>
                    <a:pt x="691" y="360"/>
                  </a:lnTo>
                  <a:lnTo>
                    <a:pt x="691" y="359"/>
                  </a:lnTo>
                  <a:lnTo>
                    <a:pt x="689" y="360"/>
                  </a:lnTo>
                  <a:lnTo>
                    <a:pt x="686" y="359"/>
                  </a:lnTo>
                  <a:lnTo>
                    <a:pt x="684" y="359"/>
                  </a:lnTo>
                  <a:lnTo>
                    <a:pt x="684" y="357"/>
                  </a:lnTo>
                  <a:lnTo>
                    <a:pt x="682" y="355"/>
                  </a:lnTo>
                  <a:lnTo>
                    <a:pt x="682" y="354"/>
                  </a:lnTo>
                  <a:lnTo>
                    <a:pt x="681" y="357"/>
                  </a:lnTo>
                  <a:lnTo>
                    <a:pt x="679" y="355"/>
                  </a:lnTo>
                  <a:lnTo>
                    <a:pt x="681" y="354"/>
                  </a:lnTo>
                  <a:lnTo>
                    <a:pt x="679" y="354"/>
                  </a:lnTo>
                  <a:lnTo>
                    <a:pt x="677" y="354"/>
                  </a:lnTo>
                  <a:lnTo>
                    <a:pt x="676" y="354"/>
                  </a:lnTo>
                  <a:lnTo>
                    <a:pt x="676" y="352"/>
                  </a:lnTo>
                  <a:lnTo>
                    <a:pt x="674" y="350"/>
                  </a:lnTo>
                  <a:lnTo>
                    <a:pt x="667" y="348"/>
                  </a:lnTo>
                  <a:lnTo>
                    <a:pt x="665" y="352"/>
                  </a:lnTo>
                  <a:lnTo>
                    <a:pt x="665" y="355"/>
                  </a:lnTo>
                  <a:lnTo>
                    <a:pt x="664" y="355"/>
                  </a:lnTo>
                  <a:lnTo>
                    <a:pt x="664" y="354"/>
                  </a:lnTo>
                  <a:lnTo>
                    <a:pt x="662" y="357"/>
                  </a:lnTo>
                  <a:lnTo>
                    <a:pt x="660" y="357"/>
                  </a:lnTo>
                  <a:lnTo>
                    <a:pt x="658" y="355"/>
                  </a:lnTo>
                  <a:lnTo>
                    <a:pt x="658" y="359"/>
                  </a:lnTo>
                  <a:lnTo>
                    <a:pt x="648" y="360"/>
                  </a:lnTo>
                  <a:lnTo>
                    <a:pt x="647" y="357"/>
                  </a:lnTo>
                  <a:lnTo>
                    <a:pt x="643" y="359"/>
                  </a:lnTo>
                  <a:lnTo>
                    <a:pt x="641" y="357"/>
                  </a:lnTo>
                  <a:lnTo>
                    <a:pt x="640" y="357"/>
                  </a:lnTo>
                  <a:lnTo>
                    <a:pt x="640" y="357"/>
                  </a:lnTo>
                  <a:lnTo>
                    <a:pt x="641" y="357"/>
                  </a:lnTo>
                  <a:lnTo>
                    <a:pt x="641" y="355"/>
                  </a:lnTo>
                  <a:lnTo>
                    <a:pt x="640" y="355"/>
                  </a:lnTo>
                  <a:lnTo>
                    <a:pt x="638" y="352"/>
                  </a:lnTo>
                  <a:lnTo>
                    <a:pt x="635" y="352"/>
                  </a:lnTo>
                  <a:lnTo>
                    <a:pt x="633" y="352"/>
                  </a:lnTo>
                  <a:lnTo>
                    <a:pt x="633" y="354"/>
                  </a:lnTo>
                  <a:lnTo>
                    <a:pt x="631" y="354"/>
                  </a:lnTo>
                  <a:lnTo>
                    <a:pt x="626" y="357"/>
                  </a:lnTo>
                  <a:lnTo>
                    <a:pt x="621" y="355"/>
                  </a:lnTo>
                  <a:lnTo>
                    <a:pt x="621" y="357"/>
                  </a:lnTo>
                  <a:lnTo>
                    <a:pt x="619" y="359"/>
                  </a:lnTo>
                  <a:lnTo>
                    <a:pt x="619" y="360"/>
                  </a:lnTo>
                  <a:lnTo>
                    <a:pt x="617" y="360"/>
                  </a:lnTo>
                  <a:lnTo>
                    <a:pt x="614" y="362"/>
                  </a:lnTo>
                  <a:lnTo>
                    <a:pt x="612" y="362"/>
                  </a:lnTo>
                  <a:lnTo>
                    <a:pt x="606" y="357"/>
                  </a:lnTo>
                  <a:lnTo>
                    <a:pt x="604" y="357"/>
                  </a:lnTo>
                  <a:lnTo>
                    <a:pt x="602" y="360"/>
                  </a:lnTo>
                  <a:lnTo>
                    <a:pt x="600" y="360"/>
                  </a:lnTo>
                  <a:lnTo>
                    <a:pt x="599" y="359"/>
                  </a:lnTo>
                  <a:lnTo>
                    <a:pt x="599" y="359"/>
                  </a:lnTo>
                  <a:lnTo>
                    <a:pt x="599" y="360"/>
                  </a:lnTo>
                  <a:lnTo>
                    <a:pt x="597" y="362"/>
                  </a:lnTo>
                  <a:lnTo>
                    <a:pt x="597" y="360"/>
                  </a:lnTo>
                  <a:lnTo>
                    <a:pt x="595" y="362"/>
                  </a:lnTo>
                  <a:lnTo>
                    <a:pt x="590" y="362"/>
                  </a:lnTo>
                  <a:lnTo>
                    <a:pt x="588" y="364"/>
                  </a:lnTo>
                  <a:lnTo>
                    <a:pt x="585" y="362"/>
                  </a:lnTo>
                  <a:lnTo>
                    <a:pt x="583" y="364"/>
                  </a:lnTo>
                  <a:lnTo>
                    <a:pt x="583" y="365"/>
                  </a:lnTo>
                  <a:lnTo>
                    <a:pt x="583" y="365"/>
                  </a:lnTo>
                  <a:lnTo>
                    <a:pt x="585" y="364"/>
                  </a:lnTo>
                  <a:lnTo>
                    <a:pt x="587" y="364"/>
                  </a:lnTo>
                  <a:lnTo>
                    <a:pt x="585" y="367"/>
                  </a:lnTo>
                  <a:lnTo>
                    <a:pt x="583" y="371"/>
                  </a:lnTo>
                  <a:lnTo>
                    <a:pt x="582" y="371"/>
                  </a:lnTo>
                  <a:lnTo>
                    <a:pt x="580" y="371"/>
                  </a:lnTo>
                  <a:lnTo>
                    <a:pt x="575" y="369"/>
                  </a:lnTo>
                  <a:lnTo>
                    <a:pt x="573" y="371"/>
                  </a:lnTo>
                  <a:lnTo>
                    <a:pt x="573" y="376"/>
                  </a:lnTo>
                  <a:lnTo>
                    <a:pt x="571" y="377"/>
                  </a:lnTo>
                  <a:lnTo>
                    <a:pt x="568" y="377"/>
                  </a:lnTo>
                  <a:lnTo>
                    <a:pt x="566" y="372"/>
                  </a:lnTo>
                  <a:lnTo>
                    <a:pt x="561" y="367"/>
                  </a:lnTo>
                  <a:lnTo>
                    <a:pt x="556" y="369"/>
                  </a:lnTo>
                  <a:lnTo>
                    <a:pt x="554" y="367"/>
                  </a:lnTo>
                  <a:lnTo>
                    <a:pt x="554" y="365"/>
                  </a:lnTo>
                  <a:lnTo>
                    <a:pt x="549" y="364"/>
                  </a:lnTo>
                  <a:lnTo>
                    <a:pt x="546" y="362"/>
                  </a:lnTo>
                  <a:lnTo>
                    <a:pt x="544" y="360"/>
                  </a:lnTo>
                  <a:lnTo>
                    <a:pt x="547" y="357"/>
                  </a:lnTo>
                  <a:lnTo>
                    <a:pt x="541" y="354"/>
                  </a:lnTo>
                  <a:lnTo>
                    <a:pt x="539" y="355"/>
                  </a:lnTo>
                  <a:lnTo>
                    <a:pt x="537" y="362"/>
                  </a:lnTo>
                  <a:lnTo>
                    <a:pt x="535" y="362"/>
                  </a:lnTo>
                  <a:lnTo>
                    <a:pt x="532" y="364"/>
                  </a:lnTo>
                  <a:lnTo>
                    <a:pt x="529" y="359"/>
                  </a:lnTo>
                  <a:lnTo>
                    <a:pt x="527" y="359"/>
                  </a:lnTo>
                  <a:lnTo>
                    <a:pt x="523" y="360"/>
                  </a:lnTo>
                  <a:lnTo>
                    <a:pt x="523" y="360"/>
                  </a:lnTo>
                  <a:lnTo>
                    <a:pt x="522" y="357"/>
                  </a:lnTo>
                  <a:lnTo>
                    <a:pt x="520" y="354"/>
                  </a:lnTo>
                  <a:lnTo>
                    <a:pt x="520" y="350"/>
                  </a:lnTo>
                  <a:lnTo>
                    <a:pt x="517" y="348"/>
                  </a:lnTo>
                  <a:lnTo>
                    <a:pt x="517" y="350"/>
                  </a:lnTo>
                  <a:lnTo>
                    <a:pt x="513" y="352"/>
                  </a:lnTo>
                  <a:lnTo>
                    <a:pt x="511" y="350"/>
                  </a:lnTo>
                  <a:lnTo>
                    <a:pt x="511" y="359"/>
                  </a:lnTo>
                  <a:lnTo>
                    <a:pt x="510" y="360"/>
                  </a:lnTo>
                  <a:lnTo>
                    <a:pt x="508" y="362"/>
                  </a:lnTo>
                  <a:lnTo>
                    <a:pt x="505" y="360"/>
                  </a:lnTo>
                  <a:lnTo>
                    <a:pt x="503" y="360"/>
                  </a:lnTo>
                  <a:lnTo>
                    <a:pt x="503" y="362"/>
                  </a:lnTo>
                  <a:lnTo>
                    <a:pt x="506" y="364"/>
                  </a:lnTo>
                  <a:lnTo>
                    <a:pt x="503" y="365"/>
                  </a:lnTo>
                  <a:lnTo>
                    <a:pt x="503" y="372"/>
                  </a:lnTo>
                  <a:lnTo>
                    <a:pt x="503" y="374"/>
                  </a:lnTo>
                  <a:lnTo>
                    <a:pt x="500" y="374"/>
                  </a:lnTo>
                  <a:lnTo>
                    <a:pt x="496" y="374"/>
                  </a:lnTo>
                  <a:lnTo>
                    <a:pt x="493" y="371"/>
                  </a:lnTo>
                  <a:lnTo>
                    <a:pt x="491" y="364"/>
                  </a:lnTo>
                  <a:lnTo>
                    <a:pt x="493" y="362"/>
                  </a:lnTo>
                  <a:lnTo>
                    <a:pt x="496" y="360"/>
                  </a:lnTo>
                  <a:lnTo>
                    <a:pt x="496" y="359"/>
                  </a:lnTo>
                  <a:lnTo>
                    <a:pt x="494" y="355"/>
                  </a:lnTo>
                  <a:lnTo>
                    <a:pt x="491" y="355"/>
                  </a:lnTo>
                  <a:lnTo>
                    <a:pt x="489" y="355"/>
                  </a:lnTo>
                  <a:lnTo>
                    <a:pt x="488" y="359"/>
                  </a:lnTo>
                  <a:lnTo>
                    <a:pt x="488" y="360"/>
                  </a:lnTo>
                  <a:lnTo>
                    <a:pt x="486" y="359"/>
                  </a:lnTo>
                  <a:lnTo>
                    <a:pt x="482" y="355"/>
                  </a:lnTo>
                  <a:lnTo>
                    <a:pt x="482" y="359"/>
                  </a:lnTo>
                  <a:lnTo>
                    <a:pt x="481" y="359"/>
                  </a:lnTo>
                  <a:lnTo>
                    <a:pt x="477" y="362"/>
                  </a:lnTo>
                  <a:lnTo>
                    <a:pt x="474" y="364"/>
                  </a:lnTo>
                  <a:lnTo>
                    <a:pt x="470" y="362"/>
                  </a:lnTo>
                  <a:lnTo>
                    <a:pt x="470" y="355"/>
                  </a:lnTo>
                  <a:lnTo>
                    <a:pt x="469" y="355"/>
                  </a:lnTo>
                  <a:lnTo>
                    <a:pt x="469" y="354"/>
                  </a:lnTo>
                  <a:lnTo>
                    <a:pt x="465" y="354"/>
                  </a:lnTo>
                  <a:lnTo>
                    <a:pt x="462" y="355"/>
                  </a:lnTo>
                  <a:lnTo>
                    <a:pt x="460" y="355"/>
                  </a:lnTo>
                  <a:lnTo>
                    <a:pt x="459" y="354"/>
                  </a:lnTo>
                  <a:lnTo>
                    <a:pt x="457" y="347"/>
                  </a:lnTo>
                  <a:lnTo>
                    <a:pt x="452" y="345"/>
                  </a:lnTo>
                  <a:lnTo>
                    <a:pt x="448" y="347"/>
                  </a:lnTo>
                  <a:lnTo>
                    <a:pt x="447" y="350"/>
                  </a:lnTo>
                  <a:lnTo>
                    <a:pt x="443" y="352"/>
                  </a:lnTo>
                  <a:lnTo>
                    <a:pt x="440" y="355"/>
                  </a:lnTo>
                  <a:lnTo>
                    <a:pt x="435" y="359"/>
                  </a:lnTo>
                  <a:lnTo>
                    <a:pt x="433" y="359"/>
                  </a:lnTo>
                  <a:lnTo>
                    <a:pt x="429" y="357"/>
                  </a:lnTo>
                  <a:lnTo>
                    <a:pt x="426" y="355"/>
                  </a:lnTo>
                  <a:lnTo>
                    <a:pt x="424" y="354"/>
                  </a:lnTo>
                  <a:lnTo>
                    <a:pt x="424" y="354"/>
                  </a:lnTo>
                  <a:lnTo>
                    <a:pt x="426" y="350"/>
                  </a:lnTo>
                  <a:lnTo>
                    <a:pt x="426" y="348"/>
                  </a:lnTo>
                  <a:lnTo>
                    <a:pt x="426" y="348"/>
                  </a:lnTo>
                  <a:lnTo>
                    <a:pt x="426" y="347"/>
                  </a:lnTo>
                  <a:lnTo>
                    <a:pt x="424" y="343"/>
                  </a:lnTo>
                  <a:lnTo>
                    <a:pt x="419" y="345"/>
                  </a:lnTo>
                  <a:lnTo>
                    <a:pt x="417" y="345"/>
                  </a:lnTo>
                  <a:lnTo>
                    <a:pt x="414" y="343"/>
                  </a:lnTo>
                  <a:lnTo>
                    <a:pt x="412" y="336"/>
                  </a:lnTo>
                  <a:lnTo>
                    <a:pt x="414" y="328"/>
                  </a:lnTo>
                  <a:lnTo>
                    <a:pt x="412" y="328"/>
                  </a:lnTo>
                  <a:lnTo>
                    <a:pt x="411" y="328"/>
                  </a:lnTo>
                  <a:lnTo>
                    <a:pt x="407" y="331"/>
                  </a:lnTo>
                  <a:lnTo>
                    <a:pt x="399" y="330"/>
                  </a:lnTo>
                  <a:lnTo>
                    <a:pt x="394" y="328"/>
                  </a:lnTo>
                  <a:lnTo>
                    <a:pt x="392" y="328"/>
                  </a:lnTo>
                  <a:lnTo>
                    <a:pt x="388" y="330"/>
                  </a:lnTo>
                  <a:lnTo>
                    <a:pt x="388" y="333"/>
                  </a:lnTo>
                  <a:lnTo>
                    <a:pt x="387" y="333"/>
                  </a:lnTo>
                  <a:lnTo>
                    <a:pt x="385" y="335"/>
                  </a:lnTo>
                  <a:lnTo>
                    <a:pt x="383" y="336"/>
                  </a:lnTo>
                  <a:lnTo>
                    <a:pt x="378" y="335"/>
                  </a:lnTo>
                  <a:lnTo>
                    <a:pt x="373" y="331"/>
                  </a:lnTo>
                  <a:lnTo>
                    <a:pt x="371" y="326"/>
                  </a:lnTo>
                  <a:lnTo>
                    <a:pt x="370" y="326"/>
                  </a:lnTo>
                  <a:lnTo>
                    <a:pt x="368" y="324"/>
                  </a:lnTo>
                  <a:lnTo>
                    <a:pt x="365" y="326"/>
                  </a:lnTo>
                  <a:lnTo>
                    <a:pt x="363" y="326"/>
                  </a:lnTo>
                  <a:lnTo>
                    <a:pt x="359" y="328"/>
                  </a:lnTo>
                  <a:lnTo>
                    <a:pt x="354" y="328"/>
                  </a:lnTo>
                  <a:lnTo>
                    <a:pt x="351" y="326"/>
                  </a:lnTo>
                  <a:lnTo>
                    <a:pt x="344" y="324"/>
                  </a:lnTo>
                  <a:lnTo>
                    <a:pt x="339" y="319"/>
                  </a:lnTo>
                  <a:lnTo>
                    <a:pt x="335" y="318"/>
                  </a:lnTo>
                  <a:lnTo>
                    <a:pt x="332" y="319"/>
                  </a:lnTo>
                  <a:lnTo>
                    <a:pt x="327" y="318"/>
                  </a:lnTo>
                  <a:lnTo>
                    <a:pt x="323" y="319"/>
                  </a:lnTo>
                  <a:lnTo>
                    <a:pt x="318" y="318"/>
                  </a:lnTo>
                  <a:lnTo>
                    <a:pt x="318" y="316"/>
                  </a:lnTo>
                  <a:lnTo>
                    <a:pt x="317" y="313"/>
                  </a:lnTo>
                  <a:lnTo>
                    <a:pt x="317" y="307"/>
                  </a:lnTo>
                  <a:lnTo>
                    <a:pt x="317" y="304"/>
                  </a:lnTo>
                  <a:lnTo>
                    <a:pt x="313" y="301"/>
                  </a:lnTo>
                  <a:lnTo>
                    <a:pt x="312" y="297"/>
                  </a:lnTo>
                  <a:lnTo>
                    <a:pt x="306" y="295"/>
                  </a:lnTo>
                  <a:lnTo>
                    <a:pt x="303" y="292"/>
                  </a:lnTo>
                  <a:lnTo>
                    <a:pt x="301" y="294"/>
                  </a:lnTo>
                  <a:lnTo>
                    <a:pt x="300" y="297"/>
                  </a:lnTo>
                  <a:lnTo>
                    <a:pt x="300" y="301"/>
                  </a:lnTo>
                  <a:lnTo>
                    <a:pt x="296" y="301"/>
                  </a:lnTo>
                  <a:lnTo>
                    <a:pt x="293" y="299"/>
                  </a:lnTo>
                  <a:lnTo>
                    <a:pt x="291" y="295"/>
                  </a:lnTo>
                  <a:lnTo>
                    <a:pt x="286" y="295"/>
                  </a:lnTo>
                  <a:lnTo>
                    <a:pt x="284" y="295"/>
                  </a:lnTo>
                  <a:lnTo>
                    <a:pt x="284" y="297"/>
                  </a:lnTo>
                  <a:lnTo>
                    <a:pt x="282" y="299"/>
                  </a:lnTo>
                  <a:lnTo>
                    <a:pt x="274" y="299"/>
                  </a:lnTo>
                  <a:lnTo>
                    <a:pt x="267" y="290"/>
                  </a:lnTo>
                  <a:lnTo>
                    <a:pt x="262" y="285"/>
                  </a:lnTo>
                  <a:lnTo>
                    <a:pt x="260" y="282"/>
                  </a:lnTo>
                  <a:lnTo>
                    <a:pt x="259" y="278"/>
                  </a:lnTo>
                  <a:lnTo>
                    <a:pt x="253" y="275"/>
                  </a:lnTo>
                  <a:lnTo>
                    <a:pt x="253" y="275"/>
                  </a:lnTo>
                  <a:lnTo>
                    <a:pt x="250" y="277"/>
                  </a:lnTo>
                  <a:lnTo>
                    <a:pt x="248" y="277"/>
                  </a:lnTo>
                  <a:lnTo>
                    <a:pt x="248" y="258"/>
                  </a:lnTo>
                  <a:lnTo>
                    <a:pt x="250" y="227"/>
                  </a:lnTo>
                  <a:lnTo>
                    <a:pt x="252" y="210"/>
                  </a:lnTo>
                  <a:lnTo>
                    <a:pt x="252" y="184"/>
                  </a:lnTo>
                  <a:lnTo>
                    <a:pt x="253" y="164"/>
                  </a:lnTo>
                  <a:lnTo>
                    <a:pt x="253" y="135"/>
                  </a:lnTo>
                  <a:lnTo>
                    <a:pt x="255" y="116"/>
                  </a:lnTo>
                  <a:lnTo>
                    <a:pt x="257" y="70"/>
                  </a:lnTo>
                  <a:lnTo>
                    <a:pt x="257" y="68"/>
                  </a:lnTo>
                  <a:lnTo>
                    <a:pt x="209" y="68"/>
                  </a:lnTo>
                  <a:lnTo>
                    <a:pt x="175" y="65"/>
                  </a:lnTo>
                  <a:lnTo>
                    <a:pt x="163" y="65"/>
                  </a:lnTo>
                  <a:lnTo>
                    <a:pt x="118" y="61"/>
                  </a:lnTo>
                  <a:lnTo>
                    <a:pt x="83" y="60"/>
                  </a:lnTo>
                  <a:lnTo>
                    <a:pt x="72" y="60"/>
                  </a:lnTo>
                  <a:lnTo>
                    <a:pt x="0" y="54"/>
                  </a:lnTo>
                  <a:lnTo>
                    <a:pt x="4" y="0"/>
                  </a:lnTo>
                  <a:lnTo>
                    <a:pt x="86" y="7"/>
                  </a:lnTo>
                  <a:lnTo>
                    <a:pt x="88" y="7"/>
                  </a:lnTo>
                  <a:lnTo>
                    <a:pt x="127" y="8"/>
                  </a:lnTo>
                  <a:lnTo>
                    <a:pt x="168" y="10"/>
                  </a:lnTo>
                  <a:lnTo>
                    <a:pt x="178" y="10"/>
                  </a:lnTo>
                  <a:lnTo>
                    <a:pt x="206" y="12"/>
                  </a:lnTo>
                  <a:lnTo>
                    <a:pt x="252" y="13"/>
                  </a:lnTo>
                  <a:lnTo>
                    <a:pt x="259" y="15"/>
                  </a:lnTo>
                  <a:lnTo>
                    <a:pt x="298" y="17"/>
                  </a:lnTo>
                  <a:lnTo>
                    <a:pt x="306" y="17"/>
                  </a:lnTo>
                  <a:lnTo>
                    <a:pt x="344" y="17"/>
                  </a:lnTo>
                  <a:lnTo>
                    <a:pt x="383" y="19"/>
                  </a:lnTo>
                  <a:lnTo>
                    <a:pt x="399" y="19"/>
                  </a:lnTo>
                  <a:lnTo>
                    <a:pt x="419" y="20"/>
                  </a:lnTo>
                  <a:lnTo>
                    <a:pt x="445" y="20"/>
                  </a:lnTo>
                  <a:lnTo>
                    <a:pt x="474" y="20"/>
                  </a:lnTo>
                  <a:lnTo>
                    <a:pt x="503" y="20"/>
                  </a:lnTo>
                  <a:lnTo>
                    <a:pt x="535" y="22"/>
                  </a:lnTo>
                  <a:lnTo>
                    <a:pt x="554" y="22"/>
                  </a:lnTo>
                  <a:lnTo>
                    <a:pt x="599" y="22"/>
                  </a:lnTo>
                  <a:lnTo>
                    <a:pt x="602" y="22"/>
                  </a:lnTo>
                  <a:lnTo>
                    <a:pt x="617" y="22"/>
                  </a:lnTo>
                  <a:lnTo>
                    <a:pt x="640" y="22"/>
                  </a:lnTo>
                  <a:lnTo>
                    <a:pt x="650" y="22"/>
                  </a:lnTo>
                  <a:lnTo>
                    <a:pt x="677" y="20"/>
                  </a:lnTo>
                  <a:lnTo>
                    <a:pt x="681" y="20"/>
                  </a:lnTo>
                  <a:lnTo>
                    <a:pt x="717" y="20"/>
                  </a:lnTo>
                  <a:lnTo>
                    <a:pt x="717" y="46"/>
                  </a:lnTo>
                  <a:lnTo>
                    <a:pt x="717" y="56"/>
                  </a:lnTo>
                  <a:lnTo>
                    <a:pt x="717" y="75"/>
                  </a:lnTo>
                  <a:lnTo>
                    <a:pt x="718" y="77"/>
                  </a:lnTo>
                  <a:lnTo>
                    <a:pt x="723" y="111"/>
                  </a:lnTo>
                  <a:lnTo>
                    <a:pt x="723" y="118"/>
                  </a:lnTo>
                  <a:lnTo>
                    <a:pt x="730" y="154"/>
                  </a:lnTo>
                  <a:lnTo>
                    <a:pt x="732" y="167"/>
                  </a:lnTo>
                  <a:lnTo>
                    <a:pt x="735" y="193"/>
                  </a:lnTo>
                  <a:lnTo>
                    <a:pt x="735" y="244"/>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5" name="Freeform 164"/>
            <p:cNvSpPr>
              <a:spLocks noEditPoints="1"/>
            </p:cNvSpPr>
            <p:nvPr/>
          </p:nvSpPr>
          <p:spPr bwMode="gray">
            <a:xfrm>
              <a:off x="6902649" y="3894639"/>
              <a:ext cx="1210917" cy="528166"/>
            </a:xfrm>
            <a:custGeom>
              <a:avLst/>
              <a:gdLst/>
              <a:ahLst/>
              <a:cxnLst>
                <a:cxn ang="0">
                  <a:pos x="5" y="256"/>
                </a:cxn>
                <a:cxn ang="0">
                  <a:pos x="20" y="247"/>
                </a:cxn>
                <a:cxn ang="0">
                  <a:pos x="30" y="227"/>
                </a:cxn>
                <a:cxn ang="0">
                  <a:pos x="58" y="218"/>
                </a:cxn>
                <a:cxn ang="0">
                  <a:pos x="78" y="205"/>
                </a:cxn>
                <a:cxn ang="0">
                  <a:pos x="90" y="191"/>
                </a:cxn>
                <a:cxn ang="0">
                  <a:pos x="109" y="176"/>
                </a:cxn>
                <a:cxn ang="0">
                  <a:pos x="119" y="165"/>
                </a:cxn>
                <a:cxn ang="0">
                  <a:pos x="133" y="155"/>
                </a:cxn>
                <a:cxn ang="0">
                  <a:pos x="141" y="160"/>
                </a:cxn>
                <a:cxn ang="0">
                  <a:pos x="160" y="142"/>
                </a:cxn>
                <a:cxn ang="0">
                  <a:pos x="181" y="138"/>
                </a:cxn>
                <a:cxn ang="0">
                  <a:pos x="205" y="112"/>
                </a:cxn>
                <a:cxn ang="0">
                  <a:pos x="203" y="85"/>
                </a:cxn>
                <a:cxn ang="0">
                  <a:pos x="307" y="71"/>
                </a:cxn>
                <a:cxn ang="0">
                  <a:pos x="411" y="54"/>
                </a:cxn>
                <a:cxn ang="0">
                  <a:pos x="487" y="41"/>
                </a:cxn>
                <a:cxn ang="0">
                  <a:pos x="582" y="22"/>
                </a:cxn>
                <a:cxn ang="0">
                  <a:pos x="652" y="7"/>
                </a:cxn>
                <a:cxn ang="0">
                  <a:pos x="685" y="13"/>
                </a:cxn>
                <a:cxn ang="0">
                  <a:pos x="692" y="22"/>
                </a:cxn>
                <a:cxn ang="0">
                  <a:pos x="690" y="32"/>
                </a:cxn>
                <a:cxn ang="0">
                  <a:pos x="671" y="30"/>
                </a:cxn>
                <a:cxn ang="0">
                  <a:pos x="663" y="42"/>
                </a:cxn>
                <a:cxn ang="0">
                  <a:pos x="642" y="70"/>
                </a:cxn>
                <a:cxn ang="0">
                  <a:pos x="629" y="41"/>
                </a:cxn>
                <a:cxn ang="0">
                  <a:pos x="625" y="48"/>
                </a:cxn>
                <a:cxn ang="0">
                  <a:pos x="659" y="70"/>
                </a:cxn>
                <a:cxn ang="0">
                  <a:pos x="692" y="87"/>
                </a:cxn>
                <a:cxn ang="0">
                  <a:pos x="697" y="71"/>
                </a:cxn>
                <a:cxn ang="0">
                  <a:pos x="711" y="97"/>
                </a:cxn>
                <a:cxn ang="0">
                  <a:pos x="666" y="121"/>
                </a:cxn>
                <a:cxn ang="0">
                  <a:pos x="652" y="130"/>
                </a:cxn>
                <a:cxn ang="0">
                  <a:pos x="658" y="148"/>
                </a:cxn>
                <a:cxn ang="0">
                  <a:pos x="661" y="162"/>
                </a:cxn>
                <a:cxn ang="0">
                  <a:pos x="634" y="174"/>
                </a:cxn>
                <a:cxn ang="0">
                  <a:pos x="639" y="188"/>
                </a:cxn>
                <a:cxn ang="0">
                  <a:pos x="680" y="179"/>
                </a:cxn>
                <a:cxn ang="0">
                  <a:pos x="668" y="206"/>
                </a:cxn>
                <a:cxn ang="0">
                  <a:pos x="596" y="249"/>
                </a:cxn>
                <a:cxn ang="0">
                  <a:pos x="572" y="283"/>
                </a:cxn>
                <a:cxn ang="0">
                  <a:pos x="564" y="316"/>
                </a:cxn>
                <a:cxn ang="0">
                  <a:pos x="427" y="261"/>
                </a:cxn>
                <a:cxn ang="0">
                  <a:pos x="328" y="259"/>
                </a:cxn>
                <a:cxn ang="0">
                  <a:pos x="292" y="234"/>
                </a:cxn>
                <a:cxn ang="0">
                  <a:pos x="280" y="230"/>
                </a:cxn>
                <a:cxn ang="0">
                  <a:pos x="200" y="239"/>
                </a:cxn>
                <a:cxn ang="0">
                  <a:pos x="167" y="244"/>
                </a:cxn>
                <a:cxn ang="0">
                  <a:pos x="153" y="249"/>
                </a:cxn>
                <a:cxn ang="0">
                  <a:pos x="138" y="258"/>
                </a:cxn>
                <a:cxn ang="0">
                  <a:pos x="70" y="278"/>
                </a:cxn>
                <a:cxn ang="0">
                  <a:pos x="682" y="1"/>
                </a:cxn>
                <a:cxn ang="0">
                  <a:pos x="678" y="1"/>
                </a:cxn>
                <a:cxn ang="0">
                  <a:pos x="717" y="49"/>
                </a:cxn>
                <a:cxn ang="0">
                  <a:pos x="738" y="75"/>
                </a:cxn>
                <a:cxn ang="0">
                  <a:pos x="750" y="126"/>
                </a:cxn>
                <a:cxn ang="0">
                  <a:pos x="724" y="145"/>
                </a:cxn>
                <a:cxn ang="0">
                  <a:pos x="712" y="159"/>
                </a:cxn>
                <a:cxn ang="0">
                  <a:pos x="683" y="198"/>
                </a:cxn>
              </a:cxnLst>
              <a:rect l="0" t="0" r="r" b="b"/>
              <a:pathLst>
                <a:path w="752" h="328">
                  <a:moveTo>
                    <a:pt x="29" y="283"/>
                  </a:moveTo>
                  <a:lnTo>
                    <a:pt x="17" y="285"/>
                  </a:lnTo>
                  <a:lnTo>
                    <a:pt x="0" y="287"/>
                  </a:lnTo>
                  <a:lnTo>
                    <a:pt x="0" y="263"/>
                  </a:lnTo>
                  <a:lnTo>
                    <a:pt x="5" y="256"/>
                  </a:lnTo>
                  <a:lnTo>
                    <a:pt x="8" y="258"/>
                  </a:lnTo>
                  <a:lnTo>
                    <a:pt x="15" y="258"/>
                  </a:lnTo>
                  <a:lnTo>
                    <a:pt x="20" y="254"/>
                  </a:lnTo>
                  <a:lnTo>
                    <a:pt x="20" y="251"/>
                  </a:lnTo>
                  <a:lnTo>
                    <a:pt x="20" y="247"/>
                  </a:lnTo>
                  <a:lnTo>
                    <a:pt x="22" y="242"/>
                  </a:lnTo>
                  <a:lnTo>
                    <a:pt x="20" y="239"/>
                  </a:lnTo>
                  <a:lnTo>
                    <a:pt x="25" y="234"/>
                  </a:lnTo>
                  <a:lnTo>
                    <a:pt x="29" y="230"/>
                  </a:lnTo>
                  <a:lnTo>
                    <a:pt x="30" y="227"/>
                  </a:lnTo>
                  <a:lnTo>
                    <a:pt x="35" y="225"/>
                  </a:lnTo>
                  <a:lnTo>
                    <a:pt x="39" y="220"/>
                  </a:lnTo>
                  <a:lnTo>
                    <a:pt x="47" y="218"/>
                  </a:lnTo>
                  <a:lnTo>
                    <a:pt x="53" y="217"/>
                  </a:lnTo>
                  <a:lnTo>
                    <a:pt x="58" y="218"/>
                  </a:lnTo>
                  <a:lnTo>
                    <a:pt x="63" y="217"/>
                  </a:lnTo>
                  <a:lnTo>
                    <a:pt x="66" y="212"/>
                  </a:lnTo>
                  <a:lnTo>
                    <a:pt x="71" y="208"/>
                  </a:lnTo>
                  <a:lnTo>
                    <a:pt x="75" y="205"/>
                  </a:lnTo>
                  <a:lnTo>
                    <a:pt x="78" y="205"/>
                  </a:lnTo>
                  <a:lnTo>
                    <a:pt x="82" y="200"/>
                  </a:lnTo>
                  <a:lnTo>
                    <a:pt x="82" y="200"/>
                  </a:lnTo>
                  <a:lnTo>
                    <a:pt x="83" y="196"/>
                  </a:lnTo>
                  <a:lnTo>
                    <a:pt x="87" y="195"/>
                  </a:lnTo>
                  <a:lnTo>
                    <a:pt x="90" y="191"/>
                  </a:lnTo>
                  <a:lnTo>
                    <a:pt x="92" y="191"/>
                  </a:lnTo>
                  <a:lnTo>
                    <a:pt x="97" y="188"/>
                  </a:lnTo>
                  <a:lnTo>
                    <a:pt x="104" y="188"/>
                  </a:lnTo>
                  <a:lnTo>
                    <a:pt x="106" y="186"/>
                  </a:lnTo>
                  <a:lnTo>
                    <a:pt x="109" y="176"/>
                  </a:lnTo>
                  <a:lnTo>
                    <a:pt x="107" y="171"/>
                  </a:lnTo>
                  <a:lnTo>
                    <a:pt x="109" y="169"/>
                  </a:lnTo>
                  <a:lnTo>
                    <a:pt x="112" y="167"/>
                  </a:lnTo>
                  <a:lnTo>
                    <a:pt x="118" y="171"/>
                  </a:lnTo>
                  <a:lnTo>
                    <a:pt x="119" y="165"/>
                  </a:lnTo>
                  <a:lnTo>
                    <a:pt x="119" y="162"/>
                  </a:lnTo>
                  <a:lnTo>
                    <a:pt x="119" y="162"/>
                  </a:lnTo>
                  <a:lnTo>
                    <a:pt x="129" y="153"/>
                  </a:lnTo>
                  <a:lnTo>
                    <a:pt x="129" y="153"/>
                  </a:lnTo>
                  <a:lnTo>
                    <a:pt x="133" y="155"/>
                  </a:lnTo>
                  <a:lnTo>
                    <a:pt x="133" y="157"/>
                  </a:lnTo>
                  <a:lnTo>
                    <a:pt x="133" y="159"/>
                  </a:lnTo>
                  <a:lnTo>
                    <a:pt x="135" y="164"/>
                  </a:lnTo>
                  <a:lnTo>
                    <a:pt x="138" y="164"/>
                  </a:lnTo>
                  <a:lnTo>
                    <a:pt x="141" y="160"/>
                  </a:lnTo>
                  <a:lnTo>
                    <a:pt x="145" y="159"/>
                  </a:lnTo>
                  <a:lnTo>
                    <a:pt x="148" y="148"/>
                  </a:lnTo>
                  <a:lnTo>
                    <a:pt x="152" y="147"/>
                  </a:lnTo>
                  <a:lnTo>
                    <a:pt x="157" y="143"/>
                  </a:lnTo>
                  <a:lnTo>
                    <a:pt x="160" y="142"/>
                  </a:lnTo>
                  <a:lnTo>
                    <a:pt x="165" y="138"/>
                  </a:lnTo>
                  <a:lnTo>
                    <a:pt x="169" y="138"/>
                  </a:lnTo>
                  <a:lnTo>
                    <a:pt x="172" y="143"/>
                  </a:lnTo>
                  <a:lnTo>
                    <a:pt x="176" y="142"/>
                  </a:lnTo>
                  <a:lnTo>
                    <a:pt x="181" y="138"/>
                  </a:lnTo>
                  <a:lnTo>
                    <a:pt x="186" y="123"/>
                  </a:lnTo>
                  <a:lnTo>
                    <a:pt x="188" y="119"/>
                  </a:lnTo>
                  <a:lnTo>
                    <a:pt x="194" y="114"/>
                  </a:lnTo>
                  <a:lnTo>
                    <a:pt x="203" y="112"/>
                  </a:lnTo>
                  <a:lnTo>
                    <a:pt x="205" y="112"/>
                  </a:lnTo>
                  <a:lnTo>
                    <a:pt x="201" y="109"/>
                  </a:lnTo>
                  <a:lnTo>
                    <a:pt x="200" y="107"/>
                  </a:lnTo>
                  <a:lnTo>
                    <a:pt x="203" y="97"/>
                  </a:lnTo>
                  <a:lnTo>
                    <a:pt x="201" y="92"/>
                  </a:lnTo>
                  <a:lnTo>
                    <a:pt x="203" y="85"/>
                  </a:lnTo>
                  <a:lnTo>
                    <a:pt x="230" y="82"/>
                  </a:lnTo>
                  <a:lnTo>
                    <a:pt x="268" y="77"/>
                  </a:lnTo>
                  <a:lnTo>
                    <a:pt x="273" y="77"/>
                  </a:lnTo>
                  <a:lnTo>
                    <a:pt x="294" y="73"/>
                  </a:lnTo>
                  <a:lnTo>
                    <a:pt x="307" y="71"/>
                  </a:lnTo>
                  <a:lnTo>
                    <a:pt x="341" y="66"/>
                  </a:lnTo>
                  <a:lnTo>
                    <a:pt x="343" y="66"/>
                  </a:lnTo>
                  <a:lnTo>
                    <a:pt x="369" y="63"/>
                  </a:lnTo>
                  <a:lnTo>
                    <a:pt x="386" y="60"/>
                  </a:lnTo>
                  <a:lnTo>
                    <a:pt x="411" y="54"/>
                  </a:lnTo>
                  <a:lnTo>
                    <a:pt x="417" y="54"/>
                  </a:lnTo>
                  <a:lnTo>
                    <a:pt x="446" y="49"/>
                  </a:lnTo>
                  <a:lnTo>
                    <a:pt x="451" y="48"/>
                  </a:lnTo>
                  <a:lnTo>
                    <a:pt x="475" y="44"/>
                  </a:lnTo>
                  <a:lnTo>
                    <a:pt x="487" y="41"/>
                  </a:lnTo>
                  <a:lnTo>
                    <a:pt x="509" y="36"/>
                  </a:lnTo>
                  <a:lnTo>
                    <a:pt x="521" y="34"/>
                  </a:lnTo>
                  <a:lnTo>
                    <a:pt x="533" y="32"/>
                  </a:lnTo>
                  <a:lnTo>
                    <a:pt x="570" y="24"/>
                  </a:lnTo>
                  <a:lnTo>
                    <a:pt x="582" y="22"/>
                  </a:lnTo>
                  <a:lnTo>
                    <a:pt x="603" y="17"/>
                  </a:lnTo>
                  <a:lnTo>
                    <a:pt x="603" y="17"/>
                  </a:lnTo>
                  <a:lnTo>
                    <a:pt x="634" y="12"/>
                  </a:lnTo>
                  <a:lnTo>
                    <a:pt x="639" y="10"/>
                  </a:lnTo>
                  <a:lnTo>
                    <a:pt x="652" y="7"/>
                  </a:lnTo>
                  <a:lnTo>
                    <a:pt x="670" y="3"/>
                  </a:lnTo>
                  <a:lnTo>
                    <a:pt x="676" y="1"/>
                  </a:lnTo>
                  <a:lnTo>
                    <a:pt x="678" y="7"/>
                  </a:lnTo>
                  <a:lnTo>
                    <a:pt x="675" y="8"/>
                  </a:lnTo>
                  <a:lnTo>
                    <a:pt x="685" y="13"/>
                  </a:lnTo>
                  <a:lnTo>
                    <a:pt x="687" y="15"/>
                  </a:lnTo>
                  <a:lnTo>
                    <a:pt x="683" y="15"/>
                  </a:lnTo>
                  <a:lnTo>
                    <a:pt x="688" y="20"/>
                  </a:lnTo>
                  <a:lnTo>
                    <a:pt x="690" y="13"/>
                  </a:lnTo>
                  <a:lnTo>
                    <a:pt x="692" y="22"/>
                  </a:lnTo>
                  <a:lnTo>
                    <a:pt x="707" y="44"/>
                  </a:lnTo>
                  <a:lnTo>
                    <a:pt x="709" y="49"/>
                  </a:lnTo>
                  <a:lnTo>
                    <a:pt x="704" y="46"/>
                  </a:lnTo>
                  <a:lnTo>
                    <a:pt x="695" y="32"/>
                  </a:lnTo>
                  <a:lnTo>
                    <a:pt x="690" y="32"/>
                  </a:lnTo>
                  <a:lnTo>
                    <a:pt x="692" y="27"/>
                  </a:lnTo>
                  <a:lnTo>
                    <a:pt x="685" y="27"/>
                  </a:lnTo>
                  <a:lnTo>
                    <a:pt x="692" y="39"/>
                  </a:lnTo>
                  <a:lnTo>
                    <a:pt x="690" y="42"/>
                  </a:lnTo>
                  <a:lnTo>
                    <a:pt x="671" y="30"/>
                  </a:lnTo>
                  <a:lnTo>
                    <a:pt x="668" y="32"/>
                  </a:lnTo>
                  <a:lnTo>
                    <a:pt x="680" y="44"/>
                  </a:lnTo>
                  <a:lnTo>
                    <a:pt x="678" y="48"/>
                  </a:lnTo>
                  <a:lnTo>
                    <a:pt x="670" y="48"/>
                  </a:lnTo>
                  <a:lnTo>
                    <a:pt x="663" y="42"/>
                  </a:lnTo>
                  <a:lnTo>
                    <a:pt x="668" y="53"/>
                  </a:lnTo>
                  <a:lnTo>
                    <a:pt x="651" y="60"/>
                  </a:lnTo>
                  <a:lnTo>
                    <a:pt x="656" y="61"/>
                  </a:lnTo>
                  <a:lnTo>
                    <a:pt x="649" y="68"/>
                  </a:lnTo>
                  <a:lnTo>
                    <a:pt x="642" y="70"/>
                  </a:lnTo>
                  <a:lnTo>
                    <a:pt x="637" y="65"/>
                  </a:lnTo>
                  <a:lnTo>
                    <a:pt x="639" y="66"/>
                  </a:lnTo>
                  <a:lnTo>
                    <a:pt x="634" y="66"/>
                  </a:lnTo>
                  <a:lnTo>
                    <a:pt x="629" y="56"/>
                  </a:lnTo>
                  <a:lnTo>
                    <a:pt x="629" y="41"/>
                  </a:lnTo>
                  <a:lnTo>
                    <a:pt x="620" y="36"/>
                  </a:lnTo>
                  <a:lnTo>
                    <a:pt x="606" y="34"/>
                  </a:lnTo>
                  <a:lnTo>
                    <a:pt x="623" y="39"/>
                  </a:lnTo>
                  <a:lnTo>
                    <a:pt x="627" y="44"/>
                  </a:lnTo>
                  <a:lnTo>
                    <a:pt x="625" y="48"/>
                  </a:lnTo>
                  <a:lnTo>
                    <a:pt x="625" y="58"/>
                  </a:lnTo>
                  <a:lnTo>
                    <a:pt x="635" y="73"/>
                  </a:lnTo>
                  <a:lnTo>
                    <a:pt x="632" y="80"/>
                  </a:lnTo>
                  <a:lnTo>
                    <a:pt x="635" y="78"/>
                  </a:lnTo>
                  <a:lnTo>
                    <a:pt x="659" y="70"/>
                  </a:lnTo>
                  <a:lnTo>
                    <a:pt x="663" y="73"/>
                  </a:lnTo>
                  <a:lnTo>
                    <a:pt x="676" y="66"/>
                  </a:lnTo>
                  <a:lnTo>
                    <a:pt x="687" y="65"/>
                  </a:lnTo>
                  <a:lnTo>
                    <a:pt x="693" y="68"/>
                  </a:lnTo>
                  <a:lnTo>
                    <a:pt x="692" y="87"/>
                  </a:lnTo>
                  <a:lnTo>
                    <a:pt x="697" y="94"/>
                  </a:lnTo>
                  <a:lnTo>
                    <a:pt x="687" y="95"/>
                  </a:lnTo>
                  <a:lnTo>
                    <a:pt x="692" y="97"/>
                  </a:lnTo>
                  <a:lnTo>
                    <a:pt x="699" y="95"/>
                  </a:lnTo>
                  <a:lnTo>
                    <a:pt x="697" y="71"/>
                  </a:lnTo>
                  <a:lnTo>
                    <a:pt x="711" y="65"/>
                  </a:lnTo>
                  <a:lnTo>
                    <a:pt x="717" y="70"/>
                  </a:lnTo>
                  <a:lnTo>
                    <a:pt x="724" y="90"/>
                  </a:lnTo>
                  <a:lnTo>
                    <a:pt x="721" y="101"/>
                  </a:lnTo>
                  <a:lnTo>
                    <a:pt x="711" y="97"/>
                  </a:lnTo>
                  <a:lnTo>
                    <a:pt x="702" y="123"/>
                  </a:lnTo>
                  <a:lnTo>
                    <a:pt x="692" y="133"/>
                  </a:lnTo>
                  <a:lnTo>
                    <a:pt x="664" y="130"/>
                  </a:lnTo>
                  <a:lnTo>
                    <a:pt x="661" y="128"/>
                  </a:lnTo>
                  <a:lnTo>
                    <a:pt x="666" y="121"/>
                  </a:lnTo>
                  <a:lnTo>
                    <a:pt x="666" y="116"/>
                  </a:lnTo>
                  <a:lnTo>
                    <a:pt x="659" y="114"/>
                  </a:lnTo>
                  <a:lnTo>
                    <a:pt x="661" y="118"/>
                  </a:lnTo>
                  <a:lnTo>
                    <a:pt x="649" y="121"/>
                  </a:lnTo>
                  <a:lnTo>
                    <a:pt x="652" y="130"/>
                  </a:lnTo>
                  <a:lnTo>
                    <a:pt x="646" y="135"/>
                  </a:lnTo>
                  <a:lnTo>
                    <a:pt x="610" y="126"/>
                  </a:lnTo>
                  <a:lnTo>
                    <a:pt x="622" y="136"/>
                  </a:lnTo>
                  <a:lnTo>
                    <a:pt x="649" y="142"/>
                  </a:lnTo>
                  <a:lnTo>
                    <a:pt x="658" y="148"/>
                  </a:lnTo>
                  <a:lnTo>
                    <a:pt x="658" y="143"/>
                  </a:lnTo>
                  <a:lnTo>
                    <a:pt x="663" y="143"/>
                  </a:lnTo>
                  <a:lnTo>
                    <a:pt x="666" y="148"/>
                  </a:lnTo>
                  <a:lnTo>
                    <a:pt x="658" y="159"/>
                  </a:lnTo>
                  <a:lnTo>
                    <a:pt x="661" y="162"/>
                  </a:lnTo>
                  <a:lnTo>
                    <a:pt x="661" y="171"/>
                  </a:lnTo>
                  <a:lnTo>
                    <a:pt x="658" y="176"/>
                  </a:lnTo>
                  <a:lnTo>
                    <a:pt x="644" y="183"/>
                  </a:lnTo>
                  <a:lnTo>
                    <a:pt x="635" y="179"/>
                  </a:lnTo>
                  <a:lnTo>
                    <a:pt x="634" y="174"/>
                  </a:lnTo>
                  <a:lnTo>
                    <a:pt x="623" y="174"/>
                  </a:lnTo>
                  <a:lnTo>
                    <a:pt x="620" y="176"/>
                  </a:lnTo>
                  <a:lnTo>
                    <a:pt x="620" y="177"/>
                  </a:lnTo>
                  <a:lnTo>
                    <a:pt x="629" y="177"/>
                  </a:lnTo>
                  <a:lnTo>
                    <a:pt x="639" y="188"/>
                  </a:lnTo>
                  <a:lnTo>
                    <a:pt x="663" y="188"/>
                  </a:lnTo>
                  <a:lnTo>
                    <a:pt x="659" y="181"/>
                  </a:lnTo>
                  <a:lnTo>
                    <a:pt x="671" y="177"/>
                  </a:lnTo>
                  <a:lnTo>
                    <a:pt x="678" y="172"/>
                  </a:lnTo>
                  <a:lnTo>
                    <a:pt x="680" y="179"/>
                  </a:lnTo>
                  <a:lnTo>
                    <a:pt x="687" y="177"/>
                  </a:lnTo>
                  <a:lnTo>
                    <a:pt x="688" y="174"/>
                  </a:lnTo>
                  <a:lnTo>
                    <a:pt x="690" y="176"/>
                  </a:lnTo>
                  <a:lnTo>
                    <a:pt x="680" y="196"/>
                  </a:lnTo>
                  <a:lnTo>
                    <a:pt x="668" y="206"/>
                  </a:lnTo>
                  <a:lnTo>
                    <a:pt x="632" y="215"/>
                  </a:lnTo>
                  <a:lnTo>
                    <a:pt x="622" y="210"/>
                  </a:lnTo>
                  <a:lnTo>
                    <a:pt x="625" y="218"/>
                  </a:lnTo>
                  <a:lnTo>
                    <a:pt x="623" y="222"/>
                  </a:lnTo>
                  <a:lnTo>
                    <a:pt x="596" y="249"/>
                  </a:lnTo>
                  <a:lnTo>
                    <a:pt x="593" y="254"/>
                  </a:lnTo>
                  <a:lnTo>
                    <a:pt x="589" y="253"/>
                  </a:lnTo>
                  <a:lnTo>
                    <a:pt x="591" y="256"/>
                  </a:lnTo>
                  <a:lnTo>
                    <a:pt x="581" y="270"/>
                  </a:lnTo>
                  <a:lnTo>
                    <a:pt x="572" y="283"/>
                  </a:lnTo>
                  <a:lnTo>
                    <a:pt x="572" y="297"/>
                  </a:lnTo>
                  <a:lnTo>
                    <a:pt x="570" y="299"/>
                  </a:lnTo>
                  <a:lnTo>
                    <a:pt x="565" y="285"/>
                  </a:lnTo>
                  <a:lnTo>
                    <a:pt x="569" y="306"/>
                  </a:lnTo>
                  <a:lnTo>
                    <a:pt x="564" y="316"/>
                  </a:lnTo>
                  <a:lnTo>
                    <a:pt x="517" y="328"/>
                  </a:lnTo>
                  <a:lnTo>
                    <a:pt x="509" y="323"/>
                  </a:lnTo>
                  <a:lnTo>
                    <a:pt x="466" y="290"/>
                  </a:lnTo>
                  <a:lnTo>
                    <a:pt x="427" y="263"/>
                  </a:lnTo>
                  <a:lnTo>
                    <a:pt x="427" y="261"/>
                  </a:lnTo>
                  <a:lnTo>
                    <a:pt x="405" y="247"/>
                  </a:lnTo>
                  <a:lnTo>
                    <a:pt x="403" y="247"/>
                  </a:lnTo>
                  <a:lnTo>
                    <a:pt x="382" y="251"/>
                  </a:lnTo>
                  <a:lnTo>
                    <a:pt x="348" y="256"/>
                  </a:lnTo>
                  <a:lnTo>
                    <a:pt x="328" y="259"/>
                  </a:lnTo>
                  <a:lnTo>
                    <a:pt x="307" y="263"/>
                  </a:lnTo>
                  <a:lnTo>
                    <a:pt x="306" y="249"/>
                  </a:lnTo>
                  <a:lnTo>
                    <a:pt x="300" y="242"/>
                  </a:lnTo>
                  <a:lnTo>
                    <a:pt x="295" y="237"/>
                  </a:lnTo>
                  <a:lnTo>
                    <a:pt x="292" y="234"/>
                  </a:lnTo>
                  <a:lnTo>
                    <a:pt x="283" y="242"/>
                  </a:lnTo>
                  <a:lnTo>
                    <a:pt x="280" y="239"/>
                  </a:lnTo>
                  <a:lnTo>
                    <a:pt x="283" y="234"/>
                  </a:lnTo>
                  <a:lnTo>
                    <a:pt x="280" y="232"/>
                  </a:lnTo>
                  <a:lnTo>
                    <a:pt x="280" y="230"/>
                  </a:lnTo>
                  <a:lnTo>
                    <a:pt x="256" y="232"/>
                  </a:lnTo>
                  <a:lnTo>
                    <a:pt x="253" y="232"/>
                  </a:lnTo>
                  <a:lnTo>
                    <a:pt x="218" y="236"/>
                  </a:lnTo>
                  <a:lnTo>
                    <a:pt x="208" y="237"/>
                  </a:lnTo>
                  <a:lnTo>
                    <a:pt x="200" y="239"/>
                  </a:lnTo>
                  <a:lnTo>
                    <a:pt x="179" y="241"/>
                  </a:lnTo>
                  <a:lnTo>
                    <a:pt x="174" y="241"/>
                  </a:lnTo>
                  <a:lnTo>
                    <a:pt x="170" y="242"/>
                  </a:lnTo>
                  <a:lnTo>
                    <a:pt x="167" y="242"/>
                  </a:lnTo>
                  <a:lnTo>
                    <a:pt x="167" y="244"/>
                  </a:lnTo>
                  <a:lnTo>
                    <a:pt x="165" y="244"/>
                  </a:lnTo>
                  <a:lnTo>
                    <a:pt x="164" y="241"/>
                  </a:lnTo>
                  <a:lnTo>
                    <a:pt x="160" y="246"/>
                  </a:lnTo>
                  <a:lnTo>
                    <a:pt x="157" y="246"/>
                  </a:lnTo>
                  <a:lnTo>
                    <a:pt x="153" y="249"/>
                  </a:lnTo>
                  <a:lnTo>
                    <a:pt x="148" y="249"/>
                  </a:lnTo>
                  <a:lnTo>
                    <a:pt x="141" y="254"/>
                  </a:lnTo>
                  <a:lnTo>
                    <a:pt x="140" y="254"/>
                  </a:lnTo>
                  <a:lnTo>
                    <a:pt x="140" y="256"/>
                  </a:lnTo>
                  <a:lnTo>
                    <a:pt x="138" y="258"/>
                  </a:lnTo>
                  <a:lnTo>
                    <a:pt x="133" y="259"/>
                  </a:lnTo>
                  <a:lnTo>
                    <a:pt x="123" y="263"/>
                  </a:lnTo>
                  <a:lnTo>
                    <a:pt x="112" y="268"/>
                  </a:lnTo>
                  <a:lnTo>
                    <a:pt x="106" y="271"/>
                  </a:lnTo>
                  <a:lnTo>
                    <a:pt x="70" y="278"/>
                  </a:lnTo>
                  <a:lnTo>
                    <a:pt x="66" y="278"/>
                  </a:lnTo>
                  <a:lnTo>
                    <a:pt x="34" y="283"/>
                  </a:lnTo>
                  <a:lnTo>
                    <a:pt x="29" y="283"/>
                  </a:lnTo>
                  <a:close/>
                  <a:moveTo>
                    <a:pt x="678" y="1"/>
                  </a:moveTo>
                  <a:lnTo>
                    <a:pt x="682" y="1"/>
                  </a:lnTo>
                  <a:lnTo>
                    <a:pt x="688" y="1"/>
                  </a:lnTo>
                  <a:lnTo>
                    <a:pt x="688" y="8"/>
                  </a:lnTo>
                  <a:lnTo>
                    <a:pt x="685" y="8"/>
                  </a:lnTo>
                  <a:lnTo>
                    <a:pt x="683" y="5"/>
                  </a:lnTo>
                  <a:lnTo>
                    <a:pt x="678" y="1"/>
                  </a:lnTo>
                  <a:close/>
                  <a:moveTo>
                    <a:pt x="688" y="0"/>
                  </a:moveTo>
                  <a:lnTo>
                    <a:pt x="690" y="0"/>
                  </a:lnTo>
                  <a:lnTo>
                    <a:pt x="707" y="32"/>
                  </a:lnTo>
                  <a:lnTo>
                    <a:pt x="736" y="73"/>
                  </a:lnTo>
                  <a:lnTo>
                    <a:pt x="717" y="49"/>
                  </a:lnTo>
                  <a:lnTo>
                    <a:pt x="714" y="49"/>
                  </a:lnTo>
                  <a:lnTo>
                    <a:pt x="705" y="32"/>
                  </a:lnTo>
                  <a:lnTo>
                    <a:pt x="688" y="0"/>
                  </a:lnTo>
                  <a:close/>
                  <a:moveTo>
                    <a:pt x="743" y="85"/>
                  </a:moveTo>
                  <a:lnTo>
                    <a:pt x="738" y="75"/>
                  </a:lnTo>
                  <a:lnTo>
                    <a:pt x="748" y="90"/>
                  </a:lnTo>
                  <a:lnTo>
                    <a:pt x="752" y="133"/>
                  </a:lnTo>
                  <a:lnTo>
                    <a:pt x="733" y="142"/>
                  </a:lnTo>
                  <a:lnTo>
                    <a:pt x="736" y="135"/>
                  </a:lnTo>
                  <a:lnTo>
                    <a:pt x="750" y="126"/>
                  </a:lnTo>
                  <a:lnTo>
                    <a:pt x="748" y="95"/>
                  </a:lnTo>
                  <a:lnTo>
                    <a:pt x="743" y="85"/>
                  </a:lnTo>
                  <a:close/>
                  <a:moveTo>
                    <a:pt x="712" y="159"/>
                  </a:moveTo>
                  <a:lnTo>
                    <a:pt x="716" y="153"/>
                  </a:lnTo>
                  <a:lnTo>
                    <a:pt x="724" y="145"/>
                  </a:lnTo>
                  <a:lnTo>
                    <a:pt x="731" y="142"/>
                  </a:lnTo>
                  <a:lnTo>
                    <a:pt x="728" y="145"/>
                  </a:lnTo>
                  <a:lnTo>
                    <a:pt x="721" y="150"/>
                  </a:lnTo>
                  <a:lnTo>
                    <a:pt x="714" y="159"/>
                  </a:lnTo>
                  <a:lnTo>
                    <a:pt x="712" y="159"/>
                  </a:lnTo>
                  <a:close/>
                  <a:moveTo>
                    <a:pt x="678" y="218"/>
                  </a:moveTo>
                  <a:lnTo>
                    <a:pt x="676" y="217"/>
                  </a:lnTo>
                  <a:lnTo>
                    <a:pt x="678" y="215"/>
                  </a:lnTo>
                  <a:lnTo>
                    <a:pt x="682" y="206"/>
                  </a:lnTo>
                  <a:lnTo>
                    <a:pt x="683" y="198"/>
                  </a:lnTo>
                  <a:lnTo>
                    <a:pt x="688" y="191"/>
                  </a:lnTo>
                  <a:lnTo>
                    <a:pt x="693" y="184"/>
                  </a:lnTo>
                  <a:lnTo>
                    <a:pt x="682" y="206"/>
                  </a:lnTo>
                  <a:lnTo>
                    <a:pt x="678" y="218"/>
                  </a:lnTo>
                  <a:close/>
                </a:path>
              </a:pathLst>
            </a:custGeom>
            <a:grpFill/>
            <a:ln w="28575" cap="flat" cmpd="sng">
              <a:solidFill>
                <a:sysClr val="window" lastClr="FFFFFF"/>
              </a:solidFill>
              <a:prstDash val="solid"/>
              <a:round/>
              <a:headEnd type="none" w="med" len="med"/>
              <a:tailEnd type="none" w="med" len="me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6" name="Freeform 165"/>
            <p:cNvSpPr>
              <a:spLocks/>
            </p:cNvSpPr>
            <p:nvPr/>
          </p:nvSpPr>
          <p:spPr bwMode="gray">
            <a:xfrm>
              <a:off x="6065313" y="4026680"/>
              <a:ext cx="1167440" cy="404176"/>
            </a:xfrm>
            <a:custGeom>
              <a:avLst/>
              <a:gdLst/>
              <a:ahLst/>
              <a:cxnLst>
                <a:cxn ang="0">
                  <a:pos x="540" y="165"/>
                </a:cxn>
                <a:cxn ang="0">
                  <a:pos x="528" y="176"/>
                </a:cxn>
                <a:cxn ang="0">
                  <a:pos x="494" y="208"/>
                </a:cxn>
                <a:cxn ang="0">
                  <a:pos x="463" y="212"/>
                </a:cxn>
                <a:cxn ang="0">
                  <a:pos x="408" y="218"/>
                </a:cxn>
                <a:cxn ang="0">
                  <a:pos x="306" y="227"/>
                </a:cxn>
                <a:cxn ang="0">
                  <a:pos x="234" y="232"/>
                </a:cxn>
                <a:cxn ang="0">
                  <a:pos x="169" y="239"/>
                </a:cxn>
                <a:cxn ang="0">
                  <a:pos x="113" y="244"/>
                </a:cxn>
                <a:cxn ang="0">
                  <a:pos x="51" y="248"/>
                </a:cxn>
                <a:cxn ang="0">
                  <a:pos x="10" y="242"/>
                </a:cxn>
                <a:cxn ang="0">
                  <a:pos x="19" y="237"/>
                </a:cxn>
                <a:cxn ang="0">
                  <a:pos x="19" y="227"/>
                </a:cxn>
                <a:cxn ang="0">
                  <a:pos x="10" y="220"/>
                </a:cxn>
                <a:cxn ang="0">
                  <a:pos x="15" y="212"/>
                </a:cxn>
                <a:cxn ang="0">
                  <a:pos x="14" y="205"/>
                </a:cxn>
                <a:cxn ang="0">
                  <a:pos x="9" y="205"/>
                </a:cxn>
                <a:cxn ang="0">
                  <a:pos x="17" y="200"/>
                </a:cxn>
                <a:cxn ang="0">
                  <a:pos x="24" y="201"/>
                </a:cxn>
                <a:cxn ang="0">
                  <a:pos x="24" y="189"/>
                </a:cxn>
                <a:cxn ang="0">
                  <a:pos x="29" y="191"/>
                </a:cxn>
                <a:cxn ang="0">
                  <a:pos x="34" y="181"/>
                </a:cxn>
                <a:cxn ang="0">
                  <a:pos x="31" y="179"/>
                </a:cxn>
                <a:cxn ang="0">
                  <a:pos x="29" y="169"/>
                </a:cxn>
                <a:cxn ang="0">
                  <a:pos x="39" y="162"/>
                </a:cxn>
                <a:cxn ang="0">
                  <a:pos x="46" y="157"/>
                </a:cxn>
                <a:cxn ang="0">
                  <a:pos x="43" y="150"/>
                </a:cxn>
                <a:cxn ang="0">
                  <a:pos x="51" y="150"/>
                </a:cxn>
                <a:cxn ang="0">
                  <a:pos x="46" y="138"/>
                </a:cxn>
                <a:cxn ang="0">
                  <a:pos x="53" y="123"/>
                </a:cxn>
                <a:cxn ang="0">
                  <a:pos x="44" y="113"/>
                </a:cxn>
                <a:cxn ang="0">
                  <a:pos x="58" y="111"/>
                </a:cxn>
                <a:cxn ang="0">
                  <a:pos x="51" y="102"/>
                </a:cxn>
                <a:cxn ang="0">
                  <a:pos x="55" y="92"/>
                </a:cxn>
                <a:cxn ang="0">
                  <a:pos x="60" y="89"/>
                </a:cxn>
                <a:cxn ang="0">
                  <a:pos x="72" y="83"/>
                </a:cxn>
                <a:cxn ang="0">
                  <a:pos x="144" y="80"/>
                </a:cxn>
                <a:cxn ang="0">
                  <a:pos x="183" y="66"/>
                </a:cxn>
                <a:cxn ang="0">
                  <a:pos x="212" y="58"/>
                </a:cxn>
                <a:cxn ang="0">
                  <a:pos x="265" y="53"/>
                </a:cxn>
                <a:cxn ang="0">
                  <a:pos x="338" y="46"/>
                </a:cxn>
                <a:cxn ang="0">
                  <a:pos x="415" y="39"/>
                </a:cxn>
                <a:cxn ang="0">
                  <a:pos x="460" y="37"/>
                </a:cxn>
                <a:cxn ang="0">
                  <a:pos x="532" y="29"/>
                </a:cxn>
                <a:cxn ang="0">
                  <a:pos x="588" y="20"/>
                </a:cxn>
                <a:cxn ang="0">
                  <a:pos x="624" y="17"/>
                </a:cxn>
                <a:cxn ang="0">
                  <a:pos x="682" y="8"/>
                </a:cxn>
                <a:cxn ang="0">
                  <a:pos x="725" y="0"/>
                </a:cxn>
                <a:cxn ang="0">
                  <a:pos x="720" y="25"/>
                </a:cxn>
                <a:cxn ang="0">
                  <a:pos x="714" y="32"/>
                </a:cxn>
                <a:cxn ang="0">
                  <a:pos x="696" y="60"/>
                </a:cxn>
                <a:cxn ang="0">
                  <a:pos x="680" y="60"/>
                </a:cxn>
                <a:cxn ang="0">
                  <a:pos x="665" y="77"/>
                </a:cxn>
                <a:cxn ang="0">
                  <a:pos x="653" y="77"/>
                </a:cxn>
                <a:cxn ang="0">
                  <a:pos x="649" y="71"/>
                </a:cxn>
                <a:cxn ang="0">
                  <a:pos x="638" y="89"/>
                </a:cxn>
                <a:cxn ang="0">
                  <a:pos x="629" y="94"/>
                </a:cxn>
                <a:cxn ang="0">
                  <a:pos x="612" y="109"/>
                </a:cxn>
                <a:cxn ang="0">
                  <a:pos x="602" y="118"/>
                </a:cxn>
                <a:cxn ang="0">
                  <a:pos x="591" y="126"/>
                </a:cxn>
                <a:cxn ang="0">
                  <a:pos x="573" y="135"/>
                </a:cxn>
                <a:cxn ang="0">
                  <a:pos x="550" y="145"/>
                </a:cxn>
              </a:cxnLst>
              <a:rect l="0" t="0" r="r" b="b"/>
              <a:pathLst>
                <a:path w="725" h="251">
                  <a:moveTo>
                    <a:pt x="545" y="152"/>
                  </a:moveTo>
                  <a:lnTo>
                    <a:pt x="540" y="157"/>
                  </a:lnTo>
                  <a:lnTo>
                    <a:pt x="542" y="160"/>
                  </a:lnTo>
                  <a:lnTo>
                    <a:pt x="540" y="165"/>
                  </a:lnTo>
                  <a:lnTo>
                    <a:pt x="540" y="169"/>
                  </a:lnTo>
                  <a:lnTo>
                    <a:pt x="540" y="172"/>
                  </a:lnTo>
                  <a:lnTo>
                    <a:pt x="535" y="176"/>
                  </a:lnTo>
                  <a:lnTo>
                    <a:pt x="528" y="176"/>
                  </a:lnTo>
                  <a:lnTo>
                    <a:pt x="525" y="174"/>
                  </a:lnTo>
                  <a:lnTo>
                    <a:pt x="520" y="181"/>
                  </a:lnTo>
                  <a:lnTo>
                    <a:pt x="520" y="205"/>
                  </a:lnTo>
                  <a:lnTo>
                    <a:pt x="494" y="208"/>
                  </a:lnTo>
                  <a:lnTo>
                    <a:pt x="480" y="210"/>
                  </a:lnTo>
                  <a:lnTo>
                    <a:pt x="479" y="210"/>
                  </a:lnTo>
                  <a:lnTo>
                    <a:pt x="463" y="212"/>
                  </a:lnTo>
                  <a:lnTo>
                    <a:pt x="463" y="212"/>
                  </a:lnTo>
                  <a:lnTo>
                    <a:pt x="438" y="215"/>
                  </a:lnTo>
                  <a:lnTo>
                    <a:pt x="429" y="215"/>
                  </a:lnTo>
                  <a:lnTo>
                    <a:pt x="420" y="217"/>
                  </a:lnTo>
                  <a:lnTo>
                    <a:pt x="408" y="218"/>
                  </a:lnTo>
                  <a:lnTo>
                    <a:pt x="386" y="220"/>
                  </a:lnTo>
                  <a:lnTo>
                    <a:pt x="347" y="224"/>
                  </a:lnTo>
                  <a:lnTo>
                    <a:pt x="347" y="224"/>
                  </a:lnTo>
                  <a:lnTo>
                    <a:pt x="306" y="227"/>
                  </a:lnTo>
                  <a:lnTo>
                    <a:pt x="303" y="229"/>
                  </a:lnTo>
                  <a:lnTo>
                    <a:pt x="268" y="230"/>
                  </a:lnTo>
                  <a:lnTo>
                    <a:pt x="268" y="230"/>
                  </a:lnTo>
                  <a:lnTo>
                    <a:pt x="234" y="232"/>
                  </a:lnTo>
                  <a:lnTo>
                    <a:pt x="202" y="236"/>
                  </a:lnTo>
                  <a:lnTo>
                    <a:pt x="183" y="237"/>
                  </a:lnTo>
                  <a:lnTo>
                    <a:pt x="183" y="237"/>
                  </a:lnTo>
                  <a:lnTo>
                    <a:pt x="169" y="239"/>
                  </a:lnTo>
                  <a:lnTo>
                    <a:pt x="168" y="239"/>
                  </a:lnTo>
                  <a:lnTo>
                    <a:pt x="132" y="242"/>
                  </a:lnTo>
                  <a:lnTo>
                    <a:pt x="130" y="242"/>
                  </a:lnTo>
                  <a:lnTo>
                    <a:pt x="113" y="244"/>
                  </a:lnTo>
                  <a:lnTo>
                    <a:pt x="96" y="246"/>
                  </a:lnTo>
                  <a:lnTo>
                    <a:pt x="84" y="246"/>
                  </a:lnTo>
                  <a:lnTo>
                    <a:pt x="56" y="248"/>
                  </a:lnTo>
                  <a:lnTo>
                    <a:pt x="51" y="248"/>
                  </a:lnTo>
                  <a:lnTo>
                    <a:pt x="0" y="251"/>
                  </a:lnTo>
                  <a:lnTo>
                    <a:pt x="0" y="246"/>
                  </a:lnTo>
                  <a:lnTo>
                    <a:pt x="9" y="246"/>
                  </a:lnTo>
                  <a:lnTo>
                    <a:pt x="10" y="242"/>
                  </a:lnTo>
                  <a:lnTo>
                    <a:pt x="10" y="239"/>
                  </a:lnTo>
                  <a:lnTo>
                    <a:pt x="10" y="237"/>
                  </a:lnTo>
                  <a:lnTo>
                    <a:pt x="12" y="236"/>
                  </a:lnTo>
                  <a:lnTo>
                    <a:pt x="19" y="237"/>
                  </a:lnTo>
                  <a:lnTo>
                    <a:pt x="19" y="234"/>
                  </a:lnTo>
                  <a:lnTo>
                    <a:pt x="19" y="232"/>
                  </a:lnTo>
                  <a:lnTo>
                    <a:pt x="19" y="230"/>
                  </a:lnTo>
                  <a:lnTo>
                    <a:pt x="19" y="227"/>
                  </a:lnTo>
                  <a:lnTo>
                    <a:pt x="17" y="224"/>
                  </a:lnTo>
                  <a:lnTo>
                    <a:pt x="15" y="222"/>
                  </a:lnTo>
                  <a:lnTo>
                    <a:pt x="12" y="222"/>
                  </a:lnTo>
                  <a:lnTo>
                    <a:pt x="10" y="220"/>
                  </a:lnTo>
                  <a:lnTo>
                    <a:pt x="10" y="218"/>
                  </a:lnTo>
                  <a:lnTo>
                    <a:pt x="15" y="217"/>
                  </a:lnTo>
                  <a:lnTo>
                    <a:pt x="15" y="213"/>
                  </a:lnTo>
                  <a:lnTo>
                    <a:pt x="15" y="212"/>
                  </a:lnTo>
                  <a:lnTo>
                    <a:pt x="15" y="210"/>
                  </a:lnTo>
                  <a:lnTo>
                    <a:pt x="17" y="206"/>
                  </a:lnTo>
                  <a:lnTo>
                    <a:pt x="15" y="205"/>
                  </a:lnTo>
                  <a:lnTo>
                    <a:pt x="14" y="205"/>
                  </a:lnTo>
                  <a:lnTo>
                    <a:pt x="12" y="206"/>
                  </a:lnTo>
                  <a:lnTo>
                    <a:pt x="12" y="210"/>
                  </a:lnTo>
                  <a:lnTo>
                    <a:pt x="9" y="210"/>
                  </a:lnTo>
                  <a:lnTo>
                    <a:pt x="9" y="205"/>
                  </a:lnTo>
                  <a:lnTo>
                    <a:pt x="12" y="203"/>
                  </a:lnTo>
                  <a:lnTo>
                    <a:pt x="14" y="200"/>
                  </a:lnTo>
                  <a:lnTo>
                    <a:pt x="15" y="200"/>
                  </a:lnTo>
                  <a:lnTo>
                    <a:pt x="17" y="200"/>
                  </a:lnTo>
                  <a:lnTo>
                    <a:pt x="17" y="205"/>
                  </a:lnTo>
                  <a:lnTo>
                    <a:pt x="19" y="206"/>
                  </a:lnTo>
                  <a:lnTo>
                    <a:pt x="19" y="205"/>
                  </a:lnTo>
                  <a:lnTo>
                    <a:pt x="24" y="201"/>
                  </a:lnTo>
                  <a:lnTo>
                    <a:pt x="19" y="195"/>
                  </a:lnTo>
                  <a:lnTo>
                    <a:pt x="19" y="191"/>
                  </a:lnTo>
                  <a:lnTo>
                    <a:pt x="19" y="191"/>
                  </a:lnTo>
                  <a:lnTo>
                    <a:pt x="24" y="189"/>
                  </a:lnTo>
                  <a:lnTo>
                    <a:pt x="26" y="193"/>
                  </a:lnTo>
                  <a:lnTo>
                    <a:pt x="27" y="193"/>
                  </a:lnTo>
                  <a:lnTo>
                    <a:pt x="29" y="193"/>
                  </a:lnTo>
                  <a:lnTo>
                    <a:pt x="29" y="191"/>
                  </a:lnTo>
                  <a:lnTo>
                    <a:pt x="26" y="188"/>
                  </a:lnTo>
                  <a:lnTo>
                    <a:pt x="26" y="184"/>
                  </a:lnTo>
                  <a:lnTo>
                    <a:pt x="32" y="181"/>
                  </a:lnTo>
                  <a:lnTo>
                    <a:pt x="34" y="181"/>
                  </a:lnTo>
                  <a:lnTo>
                    <a:pt x="34" y="179"/>
                  </a:lnTo>
                  <a:lnTo>
                    <a:pt x="34" y="177"/>
                  </a:lnTo>
                  <a:lnTo>
                    <a:pt x="32" y="177"/>
                  </a:lnTo>
                  <a:lnTo>
                    <a:pt x="31" y="179"/>
                  </a:lnTo>
                  <a:lnTo>
                    <a:pt x="27" y="177"/>
                  </a:lnTo>
                  <a:lnTo>
                    <a:pt x="26" y="172"/>
                  </a:lnTo>
                  <a:lnTo>
                    <a:pt x="26" y="171"/>
                  </a:lnTo>
                  <a:lnTo>
                    <a:pt x="29" y="169"/>
                  </a:lnTo>
                  <a:lnTo>
                    <a:pt x="32" y="169"/>
                  </a:lnTo>
                  <a:lnTo>
                    <a:pt x="36" y="167"/>
                  </a:lnTo>
                  <a:lnTo>
                    <a:pt x="38" y="165"/>
                  </a:lnTo>
                  <a:lnTo>
                    <a:pt x="39" y="162"/>
                  </a:lnTo>
                  <a:lnTo>
                    <a:pt x="41" y="160"/>
                  </a:lnTo>
                  <a:lnTo>
                    <a:pt x="43" y="162"/>
                  </a:lnTo>
                  <a:lnTo>
                    <a:pt x="46" y="159"/>
                  </a:lnTo>
                  <a:lnTo>
                    <a:pt x="46" y="157"/>
                  </a:lnTo>
                  <a:lnTo>
                    <a:pt x="41" y="155"/>
                  </a:lnTo>
                  <a:lnTo>
                    <a:pt x="41" y="154"/>
                  </a:lnTo>
                  <a:lnTo>
                    <a:pt x="41" y="152"/>
                  </a:lnTo>
                  <a:lnTo>
                    <a:pt x="43" y="150"/>
                  </a:lnTo>
                  <a:lnTo>
                    <a:pt x="44" y="150"/>
                  </a:lnTo>
                  <a:lnTo>
                    <a:pt x="50" y="152"/>
                  </a:lnTo>
                  <a:lnTo>
                    <a:pt x="50" y="152"/>
                  </a:lnTo>
                  <a:lnTo>
                    <a:pt x="51" y="150"/>
                  </a:lnTo>
                  <a:lnTo>
                    <a:pt x="50" y="147"/>
                  </a:lnTo>
                  <a:lnTo>
                    <a:pt x="44" y="145"/>
                  </a:lnTo>
                  <a:lnTo>
                    <a:pt x="43" y="140"/>
                  </a:lnTo>
                  <a:lnTo>
                    <a:pt x="46" y="138"/>
                  </a:lnTo>
                  <a:lnTo>
                    <a:pt x="46" y="131"/>
                  </a:lnTo>
                  <a:lnTo>
                    <a:pt x="48" y="130"/>
                  </a:lnTo>
                  <a:lnTo>
                    <a:pt x="53" y="126"/>
                  </a:lnTo>
                  <a:lnTo>
                    <a:pt x="53" y="123"/>
                  </a:lnTo>
                  <a:lnTo>
                    <a:pt x="51" y="121"/>
                  </a:lnTo>
                  <a:lnTo>
                    <a:pt x="46" y="116"/>
                  </a:lnTo>
                  <a:lnTo>
                    <a:pt x="44" y="114"/>
                  </a:lnTo>
                  <a:lnTo>
                    <a:pt x="44" y="113"/>
                  </a:lnTo>
                  <a:lnTo>
                    <a:pt x="46" y="113"/>
                  </a:lnTo>
                  <a:lnTo>
                    <a:pt x="51" y="114"/>
                  </a:lnTo>
                  <a:lnTo>
                    <a:pt x="56" y="113"/>
                  </a:lnTo>
                  <a:lnTo>
                    <a:pt x="58" y="111"/>
                  </a:lnTo>
                  <a:lnTo>
                    <a:pt x="56" y="109"/>
                  </a:lnTo>
                  <a:lnTo>
                    <a:pt x="51" y="107"/>
                  </a:lnTo>
                  <a:lnTo>
                    <a:pt x="50" y="104"/>
                  </a:lnTo>
                  <a:lnTo>
                    <a:pt x="51" y="102"/>
                  </a:lnTo>
                  <a:lnTo>
                    <a:pt x="56" y="102"/>
                  </a:lnTo>
                  <a:lnTo>
                    <a:pt x="58" y="101"/>
                  </a:lnTo>
                  <a:lnTo>
                    <a:pt x="58" y="95"/>
                  </a:lnTo>
                  <a:lnTo>
                    <a:pt x="55" y="92"/>
                  </a:lnTo>
                  <a:lnTo>
                    <a:pt x="58" y="89"/>
                  </a:lnTo>
                  <a:lnTo>
                    <a:pt x="56" y="85"/>
                  </a:lnTo>
                  <a:lnTo>
                    <a:pt x="62" y="85"/>
                  </a:lnTo>
                  <a:lnTo>
                    <a:pt x="60" y="89"/>
                  </a:lnTo>
                  <a:lnTo>
                    <a:pt x="62" y="90"/>
                  </a:lnTo>
                  <a:lnTo>
                    <a:pt x="63" y="90"/>
                  </a:lnTo>
                  <a:lnTo>
                    <a:pt x="67" y="85"/>
                  </a:lnTo>
                  <a:lnTo>
                    <a:pt x="72" y="83"/>
                  </a:lnTo>
                  <a:lnTo>
                    <a:pt x="116" y="82"/>
                  </a:lnTo>
                  <a:lnTo>
                    <a:pt x="116" y="82"/>
                  </a:lnTo>
                  <a:lnTo>
                    <a:pt x="118" y="82"/>
                  </a:lnTo>
                  <a:lnTo>
                    <a:pt x="144" y="80"/>
                  </a:lnTo>
                  <a:lnTo>
                    <a:pt x="144" y="80"/>
                  </a:lnTo>
                  <a:lnTo>
                    <a:pt x="183" y="77"/>
                  </a:lnTo>
                  <a:lnTo>
                    <a:pt x="183" y="71"/>
                  </a:lnTo>
                  <a:lnTo>
                    <a:pt x="183" y="66"/>
                  </a:lnTo>
                  <a:lnTo>
                    <a:pt x="179" y="56"/>
                  </a:lnTo>
                  <a:lnTo>
                    <a:pt x="197" y="56"/>
                  </a:lnTo>
                  <a:lnTo>
                    <a:pt x="198" y="60"/>
                  </a:lnTo>
                  <a:lnTo>
                    <a:pt x="212" y="58"/>
                  </a:lnTo>
                  <a:lnTo>
                    <a:pt x="215" y="58"/>
                  </a:lnTo>
                  <a:lnTo>
                    <a:pt x="241" y="54"/>
                  </a:lnTo>
                  <a:lnTo>
                    <a:pt x="262" y="53"/>
                  </a:lnTo>
                  <a:lnTo>
                    <a:pt x="265" y="53"/>
                  </a:lnTo>
                  <a:lnTo>
                    <a:pt x="291" y="49"/>
                  </a:lnTo>
                  <a:lnTo>
                    <a:pt x="313" y="48"/>
                  </a:lnTo>
                  <a:lnTo>
                    <a:pt x="320" y="48"/>
                  </a:lnTo>
                  <a:lnTo>
                    <a:pt x="338" y="46"/>
                  </a:lnTo>
                  <a:lnTo>
                    <a:pt x="357" y="46"/>
                  </a:lnTo>
                  <a:lnTo>
                    <a:pt x="374" y="44"/>
                  </a:lnTo>
                  <a:lnTo>
                    <a:pt x="403" y="42"/>
                  </a:lnTo>
                  <a:lnTo>
                    <a:pt x="415" y="39"/>
                  </a:lnTo>
                  <a:lnTo>
                    <a:pt x="417" y="39"/>
                  </a:lnTo>
                  <a:lnTo>
                    <a:pt x="441" y="37"/>
                  </a:lnTo>
                  <a:lnTo>
                    <a:pt x="458" y="37"/>
                  </a:lnTo>
                  <a:lnTo>
                    <a:pt x="460" y="37"/>
                  </a:lnTo>
                  <a:lnTo>
                    <a:pt x="504" y="32"/>
                  </a:lnTo>
                  <a:lnTo>
                    <a:pt x="504" y="32"/>
                  </a:lnTo>
                  <a:lnTo>
                    <a:pt x="525" y="30"/>
                  </a:lnTo>
                  <a:lnTo>
                    <a:pt x="532" y="29"/>
                  </a:lnTo>
                  <a:lnTo>
                    <a:pt x="552" y="27"/>
                  </a:lnTo>
                  <a:lnTo>
                    <a:pt x="554" y="25"/>
                  </a:lnTo>
                  <a:lnTo>
                    <a:pt x="571" y="24"/>
                  </a:lnTo>
                  <a:lnTo>
                    <a:pt x="588" y="20"/>
                  </a:lnTo>
                  <a:lnTo>
                    <a:pt x="590" y="22"/>
                  </a:lnTo>
                  <a:lnTo>
                    <a:pt x="593" y="22"/>
                  </a:lnTo>
                  <a:lnTo>
                    <a:pt x="612" y="19"/>
                  </a:lnTo>
                  <a:lnTo>
                    <a:pt x="624" y="17"/>
                  </a:lnTo>
                  <a:lnTo>
                    <a:pt x="644" y="13"/>
                  </a:lnTo>
                  <a:lnTo>
                    <a:pt x="670" y="10"/>
                  </a:lnTo>
                  <a:lnTo>
                    <a:pt x="677" y="8"/>
                  </a:lnTo>
                  <a:lnTo>
                    <a:pt x="682" y="8"/>
                  </a:lnTo>
                  <a:lnTo>
                    <a:pt x="701" y="5"/>
                  </a:lnTo>
                  <a:lnTo>
                    <a:pt x="702" y="3"/>
                  </a:lnTo>
                  <a:lnTo>
                    <a:pt x="709" y="3"/>
                  </a:lnTo>
                  <a:lnTo>
                    <a:pt x="725" y="0"/>
                  </a:lnTo>
                  <a:lnTo>
                    <a:pt x="723" y="3"/>
                  </a:lnTo>
                  <a:lnTo>
                    <a:pt x="721" y="10"/>
                  </a:lnTo>
                  <a:lnTo>
                    <a:pt x="723" y="15"/>
                  </a:lnTo>
                  <a:lnTo>
                    <a:pt x="720" y="25"/>
                  </a:lnTo>
                  <a:lnTo>
                    <a:pt x="721" y="27"/>
                  </a:lnTo>
                  <a:lnTo>
                    <a:pt x="725" y="30"/>
                  </a:lnTo>
                  <a:lnTo>
                    <a:pt x="723" y="30"/>
                  </a:lnTo>
                  <a:lnTo>
                    <a:pt x="714" y="32"/>
                  </a:lnTo>
                  <a:lnTo>
                    <a:pt x="708" y="37"/>
                  </a:lnTo>
                  <a:lnTo>
                    <a:pt x="706" y="41"/>
                  </a:lnTo>
                  <a:lnTo>
                    <a:pt x="701" y="56"/>
                  </a:lnTo>
                  <a:lnTo>
                    <a:pt x="696" y="60"/>
                  </a:lnTo>
                  <a:lnTo>
                    <a:pt x="692" y="61"/>
                  </a:lnTo>
                  <a:lnTo>
                    <a:pt x="689" y="56"/>
                  </a:lnTo>
                  <a:lnTo>
                    <a:pt x="685" y="56"/>
                  </a:lnTo>
                  <a:lnTo>
                    <a:pt x="680" y="60"/>
                  </a:lnTo>
                  <a:lnTo>
                    <a:pt x="677" y="61"/>
                  </a:lnTo>
                  <a:lnTo>
                    <a:pt x="672" y="65"/>
                  </a:lnTo>
                  <a:lnTo>
                    <a:pt x="668" y="66"/>
                  </a:lnTo>
                  <a:lnTo>
                    <a:pt x="665" y="77"/>
                  </a:lnTo>
                  <a:lnTo>
                    <a:pt x="661" y="78"/>
                  </a:lnTo>
                  <a:lnTo>
                    <a:pt x="658" y="82"/>
                  </a:lnTo>
                  <a:lnTo>
                    <a:pt x="655" y="82"/>
                  </a:lnTo>
                  <a:lnTo>
                    <a:pt x="653" y="77"/>
                  </a:lnTo>
                  <a:lnTo>
                    <a:pt x="653" y="75"/>
                  </a:lnTo>
                  <a:lnTo>
                    <a:pt x="653" y="73"/>
                  </a:lnTo>
                  <a:lnTo>
                    <a:pt x="649" y="71"/>
                  </a:lnTo>
                  <a:lnTo>
                    <a:pt x="649" y="71"/>
                  </a:lnTo>
                  <a:lnTo>
                    <a:pt x="639" y="80"/>
                  </a:lnTo>
                  <a:lnTo>
                    <a:pt x="639" y="80"/>
                  </a:lnTo>
                  <a:lnTo>
                    <a:pt x="639" y="83"/>
                  </a:lnTo>
                  <a:lnTo>
                    <a:pt x="638" y="89"/>
                  </a:lnTo>
                  <a:lnTo>
                    <a:pt x="632" y="85"/>
                  </a:lnTo>
                  <a:lnTo>
                    <a:pt x="629" y="87"/>
                  </a:lnTo>
                  <a:lnTo>
                    <a:pt x="627" y="89"/>
                  </a:lnTo>
                  <a:lnTo>
                    <a:pt x="629" y="94"/>
                  </a:lnTo>
                  <a:lnTo>
                    <a:pt x="626" y="104"/>
                  </a:lnTo>
                  <a:lnTo>
                    <a:pt x="624" y="106"/>
                  </a:lnTo>
                  <a:lnTo>
                    <a:pt x="617" y="106"/>
                  </a:lnTo>
                  <a:lnTo>
                    <a:pt x="612" y="109"/>
                  </a:lnTo>
                  <a:lnTo>
                    <a:pt x="610" y="109"/>
                  </a:lnTo>
                  <a:lnTo>
                    <a:pt x="607" y="113"/>
                  </a:lnTo>
                  <a:lnTo>
                    <a:pt x="603" y="114"/>
                  </a:lnTo>
                  <a:lnTo>
                    <a:pt x="602" y="118"/>
                  </a:lnTo>
                  <a:lnTo>
                    <a:pt x="602" y="118"/>
                  </a:lnTo>
                  <a:lnTo>
                    <a:pt x="598" y="123"/>
                  </a:lnTo>
                  <a:lnTo>
                    <a:pt x="595" y="123"/>
                  </a:lnTo>
                  <a:lnTo>
                    <a:pt x="591" y="126"/>
                  </a:lnTo>
                  <a:lnTo>
                    <a:pt x="586" y="130"/>
                  </a:lnTo>
                  <a:lnTo>
                    <a:pt x="583" y="135"/>
                  </a:lnTo>
                  <a:lnTo>
                    <a:pt x="578" y="136"/>
                  </a:lnTo>
                  <a:lnTo>
                    <a:pt x="573" y="135"/>
                  </a:lnTo>
                  <a:lnTo>
                    <a:pt x="567" y="136"/>
                  </a:lnTo>
                  <a:lnTo>
                    <a:pt x="559" y="138"/>
                  </a:lnTo>
                  <a:lnTo>
                    <a:pt x="555" y="143"/>
                  </a:lnTo>
                  <a:lnTo>
                    <a:pt x="550" y="145"/>
                  </a:lnTo>
                  <a:lnTo>
                    <a:pt x="549" y="148"/>
                  </a:lnTo>
                  <a:lnTo>
                    <a:pt x="545" y="152"/>
                  </a:lnTo>
                  <a:close/>
                </a:path>
              </a:pathLst>
            </a:custGeom>
            <a:grpFill/>
            <a:ln w="28575" cap="flat" cmpd="sng">
              <a:solidFill>
                <a:sysClr val="window" lastClr="FFFFFF"/>
              </a:solidFill>
              <a:prstDash val="solid"/>
              <a:round/>
              <a:headEnd type="none" w="med" len="med"/>
              <a:tailEnd type="none" w="med" len="me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7" name="Freeform 166"/>
            <p:cNvSpPr>
              <a:spLocks noEditPoints="1"/>
            </p:cNvSpPr>
            <p:nvPr/>
          </p:nvSpPr>
          <p:spPr bwMode="gray">
            <a:xfrm>
              <a:off x="3712721" y="4160333"/>
              <a:ext cx="1921042" cy="1872735"/>
            </a:xfrm>
            <a:custGeom>
              <a:avLst/>
              <a:gdLst/>
              <a:ahLst/>
              <a:cxnLst>
                <a:cxn ang="0">
                  <a:pos x="58" y="458"/>
                </a:cxn>
                <a:cxn ang="0">
                  <a:pos x="342" y="288"/>
                </a:cxn>
                <a:cxn ang="0">
                  <a:pos x="528" y="11"/>
                </a:cxn>
                <a:cxn ang="0">
                  <a:pos x="615" y="223"/>
                </a:cxn>
                <a:cxn ang="0">
                  <a:pos x="661" y="247"/>
                </a:cxn>
                <a:cxn ang="0">
                  <a:pos x="688" y="265"/>
                </a:cxn>
                <a:cxn ang="0">
                  <a:pos x="736" y="272"/>
                </a:cxn>
                <a:cxn ang="0">
                  <a:pos x="777" y="274"/>
                </a:cxn>
                <a:cxn ang="0">
                  <a:pos x="798" y="305"/>
                </a:cxn>
                <a:cxn ang="0">
                  <a:pos x="834" y="301"/>
                </a:cxn>
                <a:cxn ang="0">
                  <a:pos x="859" y="301"/>
                </a:cxn>
                <a:cxn ang="0">
                  <a:pos x="868" y="306"/>
                </a:cxn>
                <a:cxn ang="0">
                  <a:pos x="892" y="305"/>
                </a:cxn>
                <a:cxn ang="0">
                  <a:pos x="921" y="315"/>
                </a:cxn>
                <a:cxn ang="0">
                  <a:pos x="950" y="310"/>
                </a:cxn>
                <a:cxn ang="0">
                  <a:pos x="969" y="303"/>
                </a:cxn>
                <a:cxn ang="0">
                  <a:pos x="1000" y="298"/>
                </a:cxn>
                <a:cxn ang="0">
                  <a:pos x="1027" y="303"/>
                </a:cxn>
                <a:cxn ang="0">
                  <a:pos x="1046" y="303"/>
                </a:cxn>
                <a:cxn ang="0">
                  <a:pos x="1059" y="313"/>
                </a:cxn>
                <a:cxn ang="0">
                  <a:pos x="1075" y="323"/>
                </a:cxn>
                <a:cxn ang="0">
                  <a:pos x="1090" y="327"/>
                </a:cxn>
                <a:cxn ang="0">
                  <a:pos x="1102" y="334"/>
                </a:cxn>
                <a:cxn ang="0">
                  <a:pos x="1117" y="337"/>
                </a:cxn>
                <a:cxn ang="0">
                  <a:pos x="1140" y="395"/>
                </a:cxn>
                <a:cxn ang="0">
                  <a:pos x="1155" y="518"/>
                </a:cxn>
                <a:cxn ang="0">
                  <a:pos x="1164" y="542"/>
                </a:cxn>
                <a:cxn ang="0">
                  <a:pos x="1174" y="563"/>
                </a:cxn>
                <a:cxn ang="0">
                  <a:pos x="1184" y="587"/>
                </a:cxn>
                <a:cxn ang="0">
                  <a:pos x="1188" y="599"/>
                </a:cxn>
                <a:cxn ang="0">
                  <a:pos x="1189" y="616"/>
                </a:cxn>
                <a:cxn ang="0">
                  <a:pos x="1186" y="633"/>
                </a:cxn>
                <a:cxn ang="0">
                  <a:pos x="1172" y="660"/>
                </a:cxn>
                <a:cxn ang="0">
                  <a:pos x="1174" y="686"/>
                </a:cxn>
                <a:cxn ang="0">
                  <a:pos x="1164" y="722"/>
                </a:cxn>
                <a:cxn ang="0">
                  <a:pos x="1104" y="768"/>
                </a:cxn>
                <a:cxn ang="0">
                  <a:pos x="1056" y="768"/>
                </a:cxn>
                <a:cxn ang="0">
                  <a:pos x="1042" y="805"/>
                </a:cxn>
                <a:cxn ang="0">
                  <a:pos x="965" y="865"/>
                </a:cxn>
                <a:cxn ang="0">
                  <a:pos x="924" y="858"/>
                </a:cxn>
                <a:cxn ang="0">
                  <a:pos x="911" y="860"/>
                </a:cxn>
                <a:cxn ang="0">
                  <a:pos x="926" y="887"/>
                </a:cxn>
                <a:cxn ang="0">
                  <a:pos x="888" y="904"/>
                </a:cxn>
                <a:cxn ang="0">
                  <a:pos x="854" y="922"/>
                </a:cxn>
                <a:cxn ang="0">
                  <a:pos x="834" y="951"/>
                </a:cxn>
                <a:cxn ang="0">
                  <a:pos x="830" y="973"/>
                </a:cxn>
                <a:cxn ang="0">
                  <a:pos x="815" y="1016"/>
                </a:cxn>
                <a:cxn ang="0">
                  <a:pos x="842" y="1139"/>
                </a:cxn>
                <a:cxn ang="0">
                  <a:pos x="782" y="1139"/>
                </a:cxn>
                <a:cxn ang="0">
                  <a:pos x="711" y="1116"/>
                </a:cxn>
                <a:cxn ang="0">
                  <a:pos x="634" y="1014"/>
                </a:cxn>
                <a:cxn ang="0">
                  <a:pos x="564" y="899"/>
                </a:cxn>
                <a:cxn ang="0">
                  <a:pos x="514" y="790"/>
                </a:cxn>
                <a:cxn ang="0">
                  <a:pos x="448" y="727"/>
                </a:cxn>
                <a:cxn ang="0">
                  <a:pos x="354" y="727"/>
                </a:cxn>
                <a:cxn ang="0">
                  <a:pos x="275" y="795"/>
                </a:cxn>
                <a:cxn ang="0">
                  <a:pos x="169" y="720"/>
                </a:cxn>
                <a:cxn ang="0">
                  <a:pos x="118" y="593"/>
                </a:cxn>
                <a:cxn ang="0">
                  <a:pos x="1047" y="817"/>
                </a:cxn>
                <a:cxn ang="0">
                  <a:pos x="883" y="928"/>
                </a:cxn>
                <a:cxn ang="0">
                  <a:pos x="853" y="964"/>
                </a:cxn>
                <a:cxn ang="0">
                  <a:pos x="830" y="1029"/>
                </a:cxn>
                <a:cxn ang="0">
                  <a:pos x="837" y="1082"/>
                </a:cxn>
              </a:cxnLst>
              <a:rect l="0" t="0" r="r" b="b"/>
              <a:pathLst>
                <a:path w="1193" h="1163">
                  <a:moveTo>
                    <a:pt x="53" y="523"/>
                  </a:moveTo>
                  <a:lnTo>
                    <a:pt x="34" y="513"/>
                  </a:lnTo>
                  <a:lnTo>
                    <a:pt x="20" y="484"/>
                  </a:lnTo>
                  <a:lnTo>
                    <a:pt x="8" y="476"/>
                  </a:lnTo>
                  <a:lnTo>
                    <a:pt x="1" y="472"/>
                  </a:lnTo>
                  <a:lnTo>
                    <a:pt x="1" y="469"/>
                  </a:lnTo>
                  <a:lnTo>
                    <a:pt x="0" y="464"/>
                  </a:lnTo>
                  <a:lnTo>
                    <a:pt x="1" y="462"/>
                  </a:lnTo>
                  <a:lnTo>
                    <a:pt x="1" y="455"/>
                  </a:lnTo>
                  <a:lnTo>
                    <a:pt x="0" y="455"/>
                  </a:lnTo>
                  <a:lnTo>
                    <a:pt x="3" y="453"/>
                  </a:lnTo>
                  <a:lnTo>
                    <a:pt x="25" y="455"/>
                  </a:lnTo>
                  <a:lnTo>
                    <a:pt x="58" y="458"/>
                  </a:lnTo>
                  <a:lnTo>
                    <a:pt x="155" y="469"/>
                  </a:lnTo>
                  <a:lnTo>
                    <a:pt x="162" y="469"/>
                  </a:lnTo>
                  <a:lnTo>
                    <a:pt x="237" y="476"/>
                  </a:lnTo>
                  <a:lnTo>
                    <a:pt x="241" y="476"/>
                  </a:lnTo>
                  <a:lnTo>
                    <a:pt x="265" y="477"/>
                  </a:lnTo>
                  <a:lnTo>
                    <a:pt x="301" y="481"/>
                  </a:lnTo>
                  <a:lnTo>
                    <a:pt x="324" y="482"/>
                  </a:lnTo>
                  <a:lnTo>
                    <a:pt x="326" y="474"/>
                  </a:lnTo>
                  <a:lnTo>
                    <a:pt x="328" y="428"/>
                  </a:lnTo>
                  <a:lnTo>
                    <a:pt x="333" y="380"/>
                  </a:lnTo>
                  <a:lnTo>
                    <a:pt x="336" y="335"/>
                  </a:lnTo>
                  <a:lnTo>
                    <a:pt x="338" y="315"/>
                  </a:lnTo>
                  <a:lnTo>
                    <a:pt x="342" y="288"/>
                  </a:lnTo>
                  <a:lnTo>
                    <a:pt x="345" y="235"/>
                  </a:lnTo>
                  <a:lnTo>
                    <a:pt x="350" y="188"/>
                  </a:lnTo>
                  <a:lnTo>
                    <a:pt x="352" y="165"/>
                  </a:lnTo>
                  <a:lnTo>
                    <a:pt x="352" y="142"/>
                  </a:lnTo>
                  <a:lnTo>
                    <a:pt x="357" y="94"/>
                  </a:lnTo>
                  <a:lnTo>
                    <a:pt x="357" y="81"/>
                  </a:lnTo>
                  <a:lnTo>
                    <a:pt x="360" y="47"/>
                  </a:lnTo>
                  <a:lnTo>
                    <a:pt x="364" y="0"/>
                  </a:lnTo>
                  <a:lnTo>
                    <a:pt x="365" y="0"/>
                  </a:lnTo>
                  <a:lnTo>
                    <a:pt x="437" y="6"/>
                  </a:lnTo>
                  <a:lnTo>
                    <a:pt x="448" y="6"/>
                  </a:lnTo>
                  <a:lnTo>
                    <a:pt x="483" y="7"/>
                  </a:lnTo>
                  <a:lnTo>
                    <a:pt x="528" y="11"/>
                  </a:lnTo>
                  <a:lnTo>
                    <a:pt x="540" y="11"/>
                  </a:lnTo>
                  <a:lnTo>
                    <a:pt x="574" y="14"/>
                  </a:lnTo>
                  <a:lnTo>
                    <a:pt x="622" y="14"/>
                  </a:lnTo>
                  <a:lnTo>
                    <a:pt x="622" y="16"/>
                  </a:lnTo>
                  <a:lnTo>
                    <a:pt x="620" y="62"/>
                  </a:lnTo>
                  <a:lnTo>
                    <a:pt x="618" y="81"/>
                  </a:lnTo>
                  <a:lnTo>
                    <a:pt x="618" y="110"/>
                  </a:lnTo>
                  <a:lnTo>
                    <a:pt x="617" y="130"/>
                  </a:lnTo>
                  <a:lnTo>
                    <a:pt x="617" y="156"/>
                  </a:lnTo>
                  <a:lnTo>
                    <a:pt x="615" y="173"/>
                  </a:lnTo>
                  <a:lnTo>
                    <a:pt x="613" y="204"/>
                  </a:lnTo>
                  <a:lnTo>
                    <a:pt x="613" y="223"/>
                  </a:lnTo>
                  <a:lnTo>
                    <a:pt x="615" y="223"/>
                  </a:lnTo>
                  <a:lnTo>
                    <a:pt x="618" y="221"/>
                  </a:lnTo>
                  <a:lnTo>
                    <a:pt x="624" y="224"/>
                  </a:lnTo>
                  <a:lnTo>
                    <a:pt x="625" y="228"/>
                  </a:lnTo>
                  <a:lnTo>
                    <a:pt x="627" y="231"/>
                  </a:lnTo>
                  <a:lnTo>
                    <a:pt x="632" y="236"/>
                  </a:lnTo>
                  <a:lnTo>
                    <a:pt x="639" y="245"/>
                  </a:lnTo>
                  <a:lnTo>
                    <a:pt x="647" y="245"/>
                  </a:lnTo>
                  <a:lnTo>
                    <a:pt x="649" y="243"/>
                  </a:lnTo>
                  <a:lnTo>
                    <a:pt x="649" y="241"/>
                  </a:lnTo>
                  <a:lnTo>
                    <a:pt x="651" y="241"/>
                  </a:lnTo>
                  <a:lnTo>
                    <a:pt x="656" y="241"/>
                  </a:lnTo>
                  <a:lnTo>
                    <a:pt x="658" y="245"/>
                  </a:lnTo>
                  <a:lnTo>
                    <a:pt x="661" y="247"/>
                  </a:lnTo>
                  <a:lnTo>
                    <a:pt x="665" y="247"/>
                  </a:lnTo>
                  <a:lnTo>
                    <a:pt x="665" y="243"/>
                  </a:lnTo>
                  <a:lnTo>
                    <a:pt x="666" y="240"/>
                  </a:lnTo>
                  <a:lnTo>
                    <a:pt x="668" y="238"/>
                  </a:lnTo>
                  <a:lnTo>
                    <a:pt x="671" y="241"/>
                  </a:lnTo>
                  <a:lnTo>
                    <a:pt x="677" y="243"/>
                  </a:lnTo>
                  <a:lnTo>
                    <a:pt x="678" y="247"/>
                  </a:lnTo>
                  <a:lnTo>
                    <a:pt x="682" y="250"/>
                  </a:lnTo>
                  <a:lnTo>
                    <a:pt x="682" y="253"/>
                  </a:lnTo>
                  <a:lnTo>
                    <a:pt x="682" y="259"/>
                  </a:lnTo>
                  <a:lnTo>
                    <a:pt x="683" y="262"/>
                  </a:lnTo>
                  <a:lnTo>
                    <a:pt x="683" y="264"/>
                  </a:lnTo>
                  <a:lnTo>
                    <a:pt x="688" y="265"/>
                  </a:lnTo>
                  <a:lnTo>
                    <a:pt x="692" y="264"/>
                  </a:lnTo>
                  <a:lnTo>
                    <a:pt x="697" y="265"/>
                  </a:lnTo>
                  <a:lnTo>
                    <a:pt x="700" y="264"/>
                  </a:lnTo>
                  <a:lnTo>
                    <a:pt x="704" y="265"/>
                  </a:lnTo>
                  <a:lnTo>
                    <a:pt x="709" y="270"/>
                  </a:lnTo>
                  <a:lnTo>
                    <a:pt x="716" y="272"/>
                  </a:lnTo>
                  <a:lnTo>
                    <a:pt x="719" y="274"/>
                  </a:lnTo>
                  <a:lnTo>
                    <a:pt x="724" y="274"/>
                  </a:lnTo>
                  <a:lnTo>
                    <a:pt x="728" y="272"/>
                  </a:lnTo>
                  <a:lnTo>
                    <a:pt x="730" y="272"/>
                  </a:lnTo>
                  <a:lnTo>
                    <a:pt x="733" y="270"/>
                  </a:lnTo>
                  <a:lnTo>
                    <a:pt x="735" y="272"/>
                  </a:lnTo>
                  <a:lnTo>
                    <a:pt x="736" y="272"/>
                  </a:lnTo>
                  <a:lnTo>
                    <a:pt x="738" y="277"/>
                  </a:lnTo>
                  <a:lnTo>
                    <a:pt x="743" y="281"/>
                  </a:lnTo>
                  <a:lnTo>
                    <a:pt x="748" y="282"/>
                  </a:lnTo>
                  <a:lnTo>
                    <a:pt x="750" y="281"/>
                  </a:lnTo>
                  <a:lnTo>
                    <a:pt x="752" y="279"/>
                  </a:lnTo>
                  <a:lnTo>
                    <a:pt x="753" y="279"/>
                  </a:lnTo>
                  <a:lnTo>
                    <a:pt x="753" y="276"/>
                  </a:lnTo>
                  <a:lnTo>
                    <a:pt x="757" y="274"/>
                  </a:lnTo>
                  <a:lnTo>
                    <a:pt x="759" y="274"/>
                  </a:lnTo>
                  <a:lnTo>
                    <a:pt x="764" y="276"/>
                  </a:lnTo>
                  <a:lnTo>
                    <a:pt x="772" y="277"/>
                  </a:lnTo>
                  <a:lnTo>
                    <a:pt x="776" y="274"/>
                  </a:lnTo>
                  <a:lnTo>
                    <a:pt x="777" y="274"/>
                  </a:lnTo>
                  <a:lnTo>
                    <a:pt x="779" y="274"/>
                  </a:lnTo>
                  <a:lnTo>
                    <a:pt x="777" y="282"/>
                  </a:lnTo>
                  <a:lnTo>
                    <a:pt x="779" y="289"/>
                  </a:lnTo>
                  <a:lnTo>
                    <a:pt x="782" y="291"/>
                  </a:lnTo>
                  <a:lnTo>
                    <a:pt x="784" y="291"/>
                  </a:lnTo>
                  <a:lnTo>
                    <a:pt x="789" y="289"/>
                  </a:lnTo>
                  <a:lnTo>
                    <a:pt x="791" y="293"/>
                  </a:lnTo>
                  <a:lnTo>
                    <a:pt x="791" y="294"/>
                  </a:lnTo>
                  <a:lnTo>
                    <a:pt x="791" y="296"/>
                  </a:lnTo>
                  <a:lnTo>
                    <a:pt x="789" y="300"/>
                  </a:lnTo>
                  <a:lnTo>
                    <a:pt x="791" y="301"/>
                  </a:lnTo>
                  <a:lnTo>
                    <a:pt x="794" y="303"/>
                  </a:lnTo>
                  <a:lnTo>
                    <a:pt x="798" y="305"/>
                  </a:lnTo>
                  <a:lnTo>
                    <a:pt x="800" y="305"/>
                  </a:lnTo>
                  <a:lnTo>
                    <a:pt x="805" y="301"/>
                  </a:lnTo>
                  <a:lnTo>
                    <a:pt x="808" y="298"/>
                  </a:lnTo>
                  <a:lnTo>
                    <a:pt x="812" y="296"/>
                  </a:lnTo>
                  <a:lnTo>
                    <a:pt x="813" y="293"/>
                  </a:lnTo>
                  <a:lnTo>
                    <a:pt x="817" y="291"/>
                  </a:lnTo>
                  <a:lnTo>
                    <a:pt x="822" y="293"/>
                  </a:lnTo>
                  <a:lnTo>
                    <a:pt x="824" y="300"/>
                  </a:lnTo>
                  <a:lnTo>
                    <a:pt x="825" y="301"/>
                  </a:lnTo>
                  <a:lnTo>
                    <a:pt x="827" y="301"/>
                  </a:lnTo>
                  <a:lnTo>
                    <a:pt x="830" y="300"/>
                  </a:lnTo>
                  <a:lnTo>
                    <a:pt x="834" y="300"/>
                  </a:lnTo>
                  <a:lnTo>
                    <a:pt x="834" y="301"/>
                  </a:lnTo>
                  <a:lnTo>
                    <a:pt x="835" y="301"/>
                  </a:lnTo>
                  <a:lnTo>
                    <a:pt x="835" y="308"/>
                  </a:lnTo>
                  <a:lnTo>
                    <a:pt x="839" y="310"/>
                  </a:lnTo>
                  <a:lnTo>
                    <a:pt x="842" y="308"/>
                  </a:lnTo>
                  <a:lnTo>
                    <a:pt x="846" y="305"/>
                  </a:lnTo>
                  <a:lnTo>
                    <a:pt x="847" y="305"/>
                  </a:lnTo>
                  <a:lnTo>
                    <a:pt x="847" y="301"/>
                  </a:lnTo>
                  <a:lnTo>
                    <a:pt x="851" y="305"/>
                  </a:lnTo>
                  <a:lnTo>
                    <a:pt x="853" y="306"/>
                  </a:lnTo>
                  <a:lnTo>
                    <a:pt x="853" y="305"/>
                  </a:lnTo>
                  <a:lnTo>
                    <a:pt x="854" y="301"/>
                  </a:lnTo>
                  <a:lnTo>
                    <a:pt x="856" y="301"/>
                  </a:lnTo>
                  <a:lnTo>
                    <a:pt x="859" y="301"/>
                  </a:lnTo>
                  <a:lnTo>
                    <a:pt x="861" y="305"/>
                  </a:lnTo>
                  <a:lnTo>
                    <a:pt x="861" y="306"/>
                  </a:lnTo>
                  <a:lnTo>
                    <a:pt x="858" y="308"/>
                  </a:lnTo>
                  <a:lnTo>
                    <a:pt x="856" y="310"/>
                  </a:lnTo>
                  <a:lnTo>
                    <a:pt x="858" y="317"/>
                  </a:lnTo>
                  <a:lnTo>
                    <a:pt x="861" y="320"/>
                  </a:lnTo>
                  <a:lnTo>
                    <a:pt x="865" y="320"/>
                  </a:lnTo>
                  <a:lnTo>
                    <a:pt x="868" y="320"/>
                  </a:lnTo>
                  <a:lnTo>
                    <a:pt x="868" y="318"/>
                  </a:lnTo>
                  <a:lnTo>
                    <a:pt x="868" y="311"/>
                  </a:lnTo>
                  <a:lnTo>
                    <a:pt x="871" y="310"/>
                  </a:lnTo>
                  <a:lnTo>
                    <a:pt x="868" y="308"/>
                  </a:lnTo>
                  <a:lnTo>
                    <a:pt x="868" y="306"/>
                  </a:lnTo>
                  <a:lnTo>
                    <a:pt x="870" y="306"/>
                  </a:lnTo>
                  <a:lnTo>
                    <a:pt x="873" y="308"/>
                  </a:lnTo>
                  <a:lnTo>
                    <a:pt x="875" y="306"/>
                  </a:lnTo>
                  <a:lnTo>
                    <a:pt x="876" y="305"/>
                  </a:lnTo>
                  <a:lnTo>
                    <a:pt x="876" y="296"/>
                  </a:lnTo>
                  <a:lnTo>
                    <a:pt x="878" y="298"/>
                  </a:lnTo>
                  <a:lnTo>
                    <a:pt x="882" y="296"/>
                  </a:lnTo>
                  <a:lnTo>
                    <a:pt x="882" y="294"/>
                  </a:lnTo>
                  <a:lnTo>
                    <a:pt x="885" y="296"/>
                  </a:lnTo>
                  <a:lnTo>
                    <a:pt x="885" y="300"/>
                  </a:lnTo>
                  <a:lnTo>
                    <a:pt x="887" y="303"/>
                  </a:lnTo>
                  <a:lnTo>
                    <a:pt x="888" y="306"/>
                  </a:lnTo>
                  <a:lnTo>
                    <a:pt x="892" y="305"/>
                  </a:lnTo>
                  <a:lnTo>
                    <a:pt x="894" y="305"/>
                  </a:lnTo>
                  <a:lnTo>
                    <a:pt x="897" y="310"/>
                  </a:lnTo>
                  <a:lnTo>
                    <a:pt x="900" y="308"/>
                  </a:lnTo>
                  <a:lnTo>
                    <a:pt x="902" y="308"/>
                  </a:lnTo>
                  <a:lnTo>
                    <a:pt x="904" y="301"/>
                  </a:lnTo>
                  <a:lnTo>
                    <a:pt x="906" y="300"/>
                  </a:lnTo>
                  <a:lnTo>
                    <a:pt x="912" y="303"/>
                  </a:lnTo>
                  <a:lnTo>
                    <a:pt x="909" y="306"/>
                  </a:lnTo>
                  <a:lnTo>
                    <a:pt x="911" y="308"/>
                  </a:lnTo>
                  <a:lnTo>
                    <a:pt x="914" y="310"/>
                  </a:lnTo>
                  <a:lnTo>
                    <a:pt x="919" y="311"/>
                  </a:lnTo>
                  <a:lnTo>
                    <a:pt x="919" y="313"/>
                  </a:lnTo>
                  <a:lnTo>
                    <a:pt x="921" y="315"/>
                  </a:lnTo>
                  <a:lnTo>
                    <a:pt x="926" y="313"/>
                  </a:lnTo>
                  <a:lnTo>
                    <a:pt x="931" y="318"/>
                  </a:lnTo>
                  <a:lnTo>
                    <a:pt x="933" y="323"/>
                  </a:lnTo>
                  <a:lnTo>
                    <a:pt x="936" y="323"/>
                  </a:lnTo>
                  <a:lnTo>
                    <a:pt x="938" y="322"/>
                  </a:lnTo>
                  <a:lnTo>
                    <a:pt x="938" y="317"/>
                  </a:lnTo>
                  <a:lnTo>
                    <a:pt x="940" y="315"/>
                  </a:lnTo>
                  <a:lnTo>
                    <a:pt x="945" y="317"/>
                  </a:lnTo>
                  <a:lnTo>
                    <a:pt x="947" y="317"/>
                  </a:lnTo>
                  <a:lnTo>
                    <a:pt x="948" y="317"/>
                  </a:lnTo>
                  <a:lnTo>
                    <a:pt x="950" y="313"/>
                  </a:lnTo>
                  <a:lnTo>
                    <a:pt x="952" y="310"/>
                  </a:lnTo>
                  <a:lnTo>
                    <a:pt x="950" y="310"/>
                  </a:lnTo>
                  <a:lnTo>
                    <a:pt x="948" y="311"/>
                  </a:lnTo>
                  <a:lnTo>
                    <a:pt x="948" y="310"/>
                  </a:lnTo>
                  <a:lnTo>
                    <a:pt x="950" y="308"/>
                  </a:lnTo>
                  <a:lnTo>
                    <a:pt x="953" y="310"/>
                  </a:lnTo>
                  <a:lnTo>
                    <a:pt x="955" y="308"/>
                  </a:lnTo>
                  <a:lnTo>
                    <a:pt x="960" y="308"/>
                  </a:lnTo>
                  <a:lnTo>
                    <a:pt x="962" y="306"/>
                  </a:lnTo>
                  <a:lnTo>
                    <a:pt x="962" y="308"/>
                  </a:lnTo>
                  <a:lnTo>
                    <a:pt x="964" y="306"/>
                  </a:lnTo>
                  <a:lnTo>
                    <a:pt x="964" y="305"/>
                  </a:lnTo>
                  <a:lnTo>
                    <a:pt x="965" y="306"/>
                  </a:lnTo>
                  <a:lnTo>
                    <a:pt x="967" y="306"/>
                  </a:lnTo>
                  <a:lnTo>
                    <a:pt x="969" y="303"/>
                  </a:lnTo>
                  <a:lnTo>
                    <a:pt x="971" y="303"/>
                  </a:lnTo>
                  <a:lnTo>
                    <a:pt x="977" y="308"/>
                  </a:lnTo>
                  <a:lnTo>
                    <a:pt x="979" y="308"/>
                  </a:lnTo>
                  <a:lnTo>
                    <a:pt x="982" y="306"/>
                  </a:lnTo>
                  <a:lnTo>
                    <a:pt x="984" y="306"/>
                  </a:lnTo>
                  <a:lnTo>
                    <a:pt x="984" y="305"/>
                  </a:lnTo>
                  <a:lnTo>
                    <a:pt x="986" y="303"/>
                  </a:lnTo>
                  <a:lnTo>
                    <a:pt x="986" y="301"/>
                  </a:lnTo>
                  <a:lnTo>
                    <a:pt x="991" y="303"/>
                  </a:lnTo>
                  <a:lnTo>
                    <a:pt x="996" y="300"/>
                  </a:lnTo>
                  <a:lnTo>
                    <a:pt x="998" y="300"/>
                  </a:lnTo>
                  <a:lnTo>
                    <a:pt x="998" y="298"/>
                  </a:lnTo>
                  <a:lnTo>
                    <a:pt x="1000" y="298"/>
                  </a:lnTo>
                  <a:lnTo>
                    <a:pt x="1003" y="298"/>
                  </a:lnTo>
                  <a:lnTo>
                    <a:pt x="1005" y="301"/>
                  </a:lnTo>
                  <a:lnTo>
                    <a:pt x="1006" y="301"/>
                  </a:lnTo>
                  <a:lnTo>
                    <a:pt x="1006" y="303"/>
                  </a:lnTo>
                  <a:lnTo>
                    <a:pt x="1005" y="303"/>
                  </a:lnTo>
                  <a:lnTo>
                    <a:pt x="1006" y="303"/>
                  </a:lnTo>
                  <a:lnTo>
                    <a:pt x="1008" y="305"/>
                  </a:lnTo>
                  <a:lnTo>
                    <a:pt x="1012" y="303"/>
                  </a:lnTo>
                  <a:lnTo>
                    <a:pt x="1013" y="306"/>
                  </a:lnTo>
                  <a:lnTo>
                    <a:pt x="1023" y="305"/>
                  </a:lnTo>
                  <a:lnTo>
                    <a:pt x="1023" y="301"/>
                  </a:lnTo>
                  <a:lnTo>
                    <a:pt x="1025" y="303"/>
                  </a:lnTo>
                  <a:lnTo>
                    <a:pt x="1027" y="303"/>
                  </a:lnTo>
                  <a:lnTo>
                    <a:pt x="1029" y="300"/>
                  </a:lnTo>
                  <a:lnTo>
                    <a:pt x="1029" y="301"/>
                  </a:lnTo>
                  <a:lnTo>
                    <a:pt x="1030" y="301"/>
                  </a:lnTo>
                  <a:lnTo>
                    <a:pt x="1030" y="298"/>
                  </a:lnTo>
                  <a:lnTo>
                    <a:pt x="1032" y="294"/>
                  </a:lnTo>
                  <a:lnTo>
                    <a:pt x="1039" y="296"/>
                  </a:lnTo>
                  <a:lnTo>
                    <a:pt x="1041" y="298"/>
                  </a:lnTo>
                  <a:lnTo>
                    <a:pt x="1041" y="300"/>
                  </a:lnTo>
                  <a:lnTo>
                    <a:pt x="1042" y="300"/>
                  </a:lnTo>
                  <a:lnTo>
                    <a:pt x="1044" y="300"/>
                  </a:lnTo>
                  <a:lnTo>
                    <a:pt x="1046" y="300"/>
                  </a:lnTo>
                  <a:lnTo>
                    <a:pt x="1044" y="301"/>
                  </a:lnTo>
                  <a:lnTo>
                    <a:pt x="1046" y="303"/>
                  </a:lnTo>
                  <a:lnTo>
                    <a:pt x="1047" y="300"/>
                  </a:lnTo>
                  <a:lnTo>
                    <a:pt x="1047" y="301"/>
                  </a:lnTo>
                  <a:lnTo>
                    <a:pt x="1049" y="303"/>
                  </a:lnTo>
                  <a:lnTo>
                    <a:pt x="1049" y="305"/>
                  </a:lnTo>
                  <a:lnTo>
                    <a:pt x="1051" y="305"/>
                  </a:lnTo>
                  <a:lnTo>
                    <a:pt x="1054" y="306"/>
                  </a:lnTo>
                  <a:lnTo>
                    <a:pt x="1056" y="305"/>
                  </a:lnTo>
                  <a:lnTo>
                    <a:pt x="1056" y="306"/>
                  </a:lnTo>
                  <a:lnTo>
                    <a:pt x="1058" y="308"/>
                  </a:lnTo>
                  <a:lnTo>
                    <a:pt x="1058" y="310"/>
                  </a:lnTo>
                  <a:lnTo>
                    <a:pt x="1059" y="310"/>
                  </a:lnTo>
                  <a:lnTo>
                    <a:pt x="1061" y="311"/>
                  </a:lnTo>
                  <a:lnTo>
                    <a:pt x="1059" y="313"/>
                  </a:lnTo>
                  <a:lnTo>
                    <a:pt x="1063" y="315"/>
                  </a:lnTo>
                  <a:lnTo>
                    <a:pt x="1065" y="318"/>
                  </a:lnTo>
                  <a:lnTo>
                    <a:pt x="1068" y="318"/>
                  </a:lnTo>
                  <a:lnTo>
                    <a:pt x="1070" y="318"/>
                  </a:lnTo>
                  <a:lnTo>
                    <a:pt x="1071" y="317"/>
                  </a:lnTo>
                  <a:lnTo>
                    <a:pt x="1073" y="317"/>
                  </a:lnTo>
                  <a:lnTo>
                    <a:pt x="1071" y="318"/>
                  </a:lnTo>
                  <a:lnTo>
                    <a:pt x="1071" y="320"/>
                  </a:lnTo>
                  <a:lnTo>
                    <a:pt x="1075" y="318"/>
                  </a:lnTo>
                  <a:lnTo>
                    <a:pt x="1073" y="322"/>
                  </a:lnTo>
                  <a:lnTo>
                    <a:pt x="1075" y="320"/>
                  </a:lnTo>
                  <a:lnTo>
                    <a:pt x="1075" y="322"/>
                  </a:lnTo>
                  <a:lnTo>
                    <a:pt x="1075" y="323"/>
                  </a:lnTo>
                  <a:lnTo>
                    <a:pt x="1080" y="323"/>
                  </a:lnTo>
                  <a:lnTo>
                    <a:pt x="1082" y="323"/>
                  </a:lnTo>
                  <a:lnTo>
                    <a:pt x="1083" y="323"/>
                  </a:lnTo>
                  <a:lnTo>
                    <a:pt x="1085" y="325"/>
                  </a:lnTo>
                  <a:lnTo>
                    <a:pt x="1082" y="325"/>
                  </a:lnTo>
                  <a:lnTo>
                    <a:pt x="1082" y="327"/>
                  </a:lnTo>
                  <a:lnTo>
                    <a:pt x="1083" y="327"/>
                  </a:lnTo>
                  <a:lnTo>
                    <a:pt x="1085" y="325"/>
                  </a:lnTo>
                  <a:lnTo>
                    <a:pt x="1088" y="327"/>
                  </a:lnTo>
                  <a:lnTo>
                    <a:pt x="1090" y="325"/>
                  </a:lnTo>
                  <a:lnTo>
                    <a:pt x="1092" y="325"/>
                  </a:lnTo>
                  <a:lnTo>
                    <a:pt x="1092" y="327"/>
                  </a:lnTo>
                  <a:lnTo>
                    <a:pt x="1090" y="327"/>
                  </a:lnTo>
                  <a:lnTo>
                    <a:pt x="1088" y="327"/>
                  </a:lnTo>
                  <a:lnTo>
                    <a:pt x="1090" y="329"/>
                  </a:lnTo>
                  <a:lnTo>
                    <a:pt x="1094" y="327"/>
                  </a:lnTo>
                  <a:lnTo>
                    <a:pt x="1094" y="329"/>
                  </a:lnTo>
                  <a:lnTo>
                    <a:pt x="1092" y="329"/>
                  </a:lnTo>
                  <a:lnTo>
                    <a:pt x="1092" y="330"/>
                  </a:lnTo>
                  <a:lnTo>
                    <a:pt x="1095" y="329"/>
                  </a:lnTo>
                  <a:lnTo>
                    <a:pt x="1095" y="330"/>
                  </a:lnTo>
                  <a:lnTo>
                    <a:pt x="1097" y="330"/>
                  </a:lnTo>
                  <a:lnTo>
                    <a:pt x="1099" y="330"/>
                  </a:lnTo>
                  <a:lnTo>
                    <a:pt x="1102" y="329"/>
                  </a:lnTo>
                  <a:lnTo>
                    <a:pt x="1102" y="332"/>
                  </a:lnTo>
                  <a:lnTo>
                    <a:pt x="1102" y="334"/>
                  </a:lnTo>
                  <a:lnTo>
                    <a:pt x="1104" y="334"/>
                  </a:lnTo>
                  <a:lnTo>
                    <a:pt x="1106" y="335"/>
                  </a:lnTo>
                  <a:lnTo>
                    <a:pt x="1107" y="335"/>
                  </a:lnTo>
                  <a:lnTo>
                    <a:pt x="1107" y="334"/>
                  </a:lnTo>
                  <a:lnTo>
                    <a:pt x="1109" y="334"/>
                  </a:lnTo>
                  <a:lnTo>
                    <a:pt x="1109" y="335"/>
                  </a:lnTo>
                  <a:lnTo>
                    <a:pt x="1107" y="337"/>
                  </a:lnTo>
                  <a:lnTo>
                    <a:pt x="1109" y="339"/>
                  </a:lnTo>
                  <a:lnTo>
                    <a:pt x="1112" y="335"/>
                  </a:lnTo>
                  <a:lnTo>
                    <a:pt x="1114" y="337"/>
                  </a:lnTo>
                  <a:lnTo>
                    <a:pt x="1116" y="335"/>
                  </a:lnTo>
                  <a:lnTo>
                    <a:pt x="1117" y="334"/>
                  </a:lnTo>
                  <a:lnTo>
                    <a:pt x="1117" y="337"/>
                  </a:lnTo>
                  <a:lnTo>
                    <a:pt x="1121" y="334"/>
                  </a:lnTo>
                  <a:lnTo>
                    <a:pt x="1123" y="334"/>
                  </a:lnTo>
                  <a:lnTo>
                    <a:pt x="1121" y="337"/>
                  </a:lnTo>
                  <a:lnTo>
                    <a:pt x="1123" y="337"/>
                  </a:lnTo>
                  <a:lnTo>
                    <a:pt x="1123" y="334"/>
                  </a:lnTo>
                  <a:lnTo>
                    <a:pt x="1128" y="334"/>
                  </a:lnTo>
                  <a:lnTo>
                    <a:pt x="1128" y="335"/>
                  </a:lnTo>
                  <a:lnTo>
                    <a:pt x="1133" y="335"/>
                  </a:lnTo>
                  <a:lnTo>
                    <a:pt x="1135" y="334"/>
                  </a:lnTo>
                  <a:lnTo>
                    <a:pt x="1136" y="335"/>
                  </a:lnTo>
                  <a:lnTo>
                    <a:pt x="1138" y="337"/>
                  </a:lnTo>
                  <a:lnTo>
                    <a:pt x="1140" y="368"/>
                  </a:lnTo>
                  <a:lnTo>
                    <a:pt x="1140" y="395"/>
                  </a:lnTo>
                  <a:lnTo>
                    <a:pt x="1140" y="409"/>
                  </a:lnTo>
                  <a:lnTo>
                    <a:pt x="1140" y="429"/>
                  </a:lnTo>
                  <a:lnTo>
                    <a:pt x="1141" y="462"/>
                  </a:lnTo>
                  <a:lnTo>
                    <a:pt x="1141" y="482"/>
                  </a:lnTo>
                  <a:lnTo>
                    <a:pt x="1141" y="505"/>
                  </a:lnTo>
                  <a:lnTo>
                    <a:pt x="1145" y="506"/>
                  </a:lnTo>
                  <a:lnTo>
                    <a:pt x="1148" y="510"/>
                  </a:lnTo>
                  <a:lnTo>
                    <a:pt x="1148" y="513"/>
                  </a:lnTo>
                  <a:lnTo>
                    <a:pt x="1152" y="515"/>
                  </a:lnTo>
                  <a:lnTo>
                    <a:pt x="1153" y="515"/>
                  </a:lnTo>
                  <a:lnTo>
                    <a:pt x="1152" y="517"/>
                  </a:lnTo>
                  <a:lnTo>
                    <a:pt x="1155" y="515"/>
                  </a:lnTo>
                  <a:lnTo>
                    <a:pt x="1155" y="518"/>
                  </a:lnTo>
                  <a:lnTo>
                    <a:pt x="1157" y="518"/>
                  </a:lnTo>
                  <a:lnTo>
                    <a:pt x="1157" y="520"/>
                  </a:lnTo>
                  <a:lnTo>
                    <a:pt x="1159" y="523"/>
                  </a:lnTo>
                  <a:lnTo>
                    <a:pt x="1160" y="525"/>
                  </a:lnTo>
                  <a:lnTo>
                    <a:pt x="1162" y="529"/>
                  </a:lnTo>
                  <a:lnTo>
                    <a:pt x="1162" y="530"/>
                  </a:lnTo>
                  <a:lnTo>
                    <a:pt x="1164" y="534"/>
                  </a:lnTo>
                  <a:lnTo>
                    <a:pt x="1162" y="535"/>
                  </a:lnTo>
                  <a:lnTo>
                    <a:pt x="1164" y="535"/>
                  </a:lnTo>
                  <a:lnTo>
                    <a:pt x="1165" y="535"/>
                  </a:lnTo>
                  <a:lnTo>
                    <a:pt x="1164" y="539"/>
                  </a:lnTo>
                  <a:lnTo>
                    <a:pt x="1164" y="540"/>
                  </a:lnTo>
                  <a:lnTo>
                    <a:pt x="1164" y="542"/>
                  </a:lnTo>
                  <a:lnTo>
                    <a:pt x="1162" y="546"/>
                  </a:lnTo>
                  <a:lnTo>
                    <a:pt x="1162" y="547"/>
                  </a:lnTo>
                  <a:lnTo>
                    <a:pt x="1164" y="549"/>
                  </a:lnTo>
                  <a:lnTo>
                    <a:pt x="1164" y="551"/>
                  </a:lnTo>
                  <a:lnTo>
                    <a:pt x="1167" y="554"/>
                  </a:lnTo>
                  <a:lnTo>
                    <a:pt x="1169" y="554"/>
                  </a:lnTo>
                  <a:lnTo>
                    <a:pt x="1170" y="556"/>
                  </a:lnTo>
                  <a:lnTo>
                    <a:pt x="1174" y="556"/>
                  </a:lnTo>
                  <a:lnTo>
                    <a:pt x="1172" y="558"/>
                  </a:lnTo>
                  <a:lnTo>
                    <a:pt x="1169" y="559"/>
                  </a:lnTo>
                  <a:lnTo>
                    <a:pt x="1172" y="563"/>
                  </a:lnTo>
                  <a:lnTo>
                    <a:pt x="1174" y="561"/>
                  </a:lnTo>
                  <a:lnTo>
                    <a:pt x="1174" y="563"/>
                  </a:lnTo>
                  <a:lnTo>
                    <a:pt x="1176" y="564"/>
                  </a:lnTo>
                  <a:lnTo>
                    <a:pt x="1174" y="566"/>
                  </a:lnTo>
                  <a:lnTo>
                    <a:pt x="1176" y="568"/>
                  </a:lnTo>
                  <a:lnTo>
                    <a:pt x="1177" y="568"/>
                  </a:lnTo>
                  <a:lnTo>
                    <a:pt x="1177" y="571"/>
                  </a:lnTo>
                  <a:lnTo>
                    <a:pt x="1181" y="571"/>
                  </a:lnTo>
                  <a:lnTo>
                    <a:pt x="1176" y="576"/>
                  </a:lnTo>
                  <a:lnTo>
                    <a:pt x="1176" y="578"/>
                  </a:lnTo>
                  <a:lnTo>
                    <a:pt x="1179" y="580"/>
                  </a:lnTo>
                  <a:lnTo>
                    <a:pt x="1181" y="581"/>
                  </a:lnTo>
                  <a:lnTo>
                    <a:pt x="1182" y="581"/>
                  </a:lnTo>
                  <a:lnTo>
                    <a:pt x="1182" y="585"/>
                  </a:lnTo>
                  <a:lnTo>
                    <a:pt x="1184" y="587"/>
                  </a:lnTo>
                  <a:lnTo>
                    <a:pt x="1184" y="590"/>
                  </a:lnTo>
                  <a:lnTo>
                    <a:pt x="1184" y="592"/>
                  </a:lnTo>
                  <a:lnTo>
                    <a:pt x="1186" y="592"/>
                  </a:lnTo>
                  <a:lnTo>
                    <a:pt x="1188" y="590"/>
                  </a:lnTo>
                  <a:lnTo>
                    <a:pt x="1191" y="590"/>
                  </a:lnTo>
                  <a:lnTo>
                    <a:pt x="1191" y="592"/>
                  </a:lnTo>
                  <a:lnTo>
                    <a:pt x="1189" y="592"/>
                  </a:lnTo>
                  <a:lnTo>
                    <a:pt x="1191" y="593"/>
                  </a:lnTo>
                  <a:lnTo>
                    <a:pt x="1189" y="593"/>
                  </a:lnTo>
                  <a:lnTo>
                    <a:pt x="1189" y="597"/>
                  </a:lnTo>
                  <a:lnTo>
                    <a:pt x="1191" y="597"/>
                  </a:lnTo>
                  <a:lnTo>
                    <a:pt x="1189" y="599"/>
                  </a:lnTo>
                  <a:lnTo>
                    <a:pt x="1188" y="599"/>
                  </a:lnTo>
                  <a:lnTo>
                    <a:pt x="1188" y="600"/>
                  </a:lnTo>
                  <a:lnTo>
                    <a:pt x="1189" y="600"/>
                  </a:lnTo>
                  <a:lnTo>
                    <a:pt x="1189" y="602"/>
                  </a:lnTo>
                  <a:lnTo>
                    <a:pt x="1191" y="602"/>
                  </a:lnTo>
                  <a:lnTo>
                    <a:pt x="1191" y="605"/>
                  </a:lnTo>
                  <a:lnTo>
                    <a:pt x="1193" y="607"/>
                  </a:lnTo>
                  <a:lnTo>
                    <a:pt x="1189" y="609"/>
                  </a:lnTo>
                  <a:lnTo>
                    <a:pt x="1188" y="609"/>
                  </a:lnTo>
                  <a:lnTo>
                    <a:pt x="1188" y="611"/>
                  </a:lnTo>
                  <a:lnTo>
                    <a:pt x="1188" y="612"/>
                  </a:lnTo>
                  <a:lnTo>
                    <a:pt x="1188" y="614"/>
                  </a:lnTo>
                  <a:lnTo>
                    <a:pt x="1189" y="614"/>
                  </a:lnTo>
                  <a:lnTo>
                    <a:pt x="1189" y="616"/>
                  </a:lnTo>
                  <a:lnTo>
                    <a:pt x="1191" y="616"/>
                  </a:lnTo>
                  <a:lnTo>
                    <a:pt x="1191" y="617"/>
                  </a:lnTo>
                  <a:lnTo>
                    <a:pt x="1191" y="619"/>
                  </a:lnTo>
                  <a:lnTo>
                    <a:pt x="1189" y="619"/>
                  </a:lnTo>
                  <a:lnTo>
                    <a:pt x="1189" y="621"/>
                  </a:lnTo>
                  <a:lnTo>
                    <a:pt x="1188" y="621"/>
                  </a:lnTo>
                  <a:lnTo>
                    <a:pt x="1188" y="623"/>
                  </a:lnTo>
                  <a:lnTo>
                    <a:pt x="1188" y="624"/>
                  </a:lnTo>
                  <a:lnTo>
                    <a:pt x="1189" y="626"/>
                  </a:lnTo>
                  <a:lnTo>
                    <a:pt x="1188" y="628"/>
                  </a:lnTo>
                  <a:lnTo>
                    <a:pt x="1189" y="628"/>
                  </a:lnTo>
                  <a:lnTo>
                    <a:pt x="1189" y="629"/>
                  </a:lnTo>
                  <a:lnTo>
                    <a:pt x="1186" y="633"/>
                  </a:lnTo>
                  <a:lnTo>
                    <a:pt x="1186" y="634"/>
                  </a:lnTo>
                  <a:lnTo>
                    <a:pt x="1182" y="638"/>
                  </a:lnTo>
                  <a:lnTo>
                    <a:pt x="1184" y="640"/>
                  </a:lnTo>
                  <a:lnTo>
                    <a:pt x="1184" y="641"/>
                  </a:lnTo>
                  <a:lnTo>
                    <a:pt x="1184" y="645"/>
                  </a:lnTo>
                  <a:lnTo>
                    <a:pt x="1179" y="646"/>
                  </a:lnTo>
                  <a:lnTo>
                    <a:pt x="1177" y="650"/>
                  </a:lnTo>
                  <a:lnTo>
                    <a:pt x="1177" y="652"/>
                  </a:lnTo>
                  <a:lnTo>
                    <a:pt x="1179" y="655"/>
                  </a:lnTo>
                  <a:lnTo>
                    <a:pt x="1177" y="653"/>
                  </a:lnTo>
                  <a:lnTo>
                    <a:pt x="1174" y="655"/>
                  </a:lnTo>
                  <a:lnTo>
                    <a:pt x="1174" y="657"/>
                  </a:lnTo>
                  <a:lnTo>
                    <a:pt x="1172" y="660"/>
                  </a:lnTo>
                  <a:lnTo>
                    <a:pt x="1176" y="662"/>
                  </a:lnTo>
                  <a:lnTo>
                    <a:pt x="1176" y="664"/>
                  </a:lnTo>
                  <a:lnTo>
                    <a:pt x="1176" y="665"/>
                  </a:lnTo>
                  <a:lnTo>
                    <a:pt x="1177" y="669"/>
                  </a:lnTo>
                  <a:lnTo>
                    <a:pt x="1176" y="669"/>
                  </a:lnTo>
                  <a:lnTo>
                    <a:pt x="1177" y="670"/>
                  </a:lnTo>
                  <a:lnTo>
                    <a:pt x="1174" y="672"/>
                  </a:lnTo>
                  <a:lnTo>
                    <a:pt x="1172" y="674"/>
                  </a:lnTo>
                  <a:lnTo>
                    <a:pt x="1172" y="677"/>
                  </a:lnTo>
                  <a:lnTo>
                    <a:pt x="1172" y="679"/>
                  </a:lnTo>
                  <a:lnTo>
                    <a:pt x="1170" y="681"/>
                  </a:lnTo>
                  <a:lnTo>
                    <a:pt x="1170" y="682"/>
                  </a:lnTo>
                  <a:lnTo>
                    <a:pt x="1174" y="686"/>
                  </a:lnTo>
                  <a:lnTo>
                    <a:pt x="1177" y="686"/>
                  </a:lnTo>
                  <a:lnTo>
                    <a:pt x="1176" y="693"/>
                  </a:lnTo>
                  <a:lnTo>
                    <a:pt x="1176" y="694"/>
                  </a:lnTo>
                  <a:lnTo>
                    <a:pt x="1177" y="699"/>
                  </a:lnTo>
                  <a:lnTo>
                    <a:pt x="1177" y="703"/>
                  </a:lnTo>
                  <a:lnTo>
                    <a:pt x="1179" y="703"/>
                  </a:lnTo>
                  <a:lnTo>
                    <a:pt x="1177" y="703"/>
                  </a:lnTo>
                  <a:lnTo>
                    <a:pt x="1177" y="706"/>
                  </a:lnTo>
                  <a:lnTo>
                    <a:pt x="1176" y="708"/>
                  </a:lnTo>
                  <a:lnTo>
                    <a:pt x="1176" y="711"/>
                  </a:lnTo>
                  <a:lnTo>
                    <a:pt x="1172" y="718"/>
                  </a:lnTo>
                  <a:lnTo>
                    <a:pt x="1164" y="720"/>
                  </a:lnTo>
                  <a:lnTo>
                    <a:pt x="1164" y="722"/>
                  </a:lnTo>
                  <a:lnTo>
                    <a:pt x="1155" y="739"/>
                  </a:lnTo>
                  <a:lnTo>
                    <a:pt x="1165" y="754"/>
                  </a:lnTo>
                  <a:lnTo>
                    <a:pt x="1145" y="754"/>
                  </a:lnTo>
                  <a:lnTo>
                    <a:pt x="1117" y="766"/>
                  </a:lnTo>
                  <a:lnTo>
                    <a:pt x="1116" y="768"/>
                  </a:lnTo>
                  <a:lnTo>
                    <a:pt x="1087" y="780"/>
                  </a:lnTo>
                  <a:lnTo>
                    <a:pt x="1080" y="788"/>
                  </a:lnTo>
                  <a:lnTo>
                    <a:pt x="1078" y="787"/>
                  </a:lnTo>
                  <a:lnTo>
                    <a:pt x="1087" y="776"/>
                  </a:lnTo>
                  <a:lnTo>
                    <a:pt x="1097" y="769"/>
                  </a:lnTo>
                  <a:lnTo>
                    <a:pt x="1104" y="771"/>
                  </a:lnTo>
                  <a:lnTo>
                    <a:pt x="1107" y="768"/>
                  </a:lnTo>
                  <a:lnTo>
                    <a:pt x="1104" y="768"/>
                  </a:lnTo>
                  <a:lnTo>
                    <a:pt x="1100" y="768"/>
                  </a:lnTo>
                  <a:lnTo>
                    <a:pt x="1099" y="764"/>
                  </a:lnTo>
                  <a:lnTo>
                    <a:pt x="1076" y="769"/>
                  </a:lnTo>
                  <a:lnTo>
                    <a:pt x="1085" y="756"/>
                  </a:lnTo>
                  <a:lnTo>
                    <a:pt x="1085" y="746"/>
                  </a:lnTo>
                  <a:lnTo>
                    <a:pt x="1082" y="742"/>
                  </a:lnTo>
                  <a:lnTo>
                    <a:pt x="1073" y="746"/>
                  </a:lnTo>
                  <a:lnTo>
                    <a:pt x="1068" y="756"/>
                  </a:lnTo>
                  <a:lnTo>
                    <a:pt x="1063" y="754"/>
                  </a:lnTo>
                  <a:lnTo>
                    <a:pt x="1049" y="742"/>
                  </a:lnTo>
                  <a:lnTo>
                    <a:pt x="1053" y="751"/>
                  </a:lnTo>
                  <a:lnTo>
                    <a:pt x="1058" y="754"/>
                  </a:lnTo>
                  <a:lnTo>
                    <a:pt x="1056" y="768"/>
                  </a:lnTo>
                  <a:lnTo>
                    <a:pt x="1066" y="773"/>
                  </a:lnTo>
                  <a:lnTo>
                    <a:pt x="1059" y="778"/>
                  </a:lnTo>
                  <a:lnTo>
                    <a:pt x="1063" y="778"/>
                  </a:lnTo>
                  <a:lnTo>
                    <a:pt x="1061" y="781"/>
                  </a:lnTo>
                  <a:lnTo>
                    <a:pt x="1066" y="781"/>
                  </a:lnTo>
                  <a:lnTo>
                    <a:pt x="1065" y="780"/>
                  </a:lnTo>
                  <a:lnTo>
                    <a:pt x="1068" y="785"/>
                  </a:lnTo>
                  <a:lnTo>
                    <a:pt x="1075" y="787"/>
                  </a:lnTo>
                  <a:lnTo>
                    <a:pt x="1068" y="785"/>
                  </a:lnTo>
                  <a:lnTo>
                    <a:pt x="1068" y="793"/>
                  </a:lnTo>
                  <a:lnTo>
                    <a:pt x="1063" y="792"/>
                  </a:lnTo>
                  <a:lnTo>
                    <a:pt x="1051" y="807"/>
                  </a:lnTo>
                  <a:lnTo>
                    <a:pt x="1042" y="805"/>
                  </a:lnTo>
                  <a:lnTo>
                    <a:pt x="1042" y="816"/>
                  </a:lnTo>
                  <a:lnTo>
                    <a:pt x="1039" y="816"/>
                  </a:lnTo>
                  <a:lnTo>
                    <a:pt x="1034" y="829"/>
                  </a:lnTo>
                  <a:lnTo>
                    <a:pt x="1008" y="848"/>
                  </a:lnTo>
                  <a:lnTo>
                    <a:pt x="994" y="857"/>
                  </a:lnTo>
                  <a:lnTo>
                    <a:pt x="994" y="853"/>
                  </a:lnTo>
                  <a:lnTo>
                    <a:pt x="984" y="855"/>
                  </a:lnTo>
                  <a:lnTo>
                    <a:pt x="971" y="860"/>
                  </a:lnTo>
                  <a:lnTo>
                    <a:pt x="969" y="869"/>
                  </a:lnTo>
                  <a:lnTo>
                    <a:pt x="993" y="858"/>
                  </a:lnTo>
                  <a:lnTo>
                    <a:pt x="945" y="882"/>
                  </a:lnTo>
                  <a:lnTo>
                    <a:pt x="965" y="870"/>
                  </a:lnTo>
                  <a:lnTo>
                    <a:pt x="965" y="865"/>
                  </a:lnTo>
                  <a:lnTo>
                    <a:pt x="941" y="874"/>
                  </a:lnTo>
                  <a:lnTo>
                    <a:pt x="941" y="870"/>
                  </a:lnTo>
                  <a:lnTo>
                    <a:pt x="948" y="869"/>
                  </a:lnTo>
                  <a:lnTo>
                    <a:pt x="941" y="867"/>
                  </a:lnTo>
                  <a:lnTo>
                    <a:pt x="950" y="853"/>
                  </a:lnTo>
                  <a:lnTo>
                    <a:pt x="943" y="862"/>
                  </a:lnTo>
                  <a:lnTo>
                    <a:pt x="936" y="863"/>
                  </a:lnTo>
                  <a:lnTo>
                    <a:pt x="938" y="858"/>
                  </a:lnTo>
                  <a:lnTo>
                    <a:pt x="933" y="867"/>
                  </a:lnTo>
                  <a:lnTo>
                    <a:pt x="929" y="869"/>
                  </a:lnTo>
                  <a:lnTo>
                    <a:pt x="926" y="863"/>
                  </a:lnTo>
                  <a:lnTo>
                    <a:pt x="926" y="857"/>
                  </a:lnTo>
                  <a:lnTo>
                    <a:pt x="924" y="858"/>
                  </a:lnTo>
                  <a:lnTo>
                    <a:pt x="921" y="853"/>
                  </a:lnTo>
                  <a:lnTo>
                    <a:pt x="923" y="860"/>
                  </a:lnTo>
                  <a:lnTo>
                    <a:pt x="926" y="858"/>
                  </a:lnTo>
                  <a:lnTo>
                    <a:pt x="924" y="867"/>
                  </a:lnTo>
                  <a:lnTo>
                    <a:pt x="928" y="869"/>
                  </a:lnTo>
                  <a:lnTo>
                    <a:pt x="918" y="875"/>
                  </a:lnTo>
                  <a:lnTo>
                    <a:pt x="923" y="870"/>
                  </a:lnTo>
                  <a:lnTo>
                    <a:pt x="921" y="863"/>
                  </a:lnTo>
                  <a:lnTo>
                    <a:pt x="918" y="870"/>
                  </a:lnTo>
                  <a:lnTo>
                    <a:pt x="916" y="869"/>
                  </a:lnTo>
                  <a:lnTo>
                    <a:pt x="916" y="865"/>
                  </a:lnTo>
                  <a:lnTo>
                    <a:pt x="911" y="867"/>
                  </a:lnTo>
                  <a:lnTo>
                    <a:pt x="911" y="860"/>
                  </a:lnTo>
                  <a:lnTo>
                    <a:pt x="911" y="848"/>
                  </a:lnTo>
                  <a:lnTo>
                    <a:pt x="909" y="860"/>
                  </a:lnTo>
                  <a:lnTo>
                    <a:pt x="907" y="858"/>
                  </a:lnTo>
                  <a:lnTo>
                    <a:pt x="902" y="858"/>
                  </a:lnTo>
                  <a:lnTo>
                    <a:pt x="902" y="862"/>
                  </a:lnTo>
                  <a:lnTo>
                    <a:pt x="907" y="867"/>
                  </a:lnTo>
                  <a:lnTo>
                    <a:pt x="906" y="874"/>
                  </a:lnTo>
                  <a:lnTo>
                    <a:pt x="911" y="874"/>
                  </a:lnTo>
                  <a:lnTo>
                    <a:pt x="918" y="881"/>
                  </a:lnTo>
                  <a:lnTo>
                    <a:pt x="911" y="884"/>
                  </a:lnTo>
                  <a:lnTo>
                    <a:pt x="914" y="886"/>
                  </a:lnTo>
                  <a:lnTo>
                    <a:pt x="919" y="881"/>
                  </a:lnTo>
                  <a:lnTo>
                    <a:pt x="926" y="887"/>
                  </a:lnTo>
                  <a:lnTo>
                    <a:pt x="900" y="901"/>
                  </a:lnTo>
                  <a:lnTo>
                    <a:pt x="897" y="898"/>
                  </a:lnTo>
                  <a:lnTo>
                    <a:pt x="897" y="893"/>
                  </a:lnTo>
                  <a:lnTo>
                    <a:pt x="894" y="891"/>
                  </a:lnTo>
                  <a:lnTo>
                    <a:pt x="890" y="882"/>
                  </a:lnTo>
                  <a:lnTo>
                    <a:pt x="885" y="886"/>
                  </a:lnTo>
                  <a:lnTo>
                    <a:pt x="888" y="886"/>
                  </a:lnTo>
                  <a:lnTo>
                    <a:pt x="892" y="891"/>
                  </a:lnTo>
                  <a:lnTo>
                    <a:pt x="890" y="893"/>
                  </a:lnTo>
                  <a:lnTo>
                    <a:pt x="883" y="891"/>
                  </a:lnTo>
                  <a:lnTo>
                    <a:pt x="888" y="896"/>
                  </a:lnTo>
                  <a:lnTo>
                    <a:pt x="888" y="901"/>
                  </a:lnTo>
                  <a:lnTo>
                    <a:pt x="888" y="904"/>
                  </a:lnTo>
                  <a:lnTo>
                    <a:pt x="890" y="910"/>
                  </a:lnTo>
                  <a:lnTo>
                    <a:pt x="887" y="911"/>
                  </a:lnTo>
                  <a:lnTo>
                    <a:pt x="873" y="922"/>
                  </a:lnTo>
                  <a:lnTo>
                    <a:pt x="876" y="906"/>
                  </a:lnTo>
                  <a:lnTo>
                    <a:pt x="871" y="911"/>
                  </a:lnTo>
                  <a:lnTo>
                    <a:pt x="875" y="915"/>
                  </a:lnTo>
                  <a:lnTo>
                    <a:pt x="871" y="922"/>
                  </a:lnTo>
                  <a:lnTo>
                    <a:pt x="866" y="920"/>
                  </a:lnTo>
                  <a:lnTo>
                    <a:pt x="866" y="913"/>
                  </a:lnTo>
                  <a:lnTo>
                    <a:pt x="856" y="920"/>
                  </a:lnTo>
                  <a:lnTo>
                    <a:pt x="856" y="916"/>
                  </a:lnTo>
                  <a:lnTo>
                    <a:pt x="853" y="916"/>
                  </a:lnTo>
                  <a:lnTo>
                    <a:pt x="854" y="922"/>
                  </a:lnTo>
                  <a:lnTo>
                    <a:pt x="844" y="927"/>
                  </a:lnTo>
                  <a:lnTo>
                    <a:pt x="846" y="928"/>
                  </a:lnTo>
                  <a:lnTo>
                    <a:pt x="842" y="930"/>
                  </a:lnTo>
                  <a:lnTo>
                    <a:pt x="846" y="928"/>
                  </a:lnTo>
                  <a:lnTo>
                    <a:pt x="858" y="928"/>
                  </a:lnTo>
                  <a:lnTo>
                    <a:pt x="866" y="922"/>
                  </a:lnTo>
                  <a:lnTo>
                    <a:pt x="866" y="932"/>
                  </a:lnTo>
                  <a:lnTo>
                    <a:pt x="858" y="942"/>
                  </a:lnTo>
                  <a:lnTo>
                    <a:pt x="849" y="954"/>
                  </a:lnTo>
                  <a:lnTo>
                    <a:pt x="846" y="952"/>
                  </a:lnTo>
                  <a:lnTo>
                    <a:pt x="847" y="952"/>
                  </a:lnTo>
                  <a:lnTo>
                    <a:pt x="842" y="947"/>
                  </a:lnTo>
                  <a:lnTo>
                    <a:pt x="834" y="951"/>
                  </a:lnTo>
                  <a:lnTo>
                    <a:pt x="835" y="947"/>
                  </a:lnTo>
                  <a:lnTo>
                    <a:pt x="824" y="949"/>
                  </a:lnTo>
                  <a:lnTo>
                    <a:pt x="822" y="947"/>
                  </a:lnTo>
                  <a:lnTo>
                    <a:pt x="818" y="947"/>
                  </a:lnTo>
                  <a:lnTo>
                    <a:pt x="820" y="951"/>
                  </a:lnTo>
                  <a:lnTo>
                    <a:pt x="824" y="952"/>
                  </a:lnTo>
                  <a:lnTo>
                    <a:pt x="832" y="951"/>
                  </a:lnTo>
                  <a:lnTo>
                    <a:pt x="830" y="957"/>
                  </a:lnTo>
                  <a:lnTo>
                    <a:pt x="837" y="964"/>
                  </a:lnTo>
                  <a:lnTo>
                    <a:pt x="835" y="964"/>
                  </a:lnTo>
                  <a:lnTo>
                    <a:pt x="837" y="966"/>
                  </a:lnTo>
                  <a:lnTo>
                    <a:pt x="834" y="971"/>
                  </a:lnTo>
                  <a:lnTo>
                    <a:pt x="830" y="973"/>
                  </a:lnTo>
                  <a:lnTo>
                    <a:pt x="835" y="973"/>
                  </a:lnTo>
                  <a:lnTo>
                    <a:pt x="839" y="964"/>
                  </a:lnTo>
                  <a:lnTo>
                    <a:pt x="844" y="966"/>
                  </a:lnTo>
                  <a:lnTo>
                    <a:pt x="837" y="980"/>
                  </a:lnTo>
                  <a:lnTo>
                    <a:pt x="829" y="1005"/>
                  </a:lnTo>
                  <a:lnTo>
                    <a:pt x="820" y="1005"/>
                  </a:lnTo>
                  <a:lnTo>
                    <a:pt x="820" y="993"/>
                  </a:lnTo>
                  <a:lnTo>
                    <a:pt x="817" y="1004"/>
                  </a:lnTo>
                  <a:lnTo>
                    <a:pt x="810" y="1007"/>
                  </a:lnTo>
                  <a:lnTo>
                    <a:pt x="796" y="995"/>
                  </a:lnTo>
                  <a:lnTo>
                    <a:pt x="803" y="1009"/>
                  </a:lnTo>
                  <a:lnTo>
                    <a:pt x="793" y="1009"/>
                  </a:lnTo>
                  <a:lnTo>
                    <a:pt x="815" y="1016"/>
                  </a:lnTo>
                  <a:lnTo>
                    <a:pt x="827" y="1012"/>
                  </a:lnTo>
                  <a:lnTo>
                    <a:pt x="818" y="1031"/>
                  </a:lnTo>
                  <a:lnTo>
                    <a:pt x="822" y="1039"/>
                  </a:lnTo>
                  <a:lnTo>
                    <a:pt x="813" y="1041"/>
                  </a:lnTo>
                  <a:lnTo>
                    <a:pt x="813" y="1055"/>
                  </a:lnTo>
                  <a:lnTo>
                    <a:pt x="820" y="1062"/>
                  </a:lnTo>
                  <a:lnTo>
                    <a:pt x="824" y="1082"/>
                  </a:lnTo>
                  <a:lnTo>
                    <a:pt x="825" y="1091"/>
                  </a:lnTo>
                  <a:lnTo>
                    <a:pt x="822" y="1094"/>
                  </a:lnTo>
                  <a:lnTo>
                    <a:pt x="825" y="1104"/>
                  </a:lnTo>
                  <a:lnTo>
                    <a:pt x="830" y="1108"/>
                  </a:lnTo>
                  <a:lnTo>
                    <a:pt x="832" y="1127"/>
                  </a:lnTo>
                  <a:lnTo>
                    <a:pt x="842" y="1139"/>
                  </a:lnTo>
                  <a:lnTo>
                    <a:pt x="839" y="1145"/>
                  </a:lnTo>
                  <a:lnTo>
                    <a:pt x="846" y="1145"/>
                  </a:lnTo>
                  <a:lnTo>
                    <a:pt x="849" y="1151"/>
                  </a:lnTo>
                  <a:lnTo>
                    <a:pt x="837" y="1149"/>
                  </a:lnTo>
                  <a:lnTo>
                    <a:pt x="837" y="1152"/>
                  </a:lnTo>
                  <a:lnTo>
                    <a:pt x="829" y="1154"/>
                  </a:lnTo>
                  <a:lnTo>
                    <a:pt x="829" y="1163"/>
                  </a:lnTo>
                  <a:lnTo>
                    <a:pt x="824" y="1163"/>
                  </a:lnTo>
                  <a:lnTo>
                    <a:pt x="808" y="1152"/>
                  </a:lnTo>
                  <a:lnTo>
                    <a:pt x="810" y="1151"/>
                  </a:lnTo>
                  <a:lnTo>
                    <a:pt x="806" y="1149"/>
                  </a:lnTo>
                  <a:lnTo>
                    <a:pt x="803" y="1142"/>
                  </a:lnTo>
                  <a:lnTo>
                    <a:pt x="782" y="1139"/>
                  </a:lnTo>
                  <a:lnTo>
                    <a:pt x="765" y="1139"/>
                  </a:lnTo>
                  <a:lnTo>
                    <a:pt x="762" y="1140"/>
                  </a:lnTo>
                  <a:lnTo>
                    <a:pt x="760" y="1137"/>
                  </a:lnTo>
                  <a:lnTo>
                    <a:pt x="750" y="1139"/>
                  </a:lnTo>
                  <a:lnTo>
                    <a:pt x="741" y="1133"/>
                  </a:lnTo>
                  <a:lnTo>
                    <a:pt x="743" y="1132"/>
                  </a:lnTo>
                  <a:lnTo>
                    <a:pt x="741" y="1130"/>
                  </a:lnTo>
                  <a:lnTo>
                    <a:pt x="738" y="1132"/>
                  </a:lnTo>
                  <a:lnTo>
                    <a:pt x="736" y="1127"/>
                  </a:lnTo>
                  <a:lnTo>
                    <a:pt x="731" y="1127"/>
                  </a:lnTo>
                  <a:lnTo>
                    <a:pt x="726" y="1120"/>
                  </a:lnTo>
                  <a:lnTo>
                    <a:pt x="723" y="1122"/>
                  </a:lnTo>
                  <a:lnTo>
                    <a:pt x="711" y="1116"/>
                  </a:lnTo>
                  <a:lnTo>
                    <a:pt x="704" y="1118"/>
                  </a:lnTo>
                  <a:lnTo>
                    <a:pt x="690" y="1103"/>
                  </a:lnTo>
                  <a:lnTo>
                    <a:pt x="682" y="1104"/>
                  </a:lnTo>
                  <a:lnTo>
                    <a:pt x="678" y="1101"/>
                  </a:lnTo>
                  <a:lnTo>
                    <a:pt x="663" y="1098"/>
                  </a:lnTo>
                  <a:lnTo>
                    <a:pt x="663" y="1091"/>
                  </a:lnTo>
                  <a:lnTo>
                    <a:pt x="658" y="1084"/>
                  </a:lnTo>
                  <a:lnTo>
                    <a:pt x="658" y="1080"/>
                  </a:lnTo>
                  <a:lnTo>
                    <a:pt x="647" y="1050"/>
                  </a:lnTo>
                  <a:lnTo>
                    <a:pt x="637" y="1041"/>
                  </a:lnTo>
                  <a:lnTo>
                    <a:pt x="637" y="1036"/>
                  </a:lnTo>
                  <a:lnTo>
                    <a:pt x="632" y="1031"/>
                  </a:lnTo>
                  <a:lnTo>
                    <a:pt x="634" y="1014"/>
                  </a:lnTo>
                  <a:lnTo>
                    <a:pt x="632" y="1005"/>
                  </a:lnTo>
                  <a:lnTo>
                    <a:pt x="624" y="1000"/>
                  </a:lnTo>
                  <a:lnTo>
                    <a:pt x="630" y="983"/>
                  </a:lnTo>
                  <a:lnTo>
                    <a:pt x="627" y="981"/>
                  </a:lnTo>
                  <a:lnTo>
                    <a:pt x="625" y="969"/>
                  </a:lnTo>
                  <a:lnTo>
                    <a:pt x="608" y="963"/>
                  </a:lnTo>
                  <a:lnTo>
                    <a:pt x="600" y="951"/>
                  </a:lnTo>
                  <a:lnTo>
                    <a:pt x="594" y="949"/>
                  </a:lnTo>
                  <a:lnTo>
                    <a:pt x="589" y="928"/>
                  </a:lnTo>
                  <a:lnTo>
                    <a:pt x="584" y="927"/>
                  </a:lnTo>
                  <a:lnTo>
                    <a:pt x="574" y="910"/>
                  </a:lnTo>
                  <a:lnTo>
                    <a:pt x="564" y="904"/>
                  </a:lnTo>
                  <a:lnTo>
                    <a:pt x="564" y="899"/>
                  </a:lnTo>
                  <a:lnTo>
                    <a:pt x="557" y="896"/>
                  </a:lnTo>
                  <a:lnTo>
                    <a:pt x="557" y="891"/>
                  </a:lnTo>
                  <a:lnTo>
                    <a:pt x="552" y="882"/>
                  </a:lnTo>
                  <a:lnTo>
                    <a:pt x="550" y="874"/>
                  </a:lnTo>
                  <a:lnTo>
                    <a:pt x="553" y="872"/>
                  </a:lnTo>
                  <a:lnTo>
                    <a:pt x="547" y="867"/>
                  </a:lnTo>
                  <a:lnTo>
                    <a:pt x="548" y="862"/>
                  </a:lnTo>
                  <a:lnTo>
                    <a:pt x="540" y="853"/>
                  </a:lnTo>
                  <a:lnTo>
                    <a:pt x="531" y="829"/>
                  </a:lnTo>
                  <a:lnTo>
                    <a:pt x="526" y="826"/>
                  </a:lnTo>
                  <a:lnTo>
                    <a:pt x="526" y="809"/>
                  </a:lnTo>
                  <a:lnTo>
                    <a:pt x="516" y="799"/>
                  </a:lnTo>
                  <a:lnTo>
                    <a:pt x="514" y="790"/>
                  </a:lnTo>
                  <a:lnTo>
                    <a:pt x="495" y="775"/>
                  </a:lnTo>
                  <a:lnTo>
                    <a:pt x="490" y="764"/>
                  </a:lnTo>
                  <a:lnTo>
                    <a:pt x="473" y="758"/>
                  </a:lnTo>
                  <a:lnTo>
                    <a:pt x="473" y="747"/>
                  </a:lnTo>
                  <a:lnTo>
                    <a:pt x="468" y="752"/>
                  </a:lnTo>
                  <a:lnTo>
                    <a:pt x="470" y="744"/>
                  </a:lnTo>
                  <a:lnTo>
                    <a:pt x="463" y="744"/>
                  </a:lnTo>
                  <a:lnTo>
                    <a:pt x="459" y="734"/>
                  </a:lnTo>
                  <a:lnTo>
                    <a:pt x="461" y="732"/>
                  </a:lnTo>
                  <a:lnTo>
                    <a:pt x="456" y="732"/>
                  </a:lnTo>
                  <a:lnTo>
                    <a:pt x="454" y="728"/>
                  </a:lnTo>
                  <a:lnTo>
                    <a:pt x="448" y="732"/>
                  </a:lnTo>
                  <a:lnTo>
                    <a:pt x="448" y="727"/>
                  </a:lnTo>
                  <a:lnTo>
                    <a:pt x="444" y="730"/>
                  </a:lnTo>
                  <a:lnTo>
                    <a:pt x="439" y="732"/>
                  </a:lnTo>
                  <a:lnTo>
                    <a:pt x="427" y="727"/>
                  </a:lnTo>
                  <a:lnTo>
                    <a:pt x="424" y="728"/>
                  </a:lnTo>
                  <a:lnTo>
                    <a:pt x="422" y="723"/>
                  </a:lnTo>
                  <a:lnTo>
                    <a:pt x="412" y="727"/>
                  </a:lnTo>
                  <a:lnTo>
                    <a:pt x="408" y="723"/>
                  </a:lnTo>
                  <a:lnTo>
                    <a:pt x="400" y="725"/>
                  </a:lnTo>
                  <a:lnTo>
                    <a:pt x="376" y="715"/>
                  </a:lnTo>
                  <a:lnTo>
                    <a:pt x="371" y="718"/>
                  </a:lnTo>
                  <a:lnTo>
                    <a:pt x="369" y="725"/>
                  </a:lnTo>
                  <a:lnTo>
                    <a:pt x="359" y="723"/>
                  </a:lnTo>
                  <a:lnTo>
                    <a:pt x="354" y="727"/>
                  </a:lnTo>
                  <a:lnTo>
                    <a:pt x="352" y="723"/>
                  </a:lnTo>
                  <a:lnTo>
                    <a:pt x="345" y="728"/>
                  </a:lnTo>
                  <a:lnTo>
                    <a:pt x="342" y="727"/>
                  </a:lnTo>
                  <a:lnTo>
                    <a:pt x="328" y="749"/>
                  </a:lnTo>
                  <a:lnTo>
                    <a:pt x="326" y="761"/>
                  </a:lnTo>
                  <a:lnTo>
                    <a:pt x="319" y="766"/>
                  </a:lnTo>
                  <a:lnTo>
                    <a:pt x="316" y="775"/>
                  </a:lnTo>
                  <a:lnTo>
                    <a:pt x="321" y="780"/>
                  </a:lnTo>
                  <a:lnTo>
                    <a:pt x="309" y="783"/>
                  </a:lnTo>
                  <a:lnTo>
                    <a:pt x="292" y="805"/>
                  </a:lnTo>
                  <a:lnTo>
                    <a:pt x="282" y="800"/>
                  </a:lnTo>
                  <a:lnTo>
                    <a:pt x="280" y="804"/>
                  </a:lnTo>
                  <a:lnTo>
                    <a:pt x="275" y="795"/>
                  </a:lnTo>
                  <a:lnTo>
                    <a:pt x="271" y="797"/>
                  </a:lnTo>
                  <a:lnTo>
                    <a:pt x="263" y="792"/>
                  </a:lnTo>
                  <a:lnTo>
                    <a:pt x="258" y="785"/>
                  </a:lnTo>
                  <a:lnTo>
                    <a:pt x="241" y="778"/>
                  </a:lnTo>
                  <a:lnTo>
                    <a:pt x="239" y="773"/>
                  </a:lnTo>
                  <a:lnTo>
                    <a:pt x="234" y="773"/>
                  </a:lnTo>
                  <a:lnTo>
                    <a:pt x="237" y="768"/>
                  </a:lnTo>
                  <a:lnTo>
                    <a:pt x="234" y="769"/>
                  </a:lnTo>
                  <a:lnTo>
                    <a:pt x="212" y="761"/>
                  </a:lnTo>
                  <a:lnTo>
                    <a:pt x="200" y="752"/>
                  </a:lnTo>
                  <a:lnTo>
                    <a:pt x="198" y="742"/>
                  </a:lnTo>
                  <a:lnTo>
                    <a:pt x="183" y="734"/>
                  </a:lnTo>
                  <a:lnTo>
                    <a:pt x="169" y="720"/>
                  </a:lnTo>
                  <a:lnTo>
                    <a:pt x="166" y="705"/>
                  </a:lnTo>
                  <a:lnTo>
                    <a:pt x="159" y="694"/>
                  </a:lnTo>
                  <a:lnTo>
                    <a:pt x="157" y="677"/>
                  </a:lnTo>
                  <a:lnTo>
                    <a:pt x="160" y="669"/>
                  </a:lnTo>
                  <a:lnTo>
                    <a:pt x="159" y="658"/>
                  </a:lnTo>
                  <a:lnTo>
                    <a:pt x="150" y="645"/>
                  </a:lnTo>
                  <a:lnTo>
                    <a:pt x="150" y="643"/>
                  </a:lnTo>
                  <a:lnTo>
                    <a:pt x="147" y="641"/>
                  </a:lnTo>
                  <a:lnTo>
                    <a:pt x="145" y="621"/>
                  </a:lnTo>
                  <a:lnTo>
                    <a:pt x="136" y="612"/>
                  </a:lnTo>
                  <a:lnTo>
                    <a:pt x="136" y="609"/>
                  </a:lnTo>
                  <a:lnTo>
                    <a:pt x="130" y="607"/>
                  </a:lnTo>
                  <a:lnTo>
                    <a:pt x="118" y="593"/>
                  </a:lnTo>
                  <a:lnTo>
                    <a:pt x="113" y="593"/>
                  </a:lnTo>
                  <a:lnTo>
                    <a:pt x="111" y="590"/>
                  </a:lnTo>
                  <a:lnTo>
                    <a:pt x="107" y="592"/>
                  </a:lnTo>
                  <a:lnTo>
                    <a:pt x="102" y="587"/>
                  </a:lnTo>
                  <a:lnTo>
                    <a:pt x="101" y="581"/>
                  </a:lnTo>
                  <a:lnTo>
                    <a:pt x="89" y="570"/>
                  </a:lnTo>
                  <a:lnTo>
                    <a:pt x="85" y="559"/>
                  </a:lnTo>
                  <a:lnTo>
                    <a:pt x="70" y="549"/>
                  </a:lnTo>
                  <a:lnTo>
                    <a:pt x="53" y="523"/>
                  </a:lnTo>
                  <a:close/>
                  <a:moveTo>
                    <a:pt x="1066" y="800"/>
                  </a:moveTo>
                  <a:lnTo>
                    <a:pt x="1080" y="790"/>
                  </a:lnTo>
                  <a:lnTo>
                    <a:pt x="1082" y="793"/>
                  </a:lnTo>
                  <a:lnTo>
                    <a:pt x="1047" y="817"/>
                  </a:lnTo>
                  <a:lnTo>
                    <a:pt x="1066" y="800"/>
                  </a:lnTo>
                  <a:close/>
                  <a:moveTo>
                    <a:pt x="926" y="898"/>
                  </a:moveTo>
                  <a:lnTo>
                    <a:pt x="885" y="927"/>
                  </a:lnTo>
                  <a:lnTo>
                    <a:pt x="887" y="916"/>
                  </a:lnTo>
                  <a:lnTo>
                    <a:pt x="894" y="915"/>
                  </a:lnTo>
                  <a:lnTo>
                    <a:pt x="914" y="901"/>
                  </a:lnTo>
                  <a:lnTo>
                    <a:pt x="919" y="899"/>
                  </a:lnTo>
                  <a:lnTo>
                    <a:pt x="924" y="893"/>
                  </a:lnTo>
                  <a:lnTo>
                    <a:pt x="926" y="898"/>
                  </a:lnTo>
                  <a:close/>
                  <a:moveTo>
                    <a:pt x="875" y="928"/>
                  </a:moveTo>
                  <a:lnTo>
                    <a:pt x="882" y="920"/>
                  </a:lnTo>
                  <a:lnTo>
                    <a:pt x="885" y="923"/>
                  </a:lnTo>
                  <a:lnTo>
                    <a:pt x="883" y="928"/>
                  </a:lnTo>
                  <a:lnTo>
                    <a:pt x="865" y="951"/>
                  </a:lnTo>
                  <a:lnTo>
                    <a:pt x="866" y="942"/>
                  </a:lnTo>
                  <a:lnTo>
                    <a:pt x="873" y="935"/>
                  </a:lnTo>
                  <a:lnTo>
                    <a:pt x="871" y="934"/>
                  </a:lnTo>
                  <a:lnTo>
                    <a:pt x="875" y="928"/>
                  </a:lnTo>
                  <a:close/>
                  <a:moveTo>
                    <a:pt x="834" y="1009"/>
                  </a:moveTo>
                  <a:lnTo>
                    <a:pt x="832" y="1017"/>
                  </a:lnTo>
                  <a:lnTo>
                    <a:pt x="832" y="1009"/>
                  </a:lnTo>
                  <a:lnTo>
                    <a:pt x="835" y="993"/>
                  </a:lnTo>
                  <a:lnTo>
                    <a:pt x="844" y="978"/>
                  </a:lnTo>
                  <a:lnTo>
                    <a:pt x="844" y="971"/>
                  </a:lnTo>
                  <a:lnTo>
                    <a:pt x="849" y="975"/>
                  </a:lnTo>
                  <a:lnTo>
                    <a:pt x="853" y="964"/>
                  </a:lnTo>
                  <a:lnTo>
                    <a:pt x="861" y="954"/>
                  </a:lnTo>
                  <a:lnTo>
                    <a:pt x="858" y="952"/>
                  </a:lnTo>
                  <a:lnTo>
                    <a:pt x="863" y="952"/>
                  </a:lnTo>
                  <a:lnTo>
                    <a:pt x="847" y="980"/>
                  </a:lnTo>
                  <a:lnTo>
                    <a:pt x="834" y="1009"/>
                  </a:lnTo>
                  <a:close/>
                  <a:moveTo>
                    <a:pt x="837" y="1082"/>
                  </a:moveTo>
                  <a:lnTo>
                    <a:pt x="832" y="1070"/>
                  </a:lnTo>
                  <a:lnTo>
                    <a:pt x="830" y="1058"/>
                  </a:lnTo>
                  <a:lnTo>
                    <a:pt x="829" y="1048"/>
                  </a:lnTo>
                  <a:lnTo>
                    <a:pt x="829" y="1028"/>
                  </a:lnTo>
                  <a:lnTo>
                    <a:pt x="830" y="1019"/>
                  </a:lnTo>
                  <a:lnTo>
                    <a:pt x="832" y="1017"/>
                  </a:lnTo>
                  <a:lnTo>
                    <a:pt x="830" y="1029"/>
                  </a:lnTo>
                  <a:lnTo>
                    <a:pt x="830" y="1045"/>
                  </a:lnTo>
                  <a:lnTo>
                    <a:pt x="832" y="1060"/>
                  </a:lnTo>
                  <a:lnTo>
                    <a:pt x="839" y="1082"/>
                  </a:lnTo>
                  <a:lnTo>
                    <a:pt x="844" y="1101"/>
                  </a:lnTo>
                  <a:lnTo>
                    <a:pt x="847" y="1118"/>
                  </a:lnTo>
                  <a:lnTo>
                    <a:pt x="849" y="1137"/>
                  </a:lnTo>
                  <a:lnTo>
                    <a:pt x="849" y="1139"/>
                  </a:lnTo>
                  <a:lnTo>
                    <a:pt x="846" y="1120"/>
                  </a:lnTo>
                  <a:lnTo>
                    <a:pt x="846" y="1110"/>
                  </a:lnTo>
                  <a:lnTo>
                    <a:pt x="842" y="1101"/>
                  </a:lnTo>
                  <a:lnTo>
                    <a:pt x="841" y="1096"/>
                  </a:lnTo>
                  <a:lnTo>
                    <a:pt x="841" y="1089"/>
                  </a:lnTo>
                  <a:lnTo>
                    <a:pt x="837" y="108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8" name="Freeform 167"/>
            <p:cNvSpPr>
              <a:spLocks/>
            </p:cNvSpPr>
            <p:nvPr/>
          </p:nvSpPr>
          <p:spPr bwMode="gray">
            <a:xfrm>
              <a:off x="3352023" y="3984814"/>
              <a:ext cx="954885" cy="988701"/>
            </a:xfrm>
            <a:custGeom>
              <a:avLst/>
              <a:gdLst/>
              <a:ahLst/>
              <a:cxnLst>
                <a:cxn ang="0">
                  <a:pos x="15" y="487"/>
                </a:cxn>
                <a:cxn ang="0">
                  <a:pos x="20" y="451"/>
                </a:cxn>
                <a:cxn ang="0">
                  <a:pos x="25" y="405"/>
                </a:cxn>
                <a:cxn ang="0">
                  <a:pos x="34" y="344"/>
                </a:cxn>
                <a:cxn ang="0">
                  <a:pos x="46" y="258"/>
                </a:cxn>
                <a:cxn ang="0">
                  <a:pos x="53" y="219"/>
                </a:cxn>
                <a:cxn ang="0">
                  <a:pos x="68" y="108"/>
                </a:cxn>
                <a:cxn ang="0">
                  <a:pos x="82" y="0"/>
                </a:cxn>
                <a:cxn ang="0">
                  <a:pos x="138" y="9"/>
                </a:cxn>
                <a:cxn ang="0">
                  <a:pos x="215" y="17"/>
                </a:cxn>
                <a:cxn ang="0">
                  <a:pos x="220" y="19"/>
                </a:cxn>
                <a:cxn ang="0">
                  <a:pos x="265" y="24"/>
                </a:cxn>
                <a:cxn ang="0">
                  <a:pos x="266" y="26"/>
                </a:cxn>
                <a:cxn ang="0">
                  <a:pos x="299" y="29"/>
                </a:cxn>
                <a:cxn ang="0">
                  <a:pos x="340" y="33"/>
                </a:cxn>
                <a:cxn ang="0">
                  <a:pos x="364" y="34"/>
                </a:cxn>
                <a:cxn ang="0">
                  <a:pos x="407" y="39"/>
                </a:cxn>
                <a:cxn ang="0">
                  <a:pos x="412" y="39"/>
                </a:cxn>
                <a:cxn ang="0">
                  <a:pos x="509" y="48"/>
                </a:cxn>
                <a:cxn ang="0">
                  <a:pos x="586" y="55"/>
                </a:cxn>
                <a:cxn ang="0">
                  <a:pos x="593" y="55"/>
                </a:cxn>
                <a:cxn ang="0">
                  <a:pos x="589" y="109"/>
                </a:cxn>
                <a:cxn ang="0">
                  <a:pos x="588" y="109"/>
                </a:cxn>
                <a:cxn ang="0">
                  <a:pos x="584" y="156"/>
                </a:cxn>
                <a:cxn ang="0">
                  <a:pos x="581" y="190"/>
                </a:cxn>
                <a:cxn ang="0">
                  <a:pos x="581" y="203"/>
                </a:cxn>
                <a:cxn ang="0">
                  <a:pos x="576" y="251"/>
                </a:cxn>
                <a:cxn ang="0">
                  <a:pos x="576" y="274"/>
                </a:cxn>
                <a:cxn ang="0">
                  <a:pos x="574" y="297"/>
                </a:cxn>
                <a:cxn ang="0">
                  <a:pos x="569" y="344"/>
                </a:cxn>
                <a:cxn ang="0">
                  <a:pos x="566" y="397"/>
                </a:cxn>
                <a:cxn ang="0">
                  <a:pos x="562" y="424"/>
                </a:cxn>
                <a:cxn ang="0">
                  <a:pos x="560" y="444"/>
                </a:cxn>
                <a:cxn ang="0">
                  <a:pos x="557" y="489"/>
                </a:cxn>
                <a:cxn ang="0">
                  <a:pos x="552" y="537"/>
                </a:cxn>
                <a:cxn ang="0">
                  <a:pos x="550" y="583"/>
                </a:cxn>
                <a:cxn ang="0">
                  <a:pos x="548" y="591"/>
                </a:cxn>
                <a:cxn ang="0">
                  <a:pos x="525" y="590"/>
                </a:cxn>
                <a:cxn ang="0">
                  <a:pos x="489" y="586"/>
                </a:cxn>
                <a:cxn ang="0">
                  <a:pos x="465" y="585"/>
                </a:cxn>
                <a:cxn ang="0">
                  <a:pos x="461" y="585"/>
                </a:cxn>
                <a:cxn ang="0">
                  <a:pos x="386" y="578"/>
                </a:cxn>
                <a:cxn ang="0">
                  <a:pos x="379" y="578"/>
                </a:cxn>
                <a:cxn ang="0">
                  <a:pos x="282" y="567"/>
                </a:cxn>
                <a:cxn ang="0">
                  <a:pos x="249" y="564"/>
                </a:cxn>
                <a:cxn ang="0">
                  <a:pos x="227" y="562"/>
                </a:cxn>
                <a:cxn ang="0">
                  <a:pos x="224" y="564"/>
                </a:cxn>
                <a:cxn ang="0">
                  <a:pos x="225" y="564"/>
                </a:cxn>
                <a:cxn ang="0">
                  <a:pos x="225" y="571"/>
                </a:cxn>
                <a:cxn ang="0">
                  <a:pos x="224" y="573"/>
                </a:cxn>
                <a:cxn ang="0">
                  <a:pos x="225" y="578"/>
                </a:cxn>
                <a:cxn ang="0">
                  <a:pos x="225" y="581"/>
                </a:cxn>
                <a:cxn ang="0">
                  <a:pos x="232" y="585"/>
                </a:cxn>
                <a:cxn ang="0">
                  <a:pos x="164" y="578"/>
                </a:cxn>
                <a:cxn ang="0">
                  <a:pos x="82" y="567"/>
                </a:cxn>
                <a:cxn ang="0">
                  <a:pos x="75" y="614"/>
                </a:cxn>
                <a:cxn ang="0">
                  <a:pos x="0" y="603"/>
                </a:cxn>
                <a:cxn ang="0">
                  <a:pos x="15" y="487"/>
                </a:cxn>
              </a:cxnLst>
              <a:rect l="0" t="0" r="r" b="b"/>
              <a:pathLst>
                <a:path w="593" h="614">
                  <a:moveTo>
                    <a:pt x="15" y="487"/>
                  </a:moveTo>
                  <a:lnTo>
                    <a:pt x="20" y="451"/>
                  </a:lnTo>
                  <a:lnTo>
                    <a:pt x="25" y="405"/>
                  </a:lnTo>
                  <a:lnTo>
                    <a:pt x="34" y="344"/>
                  </a:lnTo>
                  <a:lnTo>
                    <a:pt x="46" y="258"/>
                  </a:lnTo>
                  <a:lnTo>
                    <a:pt x="53" y="219"/>
                  </a:lnTo>
                  <a:lnTo>
                    <a:pt x="68" y="108"/>
                  </a:lnTo>
                  <a:lnTo>
                    <a:pt x="82" y="0"/>
                  </a:lnTo>
                  <a:lnTo>
                    <a:pt x="138" y="9"/>
                  </a:lnTo>
                  <a:lnTo>
                    <a:pt x="215" y="17"/>
                  </a:lnTo>
                  <a:lnTo>
                    <a:pt x="220" y="19"/>
                  </a:lnTo>
                  <a:lnTo>
                    <a:pt x="265" y="24"/>
                  </a:lnTo>
                  <a:lnTo>
                    <a:pt x="266" y="26"/>
                  </a:lnTo>
                  <a:lnTo>
                    <a:pt x="299" y="29"/>
                  </a:lnTo>
                  <a:lnTo>
                    <a:pt x="340" y="33"/>
                  </a:lnTo>
                  <a:lnTo>
                    <a:pt x="364" y="34"/>
                  </a:lnTo>
                  <a:lnTo>
                    <a:pt x="407" y="39"/>
                  </a:lnTo>
                  <a:lnTo>
                    <a:pt x="412" y="39"/>
                  </a:lnTo>
                  <a:lnTo>
                    <a:pt x="509" y="48"/>
                  </a:lnTo>
                  <a:lnTo>
                    <a:pt x="586" y="55"/>
                  </a:lnTo>
                  <a:lnTo>
                    <a:pt x="593" y="55"/>
                  </a:lnTo>
                  <a:lnTo>
                    <a:pt x="589" y="109"/>
                  </a:lnTo>
                  <a:lnTo>
                    <a:pt x="588" y="109"/>
                  </a:lnTo>
                  <a:lnTo>
                    <a:pt x="584" y="156"/>
                  </a:lnTo>
                  <a:lnTo>
                    <a:pt x="581" y="190"/>
                  </a:lnTo>
                  <a:lnTo>
                    <a:pt x="581" y="203"/>
                  </a:lnTo>
                  <a:lnTo>
                    <a:pt x="576" y="251"/>
                  </a:lnTo>
                  <a:lnTo>
                    <a:pt x="576" y="274"/>
                  </a:lnTo>
                  <a:lnTo>
                    <a:pt x="574" y="297"/>
                  </a:lnTo>
                  <a:lnTo>
                    <a:pt x="569" y="344"/>
                  </a:lnTo>
                  <a:lnTo>
                    <a:pt x="566" y="397"/>
                  </a:lnTo>
                  <a:lnTo>
                    <a:pt x="562" y="424"/>
                  </a:lnTo>
                  <a:lnTo>
                    <a:pt x="560" y="444"/>
                  </a:lnTo>
                  <a:lnTo>
                    <a:pt x="557" y="489"/>
                  </a:lnTo>
                  <a:lnTo>
                    <a:pt x="552" y="537"/>
                  </a:lnTo>
                  <a:lnTo>
                    <a:pt x="550" y="583"/>
                  </a:lnTo>
                  <a:lnTo>
                    <a:pt x="548" y="591"/>
                  </a:lnTo>
                  <a:lnTo>
                    <a:pt x="525" y="590"/>
                  </a:lnTo>
                  <a:lnTo>
                    <a:pt x="489" y="586"/>
                  </a:lnTo>
                  <a:lnTo>
                    <a:pt x="465" y="585"/>
                  </a:lnTo>
                  <a:lnTo>
                    <a:pt x="461" y="585"/>
                  </a:lnTo>
                  <a:lnTo>
                    <a:pt x="386" y="578"/>
                  </a:lnTo>
                  <a:lnTo>
                    <a:pt x="379" y="578"/>
                  </a:lnTo>
                  <a:lnTo>
                    <a:pt x="282" y="567"/>
                  </a:lnTo>
                  <a:lnTo>
                    <a:pt x="249" y="564"/>
                  </a:lnTo>
                  <a:lnTo>
                    <a:pt x="227" y="562"/>
                  </a:lnTo>
                  <a:lnTo>
                    <a:pt x="224" y="564"/>
                  </a:lnTo>
                  <a:lnTo>
                    <a:pt x="225" y="564"/>
                  </a:lnTo>
                  <a:lnTo>
                    <a:pt x="225" y="571"/>
                  </a:lnTo>
                  <a:lnTo>
                    <a:pt x="224" y="573"/>
                  </a:lnTo>
                  <a:lnTo>
                    <a:pt x="225" y="578"/>
                  </a:lnTo>
                  <a:lnTo>
                    <a:pt x="225" y="581"/>
                  </a:lnTo>
                  <a:lnTo>
                    <a:pt x="232" y="585"/>
                  </a:lnTo>
                  <a:lnTo>
                    <a:pt x="164" y="578"/>
                  </a:lnTo>
                  <a:lnTo>
                    <a:pt x="82" y="567"/>
                  </a:lnTo>
                  <a:lnTo>
                    <a:pt x="75" y="614"/>
                  </a:lnTo>
                  <a:lnTo>
                    <a:pt x="0" y="603"/>
                  </a:lnTo>
                  <a:lnTo>
                    <a:pt x="15" y="487"/>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69" name="Freeform 168"/>
            <p:cNvSpPr>
              <a:spLocks/>
            </p:cNvSpPr>
            <p:nvPr/>
          </p:nvSpPr>
          <p:spPr bwMode="gray">
            <a:xfrm>
              <a:off x="6359992" y="4377718"/>
              <a:ext cx="528166" cy="853439"/>
            </a:xfrm>
            <a:custGeom>
              <a:avLst/>
              <a:gdLst/>
              <a:ahLst/>
              <a:cxnLst>
                <a:cxn ang="0">
                  <a:pos x="304" y="330"/>
                </a:cxn>
                <a:cxn ang="0">
                  <a:pos x="308" y="344"/>
                </a:cxn>
                <a:cxn ang="0">
                  <a:pos x="314" y="354"/>
                </a:cxn>
                <a:cxn ang="0">
                  <a:pos x="316" y="370"/>
                </a:cxn>
                <a:cxn ang="0">
                  <a:pos x="316" y="385"/>
                </a:cxn>
                <a:cxn ang="0">
                  <a:pos x="316" y="397"/>
                </a:cxn>
                <a:cxn ang="0">
                  <a:pos x="319" y="404"/>
                </a:cxn>
                <a:cxn ang="0">
                  <a:pos x="328" y="421"/>
                </a:cxn>
                <a:cxn ang="0">
                  <a:pos x="234" y="431"/>
                </a:cxn>
                <a:cxn ang="0">
                  <a:pos x="173" y="438"/>
                </a:cxn>
                <a:cxn ang="0">
                  <a:pos x="90" y="445"/>
                </a:cxn>
                <a:cxn ang="0">
                  <a:pos x="90" y="460"/>
                </a:cxn>
                <a:cxn ang="0">
                  <a:pos x="106" y="476"/>
                </a:cxn>
                <a:cxn ang="0">
                  <a:pos x="113" y="484"/>
                </a:cxn>
                <a:cxn ang="0">
                  <a:pos x="111" y="498"/>
                </a:cxn>
                <a:cxn ang="0">
                  <a:pos x="97" y="517"/>
                </a:cxn>
                <a:cxn ang="0">
                  <a:pos x="60" y="530"/>
                </a:cxn>
                <a:cxn ang="0">
                  <a:pos x="68" y="508"/>
                </a:cxn>
                <a:cxn ang="0">
                  <a:pos x="48" y="520"/>
                </a:cxn>
                <a:cxn ang="0">
                  <a:pos x="17" y="479"/>
                </a:cxn>
                <a:cxn ang="0">
                  <a:pos x="8" y="405"/>
                </a:cxn>
                <a:cxn ang="0">
                  <a:pos x="3" y="320"/>
                </a:cxn>
                <a:cxn ang="0">
                  <a:pos x="5" y="245"/>
                </a:cxn>
                <a:cxn ang="0">
                  <a:pos x="7" y="178"/>
                </a:cxn>
                <a:cxn ang="0">
                  <a:pos x="8" y="118"/>
                </a:cxn>
                <a:cxn ang="0">
                  <a:pos x="8" y="65"/>
                </a:cxn>
                <a:cxn ang="0">
                  <a:pos x="5" y="28"/>
                </a:cxn>
                <a:cxn ang="0">
                  <a:pos x="19" y="18"/>
                </a:cxn>
                <a:cxn ang="0">
                  <a:pos x="85" y="12"/>
                </a:cxn>
                <a:cxn ang="0">
                  <a:pos x="164" y="6"/>
                </a:cxn>
                <a:cxn ang="0">
                  <a:pos x="225" y="0"/>
                </a:cxn>
                <a:cxn ang="0">
                  <a:pos x="237" y="43"/>
                </a:cxn>
                <a:cxn ang="0">
                  <a:pos x="253" y="94"/>
                </a:cxn>
                <a:cxn ang="0">
                  <a:pos x="265" y="141"/>
                </a:cxn>
                <a:cxn ang="0">
                  <a:pos x="280" y="195"/>
                </a:cxn>
                <a:cxn ang="0">
                  <a:pos x="290" y="229"/>
                </a:cxn>
                <a:cxn ang="0">
                  <a:pos x="296" y="236"/>
                </a:cxn>
                <a:cxn ang="0">
                  <a:pos x="299" y="243"/>
                </a:cxn>
                <a:cxn ang="0">
                  <a:pos x="301" y="250"/>
                </a:cxn>
                <a:cxn ang="0">
                  <a:pos x="311" y="265"/>
                </a:cxn>
                <a:cxn ang="0">
                  <a:pos x="311" y="272"/>
                </a:cxn>
                <a:cxn ang="0">
                  <a:pos x="311" y="279"/>
                </a:cxn>
                <a:cxn ang="0">
                  <a:pos x="321" y="284"/>
                </a:cxn>
                <a:cxn ang="0">
                  <a:pos x="319" y="289"/>
                </a:cxn>
                <a:cxn ang="0">
                  <a:pos x="316" y="293"/>
                </a:cxn>
                <a:cxn ang="0">
                  <a:pos x="309" y="301"/>
                </a:cxn>
                <a:cxn ang="0">
                  <a:pos x="309" y="310"/>
                </a:cxn>
              </a:cxnLst>
              <a:rect l="0" t="0" r="r" b="b"/>
              <a:pathLst>
                <a:path w="328" h="530">
                  <a:moveTo>
                    <a:pt x="309" y="317"/>
                  </a:moveTo>
                  <a:lnTo>
                    <a:pt x="306" y="325"/>
                  </a:lnTo>
                  <a:lnTo>
                    <a:pt x="304" y="330"/>
                  </a:lnTo>
                  <a:lnTo>
                    <a:pt x="306" y="339"/>
                  </a:lnTo>
                  <a:lnTo>
                    <a:pt x="306" y="339"/>
                  </a:lnTo>
                  <a:lnTo>
                    <a:pt x="308" y="344"/>
                  </a:lnTo>
                  <a:lnTo>
                    <a:pt x="308" y="346"/>
                  </a:lnTo>
                  <a:lnTo>
                    <a:pt x="309" y="349"/>
                  </a:lnTo>
                  <a:lnTo>
                    <a:pt x="314" y="354"/>
                  </a:lnTo>
                  <a:lnTo>
                    <a:pt x="316" y="361"/>
                  </a:lnTo>
                  <a:lnTo>
                    <a:pt x="318" y="366"/>
                  </a:lnTo>
                  <a:lnTo>
                    <a:pt x="316" y="370"/>
                  </a:lnTo>
                  <a:lnTo>
                    <a:pt x="316" y="375"/>
                  </a:lnTo>
                  <a:lnTo>
                    <a:pt x="314" y="382"/>
                  </a:lnTo>
                  <a:lnTo>
                    <a:pt x="316" y="385"/>
                  </a:lnTo>
                  <a:lnTo>
                    <a:pt x="316" y="388"/>
                  </a:lnTo>
                  <a:lnTo>
                    <a:pt x="314" y="392"/>
                  </a:lnTo>
                  <a:lnTo>
                    <a:pt x="316" y="397"/>
                  </a:lnTo>
                  <a:lnTo>
                    <a:pt x="316" y="400"/>
                  </a:lnTo>
                  <a:lnTo>
                    <a:pt x="316" y="404"/>
                  </a:lnTo>
                  <a:lnTo>
                    <a:pt x="319" y="404"/>
                  </a:lnTo>
                  <a:lnTo>
                    <a:pt x="323" y="407"/>
                  </a:lnTo>
                  <a:lnTo>
                    <a:pt x="325" y="412"/>
                  </a:lnTo>
                  <a:lnTo>
                    <a:pt x="328" y="421"/>
                  </a:lnTo>
                  <a:lnTo>
                    <a:pt x="284" y="426"/>
                  </a:lnTo>
                  <a:lnTo>
                    <a:pt x="284" y="426"/>
                  </a:lnTo>
                  <a:lnTo>
                    <a:pt x="234" y="431"/>
                  </a:lnTo>
                  <a:lnTo>
                    <a:pt x="220" y="433"/>
                  </a:lnTo>
                  <a:lnTo>
                    <a:pt x="202" y="435"/>
                  </a:lnTo>
                  <a:lnTo>
                    <a:pt x="173" y="438"/>
                  </a:lnTo>
                  <a:lnTo>
                    <a:pt x="166" y="438"/>
                  </a:lnTo>
                  <a:lnTo>
                    <a:pt x="130" y="441"/>
                  </a:lnTo>
                  <a:lnTo>
                    <a:pt x="90" y="445"/>
                  </a:lnTo>
                  <a:lnTo>
                    <a:pt x="92" y="450"/>
                  </a:lnTo>
                  <a:lnTo>
                    <a:pt x="89" y="458"/>
                  </a:lnTo>
                  <a:lnTo>
                    <a:pt x="90" y="460"/>
                  </a:lnTo>
                  <a:lnTo>
                    <a:pt x="97" y="467"/>
                  </a:lnTo>
                  <a:lnTo>
                    <a:pt x="99" y="470"/>
                  </a:lnTo>
                  <a:lnTo>
                    <a:pt x="106" y="476"/>
                  </a:lnTo>
                  <a:lnTo>
                    <a:pt x="109" y="476"/>
                  </a:lnTo>
                  <a:lnTo>
                    <a:pt x="111" y="479"/>
                  </a:lnTo>
                  <a:lnTo>
                    <a:pt x="113" y="484"/>
                  </a:lnTo>
                  <a:lnTo>
                    <a:pt x="111" y="491"/>
                  </a:lnTo>
                  <a:lnTo>
                    <a:pt x="109" y="493"/>
                  </a:lnTo>
                  <a:lnTo>
                    <a:pt x="111" y="498"/>
                  </a:lnTo>
                  <a:lnTo>
                    <a:pt x="113" y="503"/>
                  </a:lnTo>
                  <a:lnTo>
                    <a:pt x="109" y="511"/>
                  </a:lnTo>
                  <a:lnTo>
                    <a:pt x="97" y="517"/>
                  </a:lnTo>
                  <a:lnTo>
                    <a:pt x="97" y="522"/>
                  </a:lnTo>
                  <a:lnTo>
                    <a:pt x="79" y="529"/>
                  </a:lnTo>
                  <a:lnTo>
                    <a:pt x="60" y="530"/>
                  </a:lnTo>
                  <a:lnTo>
                    <a:pt x="80" y="523"/>
                  </a:lnTo>
                  <a:lnTo>
                    <a:pt x="82" y="520"/>
                  </a:lnTo>
                  <a:lnTo>
                    <a:pt x="68" y="508"/>
                  </a:lnTo>
                  <a:lnTo>
                    <a:pt x="65" y="488"/>
                  </a:lnTo>
                  <a:lnTo>
                    <a:pt x="55" y="476"/>
                  </a:lnTo>
                  <a:lnTo>
                    <a:pt x="48" y="520"/>
                  </a:lnTo>
                  <a:lnTo>
                    <a:pt x="29" y="513"/>
                  </a:lnTo>
                  <a:lnTo>
                    <a:pt x="22" y="515"/>
                  </a:lnTo>
                  <a:lnTo>
                    <a:pt x="17" y="479"/>
                  </a:lnTo>
                  <a:lnTo>
                    <a:pt x="14" y="452"/>
                  </a:lnTo>
                  <a:lnTo>
                    <a:pt x="12" y="438"/>
                  </a:lnTo>
                  <a:lnTo>
                    <a:pt x="8" y="405"/>
                  </a:lnTo>
                  <a:lnTo>
                    <a:pt x="5" y="376"/>
                  </a:lnTo>
                  <a:lnTo>
                    <a:pt x="3" y="356"/>
                  </a:lnTo>
                  <a:lnTo>
                    <a:pt x="3" y="320"/>
                  </a:lnTo>
                  <a:lnTo>
                    <a:pt x="3" y="311"/>
                  </a:lnTo>
                  <a:lnTo>
                    <a:pt x="3" y="282"/>
                  </a:lnTo>
                  <a:lnTo>
                    <a:pt x="5" y="245"/>
                  </a:lnTo>
                  <a:lnTo>
                    <a:pt x="5" y="238"/>
                  </a:lnTo>
                  <a:lnTo>
                    <a:pt x="5" y="206"/>
                  </a:lnTo>
                  <a:lnTo>
                    <a:pt x="7" y="178"/>
                  </a:lnTo>
                  <a:lnTo>
                    <a:pt x="7" y="156"/>
                  </a:lnTo>
                  <a:lnTo>
                    <a:pt x="8" y="122"/>
                  </a:lnTo>
                  <a:lnTo>
                    <a:pt x="8" y="118"/>
                  </a:lnTo>
                  <a:lnTo>
                    <a:pt x="8" y="93"/>
                  </a:lnTo>
                  <a:lnTo>
                    <a:pt x="8" y="77"/>
                  </a:lnTo>
                  <a:lnTo>
                    <a:pt x="8" y="65"/>
                  </a:lnTo>
                  <a:lnTo>
                    <a:pt x="10" y="31"/>
                  </a:lnTo>
                  <a:lnTo>
                    <a:pt x="8" y="31"/>
                  </a:lnTo>
                  <a:lnTo>
                    <a:pt x="5" y="28"/>
                  </a:lnTo>
                  <a:lnTo>
                    <a:pt x="0" y="19"/>
                  </a:lnTo>
                  <a:lnTo>
                    <a:pt x="0" y="19"/>
                  </a:lnTo>
                  <a:lnTo>
                    <a:pt x="19" y="18"/>
                  </a:lnTo>
                  <a:lnTo>
                    <a:pt x="51" y="14"/>
                  </a:lnTo>
                  <a:lnTo>
                    <a:pt x="85" y="12"/>
                  </a:lnTo>
                  <a:lnTo>
                    <a:pt x="85" y="12"/>
                  </a:lnTo>
                  <a:lnTo>
                    <a:pt x="120" y="11"/>
                  </a:lnTo>
                  <a:lnTo>
                    <a:pt x="123" y="9"/>
                  </a:lnTo>
                  <a:lnTo>
                    <a:pt x="164" y="6"/>
                  </a:lnTo>
                  <a:lnTo>
                    <a:pt x="164" y="6"/>
                  </a:lnTo>
                  <a:lnTo>
                    <a:pt x="203" y="2"/>
                  </a:lnTo>
                  <a:lnTo>
                    <a:pt x="225" y="0"/>
                  </a:lnTo>
                  <a:lnTo>
                    <a:pt x="229" y="14"/>
                  </a:lnTo>
                  <a:lnTo>
                    <a:pt x="236" y="38"/>
                  </a:lnTo>
                  <a:lnTo>
                    <a:pt x="237" y="43"/>
                  </a:lnTo>
                  <a:lnTo>
                    <a:pt x="239" y="48"/>
                  </a:lnTo>
                  <a:lnTo>
                    <a:pt x="246" y="74"/>
                  </a:lnTo>
                  <a:lnTo>
                    <a:pt x="253" y="94"/>
                  </a:lnTo>
                  <a:lnTo>
                    <a:pt x="256" y="108"/>
                  </a:lnTo>
                  <a:lnTo>
                    <a:pt x="258" y="113"/>
                  </a:lnTo>
                  <a:lnTo>
                    <a:pt x="265" y="141"/>
                  </a:lnTo>
                  <a:lnTo>
                    <a:pt x="270" y="158"/>
                  </a:lnTo>
                  <a:lnTo>
                    <a:pt x="272" y="165"/>
                  </a:lnTo>
                  <a:lnTo>
                    <a:pt x="280" y="195"/>
                  </a:lnTo>
                  <a:lnTo>
                    <a:pt x="280" y="197"/>
                  </a:lnTo>
                  <a:lnTo>
                    <a:pt x="289" y="223"/>
                  </a:lnTo>
                  <a:lnTo>
                    <a:pt x="290" y="229"/>
                  </a:lnTo>
                  <a:lnTo>
                    <a:pt x="294" y="233"/>
                  </a:lnTo>
                  <a:lnTo>
                    <a:pt x="294" y="235"/>
                  </a:lnTo>
                  <a:lnTo>
                    <a:pt x="296" y="236"/>
                  </a:lnTo>
                  <a:lnTo>
                    <a:pt x="296" y="236"/>
                  </a:lnTo>
                  <a:lnTo>
                    <a:pt x="297" y="241"/>
                  </a:lnTo>
                  <a:lnTo>
                    <a:pt x="299" y="243"/>
                  </a:lnTo>
                  <a:lnTo>
                    <a:pt x="297" y="247"/>
                  </a:lnTo>
                  <a:lnTo>
                    <a:pt x="299" y="248"/>
                  </a:lnTo>
                  <a:lnTo>
                    <a:pt x="301" y="250"/>
                  </a:lnTo>
                  <a:lnTo>
                    <a:pt x="302" y="252"/>
                  </a:lnTo>
                  <a:lnTo>
                    <a:pt x="309" y="259"/>
                  </a:lnTo>
                  <a:lnTo>
                    <a:pt x="311" y="265"/>
                  </a:lnTo>
                  <a:lnTo>
                    <a:pt x="313" y="267"/>
                  </a:lnTo>
                  <a:lnTo>
                    <a:pt x="313" y="270"/>
                  </a:lnTo>
                  <a:lnTo>
                    <a:pt x="311" y="272"/>
                  </a:lnTo>
                  <a:lnTo>
                    <a:pt x="313" y="274"/>
                  </a:lnTo>
                  <a:lnTo>
                    <a:pt x="311" y="277"/>
                  </a:lnTo>
                  <a:lnTo>
                    <a:pt x="311" y="279"/>
                  </a:lnTo>
                  <a:lnTo>
                    <a:pt x="318" y="282"/>
                  </a:lnTo>
                  <a:lnTo>
                    <a:pt x="321" y="284"/>
                  </a:lnTo>
                  <a:lnTo>
                    <a:pt x="321" y="284"/>
                  </a:lnTo>
                  <a:lnTo>
                    <a:pt x="321" y="286"/>
                  </a:lnTo>
                  <a:lnTo>
                    <a:pt x="319" y="286"/>
                  </a:lnTo>
                  <a:lnTo>
                    <a:pt x="319" y="289"/>
                  </a:lnTo>
                  <a:lnTo>
                    <a:pt x="319" y="289"/>
                  </a:lnTo>
                  <a:lnTo>
                    <a:pt x="314" y="291"/>
                  </a:lnTo>
                  <a:lnTo>
                    <a:pt x="316" y="293"/>
                  </a:lnTo>
                  <a:lnTo>
                    <a:pt x="313" y="294"/>
                  </a:lnTo>
                  <a:lnTo>
                    <a:pt x="311" y="296"/>
                  </a:lnTo>
                  <a:lnTo>
                    <a:pt x="309" y="301"/>
                  </a:lnTo>
                  <a:lnTo>
                    <a:pt x="309" y="305"/>
                  </a:lnTo>
                  <a:lnTo>
                    <a:pt x="309" y="306"/>
                  </a:lnTo>
                  <a:lnTo>
                    <a:pt x="309" y="310"/>
                  </a:lnTo>
                  <a:lnTo>
                    <a:pt x="309" y="313"/>
                  </a:lnTo>
                  <a:lnTo>
                    <a:pt x="309" y="317"/>
                  </a:lnTo>
                  <a:close/>
                </a:path>
              </a:pathLst>
            </a:custGeom>
            <a:grpFill/>
            <a:ln w="28575" cap="flat" cmpd="sng">
              <a:solidFill>
                <a:sysClr val="window" lastClr="FFFFFF"/>
              </a:solidFill>
              <a:prstDash val="solid"/>
              <a:round/>
              <a:headEnd type="none" w="med" len="med"/>
              <a:tailEnd type="none" w="med" len="me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0" name="Freeform 169"/>
            <p:cNvSpPr>
              <a:spLocks/>
            </p:cNvSpPr>
            <p:nvPr/>
          </p:nvSpPr>
          <p:spPr bwMode="gray">
            <a:xfrm>
              <a:off x="5905898" y="4408313"/>
              <a:ext cx="489519" cy="848609"/>
            </a:xfrm>
            <a:custGeom>
              <a:avLst/>
              <a:gdLst/>
              <a:ahLst/>
              <a:cxnLst>
                <a:cxn ang="0">
                  <a:pos x="299" y="504"/>
                </a:cxn>
                <a:cxn ang="0">
                  <a:pos x="224" y="504"/>
                </a:cxn>
                <a:cxn ang="0">
                  <a:pos x="193" y="521"/>
                </a:cxn>
                <a:cxn ang="0">
                  <a:pos x="191" y="510"/>
                </a:cxn>
                <a:cxn ang="0">
                  <a:pos x="184" y="498"/>
                </a:cxn>
                <a:cxn ang="0">
                  <a:pos x="174" y="489"/>
                </a:cxn>
                <a:cxn ang="0">
                  <a:pos x="169" y="475"/>
                </a:cxn>
                <a:cxn ang="0">
                  <a:pos x="171" y="469"/>
                </a:cxn>
                <a:cxn ang="0">
                  <a:pos x="174" y="457"/>
                </a:cxn>
                <a:cxn ang="0">
                  <a:pos x="176" y="445"/>
                </a:cxn>
                <a:cxn ang="0">
                  <a:pos x="121" y="443"/>
                </a:cxn>
                <a:cxn ang="0">
                  <a:pos x="3" y="450"/>
                </a:cxn>
                <a:cxn ang="0">
                  <a:pos x="2" y="424"/>
                </a:cxn>
                <a:cxn ang="0">
                  <a:pos x="8" y="412"/>
                </a:cxn>
                <a:cxn ang="0">
                  <a:pos x="10" y="407"/>
                </a:cxn>
                <a:cxn ang="0">
                  <a:pos x="12" y="393"/>
                </a:cxn>
                <a:cxn ang="0">
                  <a:pos x="10" y="383"/>
                </a:cxn>
                <a:cxn ang="0">
                  <a:pos x="24" y="369"/>
                </a:cxn>
                <a:cxn ang="0">
                  <a:pos x="24" y="366"/>
                </a:cxn>
                <a:cxn ang="0">
                  <a:pos x="34" y="359"/>
                </a:cxn>
                <a:cxn ang="0">
                  <a:pos x="48" y="337"/>
                </a:cxn>
                <a:cxn ang="0">
                  <a:pos x="48" y="330"/>
                </a:cxn>
                <a:cxn ang="0">
                  <a:pos x="49" y="327"/>
                </a:cxn>
                <a:cxn ang="0">
                  <a:pos x="44" y="318"/>
                </a:cxn>
                <a:cxn ang="0">
                  <a:pos x="55" y="308"/>
                </a:cxn>
                <a:cxn ang="0">
                  <a:pos x="55" y="303"/>
                </a:cxn>
                <a:cxn ang="0">
                  <a:pos x="48" y="292"/>
                </a:cxn>
                <a:cxn ang="0">
                  <a:pos x="53" y="286"/>
                </a:cxn>
                <a:cxn ang="0">
                  <a:pos x="51" y="272"/>
                </a:cxn>
                <a:cxn ang="0">
                  <a:pos x="46" y="263"/>
                </a:cxn>
                <a:cxn ang="0">
                  <a:pos x="41" y="234"/>
                </a:cxn>
                <a:cxn ang="0">
                  <a:pos x="31" y="241"/>
                </a:cxn>
                <a:cxn ang="0">
                  <a:pos x="36" y="224"/>
                </a:cxn>
                <a:cxn ang="0">
                  <a:pos x="39" y="209"/>
                </a:cxn>
                <a:cxn ang="0">
                  <a:pos x="36" y="198"/>
                </a:cxn>
                <a:cxn ang="0">
                  <a:pos x="39" y="183"/>
                </a:cxn>
                <a:cxn ang="0">
                  <a:pos x="36" y="185"/>
                </a:cxn>
                <a:cxn ang="0">
                  <a:pos x="26" y="187"/>
                </a:cxn>
                <a:cxn ang="0">
                  <a:pos x="26" y="175"/>
                </a:cxn>
                <a:cxn ang="0">
                  <a:pos x="27" y="159"/>
                </a:cxn>
                <a:cxn ang="0">
                  <a:pos x="41" y="156"/>
                </a:cxn>
                <a:cxn ang="0">
                  <a:pos x="39" y="149"/>
                </a:cxn>
                <a:cxn ang="0">
                  <a:pos x="39" y="142"/>
                </a:cxn>
                <a:cxn ang="0">
                  <a:pos x="43" y="127"/>
                </a:cxn>
                <a:cxn ang="0">
                  <a:pos x="48" y="122"/>
                </a:cxn>
                <a:cxn ang="0">
                  <a:pos x="56" y="110"/>
                </a:cxn>
                <a:cxn ang="0">
                  <a:pos x="55" y="101"/>
                </a:cxn>
                <a:cxn ang="0">
                  <a:pos x="63" y="86"/>
                </a:cxn>
                <a:cxn ang="0">
                  <a:pos x="72" y="84"/>
                </a:cxn>
                <a:cxn ang="0">
                  <a:pos x="82" y="65"/>
                </a:cxn>
                <a:cxn ang="0">
                  <a:pos x="80" y="53"/>
                </a:cxn>
                <a:cxn ang="0">
                  <a:pos x="79" y="38"/>
                </a:cxn>
                <a:cxn ang="0">
                  <a:pos x="85" y="45"/>
                </a:cxn>
                <a:cxn ang="0">
                  <a:pos x="87" y="28"/>
                </a:cxn>
                <a:cxn ang="0">
                  <a:pos x="101" y="31"/>
                </a:cxn>
                <a:cxn ang="0">
                  <a:pos x="99" y="17"/>
                </a:cxn>
                <a:cxn ang="0">
                  <a:pos x="229" y="5"/>
                </a:cxn>
                <a:cxn ang="0">
                  <a:pos x="292" y="12"/>
                </a:cxn>
                <a:cxn ang="0">
                  <a:pos x="289" y="159"/>
                </a:cxn>
                <a:cxn ang="0">
                  <a:pos x="285" y="337"/>
                </a:cxn>
              </a:cxnLst>
              <a:rect l="0" t="0" r="r" b="b"/>
              <a:pathLst>
                <a:path w="304" h="527">
                  <a:moveTo>
                    <a:pt x="290" y="386"/>
                  </a:moveTo>
                  <a:lnTo>
                    <a:pt x="294" y="419"/>
                  </a:lnTo>
                  <a:lnTo>
                    <a:pt x="296" y="433"/>
                  </a:lnTo>
                  <a:lnTo>
                    <a:pt x="299" y="460"/>
                  </a:lnTo>
                  <a:lnTo>
                    <a:pt x="304" y="496"/>
                  </a:lnTo>
                  <a:lnTo>
                    <a:pt x="304" y="501"/>
                  </a:lnTo>
                  <a:lnTo>
                    <a:pt x="299" y="504"/>
                  </a:lnTo>
                  <a:lnTo>
                    <a:pt x="287" y="499"/>
                  </a:lnTo>
                  <a:lnTo>
                    <a:pt x="278" y="504"/>
                  </a:lnTo>
                  <a:lnTo>
                    <a:pt x="260" y="496"/>
                  </a:lnTo>
                  <a:lnTo>
                    <a:pt x="255" y="498"/>
                  </a:lnTo>
                  <a:lnTo>
                    <a:pt x="260" y="499"/>
                  </a:lnTo>
                  <a:lnTo>
                    <a:pt x="224" y="511"/>
                  </a:lnTo>
                  <a:lnTo>
                    <a:pt x="224" y="504"/>
                  </a:lnTo>
                  <a:lnTo>
                    <a:pt x="219" y="504"/>
                  </a:lnTo>
                  <a:lnTo>
                    <a:pt x="215" y="506"/>
                  </a:lnTo>
                  <a:lnTo>
                    <a:pt x="220" y="511"/>
                  </a:lnTo>
                  <a:lnTo>
                    <a:pt x="212" y="518"/>
                  </a:lnTo>
                  <a:lnTo>
                    <a:pt x="210" y="525"/>
                  </a:lnTo>
                  <a:lnTo>
                    <a:pt x="196" y="527"/>
                  </a:lnTo>
                  <a:lnTo>
                    <a:pt x="193" y="521"/>
                  </a:lnTo>
                  <a:lnTo>
                    <a:pt x="193" y="520"/>
                  </a:lnTo>
                  <a:lnTo>
                    <a:pt x="193" y="520"/>
                  </a:lnTo>
                  <a:lnTo>
                    <a:pt x="191" y="516"/>
                  </a:lnTo>
                  <a:lnTo>
                    <a:pt x="191" y="515"/>
                  </a:lnTo>
                  <a:lnTo>
                    <a:pt x="191" y="513"/>
                  </a:lnTo>
                  <a:lnTo>
                    <a:pt x="193" y="513"/>
                  </a:lnTo>
                  <a:lnTo>
                    <a:pt x="191" y="510"/>
                  </a:lnTo>
                  <a:lnTo>
                    <a:pt x="191" y="510"/>
                  </a:lnTo>
                  <a:lnTo>
                    <a:pt x="190" y="510"/>
                  </a:lnTo>
                  <a:lnTo>
                    <a:pt x="188" y="506"/>
                  </a:lnTo>
                  <a:lnTo>
                    <a:pt x="186" y="504"/>
                  </a:lnTo>
                  <a:lnTo>
                    <a:pt x="186" y="499"/>
                  </a:lnTo>
                  <a:lnTo>
                    <a:pt x="184" y="498"/>
                  </a:lnTo>
                  <a:lnTo>
                    <a:pt x="184" y="498"/>
                  </a:lnTo>
                  <a:lnTo>
                    <a:pt x="184" y="496"/>
                  </a:lnTo>
                  <a:lnTo>
                    <a:pt x="183" y="496"/>
                  </a:lnTo>
                  <a:lnTo>
                    <a:pt x="181" y="494"/>
                  </a:lnTo>
                  <a:lnTo>
                    <a:pt x="181" y="494"/>
                  </a:lnTo>
                  <a:lnTo>
                    <a:pt x="178" y="492"/>
                  </a:lnTo>
                  <a:lnTo>
                    <a:pt x="176" y="489"/>
                  </a:lnTo>
                  <a:lnTo>
                    <a:pt x="174" y="489"/>
                  </a:lnTo>
                  <a:lnTo>
                    <a:pt x="171" y="482"/>
                  </a:lnTo>
                  <a:lnTo>
                    <a:pt x="173" y="479"/>
                  </a:lnTo>
                  <a:lnTo>
                    <a:pt x="171" y="479"/>
                  </a:lnTo>
                  <a:lnTo>
                    <a:pt x="171" y="477"/>
                  </a:lnTo>
                  <a:lnTo>
                    <a:pt x="169" y="477"/>
                  </a:lnTo>
                  <a:lnTo>
                    <a:pt x="169" y="475"/>
                  </a:lnTo>
                  <a:lnTo>
                    <a:pt x="169" y="475"/>
                  </a:lnTo>
                  <a:lnTo>
                    <a:pt x="169" y="474"/>
                  </a:lnTo>
                  <a:lnTo>
                    <a:pt x="171" y="474"/>
                  </a:lnTo>
                  <a:lnTo>
                    <a:pt x="169" y="472"/>
                  </a:lnTo>
                  <a:lnTo>
                    <a:pt x="169" y="470"/>
                  </a:lnTo>
                  <a:lnTo>
                    <a:pt x="171" y="470"/>
                  </a:lnTo>
                  <a:lnTo>
                    <a:pt x="171" y="469"/>
                  </a:lnTo>
                  <a:lnTo>
                    <a:pt x="171" y="469"/>
                  </a:lnTo>
                  <a:lnTo>
                    <a:pt x="169" y="463"/>
                  </a:lnTo>
                  <a:lnTo>
                    <a:pt x="171" y="462"/>
                  </a:lnTo>
                  <a:lnTo>
                    <a:pt x="173" y="462"/>
                  </a:lnTo>
                  <a:lnTo>
                    <a:pt x="173" y="460"/>
                  </a:lnTo>
                  <a:lnTo>
                    <a:pt x="174" y="460"/>
                  </a:lnTo>
                  <a:lnTo>
                    <a:pt x="173" y="457"/>
                  </a:lnTo>
                  <a:lnTo>
                    <a:pt x="174" y="457"/>
                  </a:lnTo>
                  <a:lnTo>
                    <a:pt x="174" y="451"/>
                  </a:lnTo>
                  <a:lnTo>
                    <a:pt x="176" y="451"/>
                  </a:lnTo>
                  <a:lnTo>
                    <a:pt x="176" y="450"/>
                  </a:lnTo>
                  <a:lnTo>
                    <a:pt x="176" y="450"/>
                  </a:lnTo>
                  <a:lnTo>
                    <a:pt x="176" y="448"/>
                  </a:lnTo>
                  <a:lnTo>
                    <a:pt x="176" y="446"/>
                  </a:lnTo>
                  <a:lnTo>
                    <a:pt x="176" y="445"/>
                  </a:lnTo>
                  <a:lnTo>
                    <a:pt x="178" y="443"/>
                  </a:lnTo>
                  <a:lnTo>
                    <a:pt x="178" y="443"/>
                  </a:lnTo>
                  <a:lnTo>
                    <a:pt x="178" y="441"/>
                  </a:lnTo>
                  <a:lnTo>
                    <a:pt x="178" y="439"/>
                  </a:lnTo>
                  <a:lnTo>
                    <a:pt x="167" y="441"/>
                  </a:lnTo>
                  <a:lnTo>
                    <a:pt x="128" y="443"/>
                  </a:lnTo>
                  <a:lnTo>
                    <a:pt x="121" y="443"/>
                  </a:lnTo>
                  <a:lnTo>
                    <a:pt x="102" y="445"/>
                  </a:lnTo>
                  <a:lnTo>
                    <a:pt x="101" y="445"/>
                  </a:lnTo>
                  <a:lnTo>
                    <a:pt x="77" y="446"/>
                  </a:lnTo>
                  <a:lnTo>
                    <a:pt x="56" y="448"/>
                  </a:lnTo>
                  <a:lnTo>
                    <a:pt x="44" y="448"/>
                  </a:lnTo>
                  <a:lnTo>
                    <a:pt x="3" y="450"/>
                  </a:lnTo>
                  <a:lnTo>
                    <a:pt x="3" y="450"/>
                  </a:lnTo>
                  <a:lnTo>
                    <a:pt x="8" y="446"/>
                  </a:lnTo>
                  <a:lnTo>
                    <a:pt x="10" y="445"/>
                  </a:lnTo>
                  <a:lnTo>
                    <a:pt x="8" y="441"/>
                  </a:lnTo>
                  <a:lnTo>
                    <a:pt x="3" y="436"/>
                  </a:lnTo>
                  <a:lnTo>
                    <a:pt x="5" y="431"/>
                  </a:lnTo>
                  <a:lnTo>
                    <a:pt x="5" y="427"/>
                  </a:lnTo>
                  <a:lnTo>
                    <a:pt x="2" y="424"/>
                  </a:lnTo>
                  <a:lnTo>
                    <a:pt x="0" y="421"/>
                  </a:lnTo>
                  <a:lnTo>
                    <a:pt x="2" y="421"/>
                  </a:lnTo>
                  <a:lnTo>
                    <a:pt x="8" y="421"/>
                  </a:lnTo>
                  <a:lnTo>
                    <a:pt x="12" y="419"/>
                  </a:lnTo>
                  <a:lnTo>
                    <a:pt x="14" y="417"/>
                  </a:lnTo>
                  <a:lnTo>
                    <a:pt x="14" y="416"/>
                  </a:lnTo>
                  <a:lnTo>
                    <a:pt x="8" y="412"/>
                  </a:lnTo>
                  <a:lnTo>
                    <a:pt x="8" y="410"/>
                  </a:lnTo>
                  <a:lnTo>
                    <a:pt x="10" y="409"/>
                  </a:lnTo>
                  <a:lnTo>
                    <a:pt x="7" y="409"/>
                  </a:lnTo>
                  <a:lnTo>
                    <a:pt x="7" y="405"/>
                  </a:lnTo>
                  <a:lnTo>
                    <a:pt x="8" y="404"/>
                  </a:lnTo>
                  <a:lnTo>
                    <a:pt x="10" y="404"/>
                  </a:lnTo>
                  <a:lnTo>
                    <a:pt x="10" y="407"/>
                  </a:lnTo>
                  <a:lnTo>
                    <a:pt x="10" y="409"/>
                  </a:lnTo>
                  <a:lnTo>
                    <a:pt x="14" y="410"/>
                  </a:lnTo>
                  <a:lnTo>
                    <a:pt x="15" y="409"/>
                  </a:lnTo>
                  <a:lnTo>
                    <a:pt x="15" y="407"/>
                  </a:lnTo>
                  <a:lnTo>
                    <a:pt x="15" y="405"/>
                  </a:lnTo>
                  <a:lnTo>
                    <a:pt x="12" y="402"/>
                  </a:lnTo>
                  <a:lnTo>
                    <a:pt x="12" y="393"/>
                  </a:lnTo>
                  <a:lnTo>
                    <a:pt x="12" y="393"/>
                  </a:lnTo>
                  <a:lnTo>
                    <a:pt x="15" y="392"/>
                  </a:lnTo>
                  <a:lnTo>
                    <a:pt x="19" y="390"/>
                  </a:lnTo>
                  <a:lnTo>
                    <a:pt x="20" y="386"/>
                  </a:lnTo>
                  <a:lnTo>
                    <a:pt x="19" y="385"/>
                  </a:lnTo>
                  <a:lnTo>
                    <a:pt x="12" y="385"/>
                  </a:lnTo>
                  <a:lnTo>
                    <a:pt x="10" y="383"/>
                  </a:lnTo>
                  <a:lnTo>
                    <a:pt x="10" y="381"/>
                  </a:lnTo>
                  <a:lnTo>
                    <a:pt x="12" y="380"/>
                  </a:lnTo>
                  <a:lnTo>
                    <a:pt x="15" y="383"/>
                  </a:lnTo>
                  <a:lnTo>
                    <a:pt x="20" y="383"/>
                  </a:lnTo>
                  <a:lnTo>
                    <a:pt x="22" y="380"/>
                  </a:lnTo>
                  <a:lnTo>
                    <a:pt x="22" y="373"/>
                  </a:lnTo>
                  <a:lnTo>
                    <a:pt x="24" y="369"/>
                  </a:lnTo>
                  <a:lnTo>
                    <a:pt x="22" y="369"/>
                  </a:lnTo>
                  <a:lnTo>
                    <a:pt x="26" y="368"/>
                  </a:lnTo>
                  <a:lnTo>
                    <a:pt x="31" y="369"/>
                  </a:lnTo>
                  <a:lnTo>
                    <a:pt x="32" y="368"/>
                  </a:lnTo>
                  <a:lnTo>
                    <a:pt x="32" y="366"/>
                  </a:lnTo>
                  <a:lnTo>
                    <a:pt x="26" y="368"/>
                  </a:lnTo>
                  <a:lnTo>
                    <a:pt x="24" y="366"/>
                  </a:lnTo>
                  <a:lnTo>
                    <a:pt x="26" y="364"/>
                  </a:lnTo>
                  <a:lnTo>
                    <a:pt x="26" y="359"/>
                  </a:lnTo>
                  <a:lnTo>
                    <a:pt x="29" y="356"/>
                  </a:lnTo>
                  <a:lnTo>
                    <a:pt x="29" y="357"/>
                  </a:lnTo>
                  <a:lnTo>
                    <a:pt x="31" y="361"/>
                  </a:lnTo>
                  <a:lnTo>
                    <a:pt x="34" y="361"/>
                  </a:lnTo>
                  <a:lnTo>
                    <a:pt x="34" y="359"/>
                  </a:lnTo>
                  <a:lnTo>
                    <a:pt x="32" y="356"/>
                  </a:lnTo>
                  <a:lnTo>
                    <a:pt x="34" y="354"/>
                  </a:lnTo>
                  <a:lnTo>
                    <a:pt x="37" y="351"/>
                  </a:lnTo>
                  <a:lnTo>
                    <a:pt x="41" y="342"/>
                  </a:lnTo>
                  <a:lnTo>
                    <a:pt x="46" y="342"/>
                  </a:lnTo>
                  <a:lnTo>
                    <a:pt x="48" y="339"/>
                  </a:lnTo>
                  <a:lnTo>
                    <a:pt x="48" y="337"/>
                  </a:lnTo>
                  <a:lnTo>
                    <a:pt x="48" y="337"/>
                  </a:lnTo>
                  <a:lnTo>
                    <a:pt x="43" y="333"/>
                  </a:lnTo>
                  <a:lnTo>
                    <a:pt x="41" y="332"/>
                  </a:lnTo>
                  <a:lnTo>
                    <a:pt x="43" y="332"/>
                  </a:lnTo>
                  <a:lnTo>
                    <a:pt x="46" y="335"/>
                  </a:lnTo>
                  <a:lnTo>
                    <a:pt x="49" y="335"/>
                  </a:lnTo>
                  <a:lnTo>
                    <a:pt x="48" y="330"/>
                  </a:lnTo>
                  <a:lnTo>
                    <a:pt x="51" y="328"/>
                  </a:lnTo>
                  <a:lnTo>
                    <a:pt x="53" y="327"/>
                  </a:lnTo>
                  <a:lnTo>
                    <a:pt x="55" y="322"/>
                  </a:lnTo>
                  <a:lnTo>
                    <a:pt x="51" y="322"/>
                  </a:lnTo>
                  <a:lnTo>
                    <a:pt x="49" y="322"/>
                  </a:lnTo>
                  <a:lnTo>
                    <a:pt x="49" y="323"/>
                  </a:lnTo>
                  <a:lnTo>
                    <a:pt x="49" y="327"/>
                  </a:lnTo>
                  <a:lnTo>
                    <a:pt x="46" y="325"/>
                  </a:lnTo>
                  <a:lnTo>
                    <a:pt x="44" y="327"/>
                  </a:lnTo>
                  <a:lnTo>
                    <a:pt x="41" y="325"/>
                  </a:lnTo>
                  <a:lnTo>
                    <a:pt x="39" y="323"/>
                  </a:lnTo>
                  <a:lnTo>
                    <a:pt x="39" y="320"/>
                  </a:lnTo>
                  <a:lnTo>
                    <a:pt x="43" y="316"/>
                  </a:lnTo>
                  <a:lnTo>
                    <a:pt x="44" y="318"/>
                  </a:lnTo>
                  <a:lnTo>
                    <a:pt x="46" y="316"/>
                  </a:lnTo>
                  <a:lnTo>
                    <a:pt x="48" y="316"/>
                  </a:lnTo>
                  <a:lnTo>
                    <a:pt x="49" y="315"/>
                  </a:lnTo>
                  <a:lnTo>
                    <a:pt x="56" y="316"/>
                  </a:lnTo>
                  <a:lnTo>
                    <a:pt x="56" y="311"/>
                  </a:lnTo>
                  <a:lnTo>
                    <a:pt x="55" y="310"/>
                  </a:lnTo>
                  <a:lnTo>
                    <a:pt x="55" y="308"/>
                  </a:lnTo>
                  <a:lnTo>
                    <a:pt x="56" y="308"/>
                  </a:lnTo>
                  <a:lnTo>
                    <a:pt x="60" y="308"/>
                  </a:lnTo>
                  <a:lnTo>
                    <a:pt x="61" y="308"/>
                  </a:lnTo>
                  <a:lnTo>
                    <a:pt x="65" y="299"/>
                  </a:lnTo>
                  <a:lnTo>
                    <a:pt x="63" y="299"/>
                  </a:lnTo>
                  <a:lnTo>
                    <a:pt x="61" y="303"/>
                  </a:lnTo>
                  <a:lnTo>
                    <a:pt x="55" y="303"/>
                  </a:lnTo>
                  <a:lnTo>
                    <a:pt x="53" y="301"/>
                  </a:lnTo>
                  <a:lnTo>
                    <a:pt x="51" y="298"/>
                  </a:lnTo>
                  <a:lnTo>
                    <a:pt x="55" y="296"/>
                  </a:lnTo>
                  <a:lnTo>
                    <a:pt x="56" y="292"/>
                  </a:lnTo>
                  <a:lnTo>
                    <a:pt x="53" y="292"/>
                  </a:lnTo>
                  <a:lnTo>
                    <a:pt x="49" y="292"/>
                  </a:lnTo>
                  <a:lnTo>
                    <a:pt x="48" y="292"/>
                  </a:lnTo>
                  <a:lnTo>
                    <a:pt x="41" y="287"/>
                  </a:lnTo>
                  <a:lnTo>
                    <a:pt x="41" y="284"/>
                  </a:lnTo>
                  <a:lnTo>
                    <a:pt x="44" y="282"/>
                  </a:lnTo>
                  <a:lnTo>
                    <a:pt x="49" y="287"/>
                  </a:lnTo>
                  <a:lnTo>
                    <a:pt x="51" y="287"/>
                  </a:lnTo>
                  <a:lnTo>
                    <a:pt x="53" y="287"/>
                  </a:lnTo>
                  <a:lnTo>
                    <a:pt x="53" y="286"/>
                  </a:lnTo>
                  <a:lnTo>
                    <a:pt x="46" y="282"/>
                  </a:lnTo>
                  <a:lnTo>
                    <a:pt x="46" y="281"/>
                  </a:lnTo>
                  <a:lnTo>
                    <a:pt x="46" y="279"/>
                  </a:lnTo>
                  <a:lnTo>
                    <a:pt x="49" y="279"/>
                  </a:lnTo>
                  <a:lnTo>
                    <a:pt x="51" y="274"/>
                  </a:lnTo>
                  <a:lnTo>
                    <a:pt x="51" y="274"/>
                  </a:lnTo>
                  <a:lnTo>
                    <a:pt x="51" y="272"/>
                  </a:lnTo>
                  <a:lnTo>
                    <a:pt x="49" y="272"/>
                  </a:lnTo>
                  <a:lnTo>
                    <a:pt x="48" y="275"/>
                  </a:lnTo>
                  <a:lnTo>
                    <a:pt x="46" y="275"/>
                  </a:lnTo>
                  <a:lnTo>
                    <a:pt x="41" y="277"/>
                  </a:lnTo>
                  <a:lnTo>
                    <a:pt x="37" y="272"/>
                  </a:lnTo>
                  <a:lnTo>
                    <a:pt x="39" y="270"/>
                  </a:lnTo>
                  <a:lnTo>
                    <a:pt x="46" y="263"/>
                  </a:lnTo>
                  <a:lnTo>
                    <a:pt x="43" y="260"/>
                  </a:lnTo>
                  <a:lnTo>
                    <a:pt x="39" y="260"/>
                  </a:lnTo>
                  <a:lnTo>
                    <a:pt x="37" y="260"/>
                  </a:lnTo>
                  <a:lnTo>
                    <a:pt x="37" y="251"/>
                  </a:lnTo>
                  <a:lnTo>
                    <a:pt x="43" y="246"/>
                  </a:lnTo>
                  <a:lnTo>
                    <a:pt x="43" y="238"/>
                  </a:lnTo>
                  <a:lnTo>
                    <a:pt x="41" y="234"/>
                  </a:lnTo>
                  <a:lnTo>
                    <a:pt x="39" y="234"/>
                  </a:lnTo>
                  <a:lnTo>
                    <a:pt x="37" y="236"/>
                  </a:lnTo>
                  <a:lnTo>
                    <a:pt x="37" y="241"/>
                  </a:lnTo>
                  <a:lnTo>
                    <a:pt x="37" y="243"/>
                  </a:lnTo>
                  <a:lnTo>
                    <a:pt x="34" y="245"/>
                  </a:lnTo>
                  <a:lnTo>
                    <a:pt x="32" y="243"/>
                  </a:lnTo>
                  <a:lnTo>
                    <a:pt x="31" y="241"/>
                  </a:lnTo>
                  <a:lnTo>
                    <a:pt x="36" y="234"/>
                  </a:lnTo>
                  <a:lnTo>
                    <a:pt x="34" y="233"/>
                  </a:lnTo>
                  <a:lnTo>
                    <a:pt x="36" y="231"/>
                  </a:lnTo>
                  <a:lnTo>
                    <a:pt x="36" y="229"/>
                  </a:lnTo>
                  <a:lnTo>
                    <a:pt x="37" y="229"/>
                  </a:lnTo>
                  <a:lnTo>
                    <a:pt x="39" y="226"/>
                  </a:lnTo>
                  <a:lnTo>
                    <a:pt x="36" y="224"/>
                  </a:lnTo>
                  <a:lnTo>
                    <a:pt x="32" y="222"/>
                  </a:lnTo>
                  <a:lnTo>
                    <a:pt x="31" y="219"/>
                  </a:lnTo>
                  <a:lnTo>
                    <a:pt x="32" y="217"/>
                  </a:lnTo>
                  <a:lnTo>
                    <a:pt x="37" y="219"/>
                  </a:lnTo>
                  <a:lnTo>
                    <a:pt x="39" y="217"/>
                  </a:lnTo>
                  <a:lnTo>
                    <a:pt x="41" y="216"/>
                  </a:lnTo>
                  <a:lnTo>
                    <a:pt x="39" y="209"/>
                  </a:lnTo>
                  <a:lnTo>
                    <a:pt x="43" y="207"/>
                  </a:lnTo>
                  <a:lnTo>
                    <a:pt x="44" y="204"/>
                  </a:lnTo>
                  <a:lnTo>
                    <a:pt x="43" y="202"/>
                  </a:lnTo>
                  <a:lnTo>
                    <a:pt x="41" y="202"/>
                  </a:lnTo>
                  <a:lnTo>
                    <a:pt x="39" y="207"/>
                  </a:lnTo>
                  <a:lnTo>
                    <a:pt x="37" y="205"/>
                  </a:lnTo>
                  <a:lnTo>
                    <a:pt x="36" y="198"/>
                  </a:lnTo>
                  <a:lnTo>
                    <a:pt x="36" y="195"/>
                  </a:lnTo>
                  <a:lnTo>
                    <a:pt x="37" y="192"/>
                  </a:lnTo>
                  <a:lnTo>
                    <a:pt x="41" y="190"/>
                  </a:lnTo>
                  <a:lnTo>
                    <a:pt x="41" y="187"/>
                  </a:lnTo>
                  <a:lnTo>
                    <a:pt x="41" y="183"/>
                  </a:lnTo>
                  <a:lnTo>
                    <a:pt x="41" y="183"/>
                  </a:lnTo>
                  <a:lnTo>
                    <a:pt x="39" y="183"/>
                  </a:lnTo>
                  <a:lnTo>
                    <a:pt x="37" y="188"/>
                  </a:lnTo>
                  <a:lnTo>
                    <a:pt x="36" y="192"/>
                  </a:lnTo>
                  <a:lnTo>
                    <a:pt x="31" y="192"/>
                  </a:lnTo>
                  <a:lnTo>
                    <a:pt x="29" y="190"/>
                  </a:lnTo>
                  <a:lnTo>
                    <a:pt x="29" y="188"/>
                  </a:lnTo>
                  <a:lnTo>
                    <a:pt x="36" y="187"/>
                  </a:lnTo>
                  <a:lnTo>
                    <a:pt x="36" y="185"/>
                  </a:lnTo>
                  <a:lnTo>
                    <a:pt x="36" y="183"/>
                  </a:lnTo>
                  <a:lnTo>
                    <a:pt x="36" y="181"/>
                  </a:lnTo>
                  <a:lnTo>
                    <a:pt x="32" y="180"/>
                  </a:lnTo>
                  <a:lnTo>
                    <a:pt x="31" y="180"/>
                  </a:lnTo>
                  <a:lnTo>
                    <a:pt x="32" y="183"/>
                  </a:lnTo>
                  <a:lnTo>
                    <a:pt x="31" y="187"/>
                  </a:lnTo>
                  <a:lnTo>
                    <a:pt x="26" y="187"/>
                  </a:lnTo>
                  <a:lnTo>
                    <a:pt x="27" y="185"/>
                  </a:lnTo>
                  <a:lnTo>
                    <a:pt x="29" y="183"/>
                  </a:lnTo>
                  <a:lnTo>
                    <a:pt x="31" y="180"/>
                  </a:lnTo>
                  <a:lnTo>
                    <a:pt x="31" y="178"/>
                  </a:lnTo>
                  <a:lnTo>
                    <a:pt x="29" y="176"/>
                  </a:lnTo>
                  <a:lnTo>
                    <a:pt x="27" y="176"/>
                  </a:lnTo>
                  <a:lnTo>
                    <a:pt x="26" y="175"/>
                  </a:lnTo>
                  <a:lnTo>
                    <a:pt x="26" y="171"/>
                  </a:lnTo>
                  <a:lnTo>
                    <a:pt x="29" y="173"/>
                  </a:lnTo>
                  <a:lnTo>
                    <a:pt x="31" y="171"/>
                  </a:lnTo>
                  <a:lnTo>
                    <a:pt x="32" y="168"/>
                  </a:lnTo>
                  <a:lnTo>
                    <a:pt x="32" y="166"/>
                  </a:lnTo>
                  <a:lnTo>
                    <a:pt x="27" y="163"/>
                  </a:lnTo>
                  <a:lnTo>
                    <a:pt x="27" y="159"/>
                  </a:lnTo>
                  <a:lnTo>
                    <a:pt x="27" y="157"/>
                  </a:lnTo>
                  <a:lnTo>
                    <a:pt x="31" y="156"/>
                  </a:lnTo>
                  <a:lnTo>
                    <a:pt x="34" y="161"/>
                  </a:lnTo>
                  <a:lnTo>
                    <a:pt x="37" y="163"/>
                  </a:lnTo>
                  <a:lnTo>
                    <a:pt x="43" y="159"/>
                  </a:lnTo>
                  <a:lnTo>
                    <a:pt x="43" y="157"/>
                  </a:lnTo>
                  <a:lnTo>
                    <a:pt x="41" y="156"/>
                  </a:lnTo>
                  <a:lnTo>
                    <a:pt x="36" y="157"/>
                  </a:lnTo>
                  <a:lnTo>
                    <a:pt x="34" y="157"/>
                  </a:lnTo>
                  <a:lnTo>
                    <a:pt x="32" y="156"/>
                  </a:lnTo>
                  <a:lnTo>
                    <a:pt x="32" y="151"/>
                  </a:lnTo>
                  <a:lnTo>
                    <a:pt x="32" y="151"/>
                  </a:lnTo>
                  <a:lnTo>
                    <a:pt x="36" y="151"/>
                  </a:lnTo>
                  <a:lnTo>
                    <a:pt x="39" y="149"/>
                  </a:lnTo>
                  <a:lnTo>
                    <a:pt x="41" y="151"/>
                  </a:lnTo>
                  <a:lnTo>
                    <a:pt x="43" y="151"/>
                  </a:lnTo>
                  <a:lnTo>
                    <a:pt x="46" y="151"/>
                  </a:lnTo>
                  <a:lnTo>
                    <a:pt x="46" y="149"/>
                  </a:lnTo>
                  <a:lnTo>
                    <a:pt x="46" y="147"/>
                  </a:lnTo>
                  <a:lnTo>
                    <a:pt x="43" y="146"/>
                  </a:lnTo>
                  <a:lnTo>
                    <a:pt x="39" y="142"/>
                  </a:lnTo>
                  <a:lnTo>
                    <a:pt x="39" y="140"/>
                  </a:lnTo>
                  <a:lnTo>
                    <a:pt x="43" y="132"/>
                  </a:lnTo>
                  <a:lnTo>
                    <a:pt x="37" y="128"/>
                  </a:lnTo>
                  <a:lnTo>
                    <a:pt x="36" y="127"/>
                  </a:lnTo>
                  <a:lnTo>
                    <a:pt x="37" y="125"/>
                  </a:lnTo>
                  <a:lnTo>
                    <a:pt x="41" y="127"/>
                  </a:lnTo>
                  <a:lnTo>
                    <a:pt x="43" y="127"/>
                  </a:lnTo>
                  <a:lnTo>
                    <a:pt x="44" y="128"/>
                  </a:lnTo>
                  <a:lnTo>
                    <a:pt x="44" y="130"/>
                  </a:lnTo>
                  <a:lnTo>
                    <a:pt x="48" y="128"/>
                  </a:lnTo>
                  <a:lnTo>
                    <a:pt x="48" y="128"/>
                  </a:lnTo>
                  <a:lnTo>
                    <a:pt x="46" y="127"/>
                  </a:lnTo>
                  <a:lnTo>
                    <a:pt x="46" y="125"/>
                  </a:lnTo>
                  <a:lnTo>
                    <a:pt x="48" y="122"/>
                  </a:lnTo>
                  <a:lnTo>
                    <a:pt x="53" y="120"/>
                  </a:lnTo>
                  <a:lnTo>
                    <a:pt x="55" y="115"/>
                  </a:lnTo>
                  <a:lnTo>
                    <a:pt x="51" y="115"/>
                  </a:lnTo>
                  <a:lnTo>
                    <a:pt x="48" y="111"/>
                  </a:lnTo>
                  <a:lnTo>
                    <a:pt x="48" y="108"/>
                  </a:lnTo>
                  <a:lnTo>
                    <a:pt x="49" y="105"/>
                  </a:lnTo>
                  <a:lnTo>
                    <a:pt x="56" y="110"/>
                  </a:lnTo>
                  <a:lnTo>
                    <a:pt x="58" y="108"/>
                  </a:lnTo>
                  <a:lnTo>
                    <a:pt x="60" y="106"/>
                  </a:lnTo>
                  <a:lnTo>
                    <a:pt x="58" y="105"/>
                  </a:lnTo>
                  <a:lnTo>
                    <a:pt x="49" y="103"/>
                  </a:lnTo>
                  <a:lnTo>
                    <a:pt x="48" y="99"/>
                  </a:lnTo>
                  <a:lnTo>
                    <a:pt x="49" y="98"/>
                  </a:lnTo>
                  <a:lnTo>
                    <a:pt x="55" y="101"/>
                  </a:lnTo>
                  <a:lnTo>
                    <a:pt x="58" y="99"/>
                  </a:lnTo>
                  <a:lnTo>
                    <a:pt x="58" y="94"/>
                  </a:lnTo>
                  <a:lnTo>
                    <a:pt x="60" y="93"/>
                  </a:lnTo>
                  <a:lnTo>
                    <a:pt x="60" y="93"/>
                  </a:lnTo>
                  <a:lnTo>
                    <a:pt x="63" y="94"/>
                  </a:lnTo>
                  <a:lnTo>
                    <a:pt x="65" y="91"/>
                  </a:lnTo>
                  <a:lnTo>
                    <a:pt x="63" y="86"/>
                  </a:lnTo>
                  <a:lnTo>
                    <a:pt x="63" y="84"/>
                  </a:lnTo>
                  <a:lnTo>
                    <a:pt x="68" y="84"/>
                  </a:lnTo>
                  <a:lnTo>
                    <a:pt x="70" y="86"/>
                  </a:lnTo>
                  <a:lnTo>
                    <a:pt x="70" y="89"/>
                  </a:lnTo>
                  <a:lnTo>
                    <a:pt x="70" y="89"/>
                  </a:lnTo>
                  <a:lnTo>
                    <a:pt x="72" y="89"/>
                  </a:lnTo>
                  <a:lnTo>
                    <a:pt x="72" y="84"/>
                  </a:lnTo>
                  <a:lnTo>
                    <a:pt x="77" y="81"/>
                  </a:lnTo>
                  <a:lnTo>
                    <a:pt x="79" y="77"/>
                  </a:lnTo>
                  <a:lnTo>
                    <a:pt x="79" y="75"/>
                  </a:lnTo>
                  <a:lnTo>
                    <a:pt x="77" y="70"/>
                  </a:lnTo>
                  <a:lnTo>
                    <a:pt x="77" y="67"/>
                  </a:lnTo>
                  <a:lnTo>
                    <a:pt x="79" y="67"/>
                  </a:lnTo>
                  <a:lnTo>
                    <a:pt x="82" y="65"/>
                  </a:lnTo>
                  <a:lnTo>
                    <a:pt x="82" y="63"/>
                  </a:lnTo>
                  <a:lnTo>
                    <a:pt x="77" y="58"/>
                  </a:lnTo>
                  <a:lnTo>
                    <a:pt x="77" y="57"/>
                  </a:lnTo>
                  <a:lnTo>
                    <a:pt x="77" y="53"/>
                  </a:lnTo>
                  <a:lnTo>
                    <a:pt x="79" y="48"/>
                  </a:lnTo>
                  <a:lnTo>
                    <a:pt x="80" y="50"/>
                  </a:lnTo>
                  <a:lnTo>
                    <a:pt x="80" y="53"/>
                  </a:lnTo>
                  <a:lnTo>
                    <a:pt x="80" y="55"/>
                  </a:lnTo>
                  <a:lnTo>
                    <a:pt x="84" y="55"/>
                  </a:lnTo>
                  <a:lnTo>
                    <a:pt x="87" y="50"/>
                  </a:lnTo>
                  <a:lnTo>
                    <a:pt x="85" y="46"/>
                  </a:lnTo>
                  <a:lnTo>
                    <a:pt x="82" y="48"/>
                  </a:lnTo>
                  <a:lnTo>
                    <a:pt x="80" y="46"/>
                  </a:lnTo>
                  <a:lnTo>
                    <a:pt x="79" y="38"/>
                  </a:lnTo>
                  <a:lnTo>
                    <a:pt x="80" y="36"/>
                  </a:lnTo>
                  <a:lnTo>
                    <a:pt x="82" y="36"/>
                  </a:lnTo>
                  <a:lnTo>
                    <a:pt x="84" y="38"/>
                  </a:lnTo>
                  <a:lnTo>
                    <a:pt x="84" y="41"/>
                  </a:lnTo>
                  <a:lnTo>
                    <a:pt x="82" y="43"/>
                  </a:lnTo>
                  <a:lnTo>
                    <a:pt x="84" y="45"/>
                  </a:lnTo>
                  <a:lnTo>
                    <a:pt x="85" y="45"/>
                  </a:lnTo>
                  <a:lnTo>
                    <a:pt x="87" y="43"/>
                  </a:lnTo>
                  <a:lnTo>
                    <a:pt x="87" y="41"/>
                  </a:lnTo>
                  <a:lnTo>
                    <a:pt x="85" y="36"/>
                  </a:lnTo>
                  <a:lnTo>
                    <a:pt x="87" y="34"/>
                  </a:lnTo>
                  <a:lnTo>
                    <a:pt x="85" y="31"/>
                  </a:lnTo>
                  <a:lnTo>
                    <a:pt x="85" y="28"/>
                  </a:lnTo>
                  <a:lnTo>
                    <a:pt x="87" y="28"/>
                  </a:lnTo>
                  <a:lnTo>
                    <a:pt x="89" y="29"/>
                  </a:lnTo>
                  <a:lnTo>
                    <a:pt x="89" y="33"/>
                  </a:lnTo>
                  <a:lnTo>
                    <a:pt x="89" y="33"/>
                  </a:lnTo>
                  <a:lnTo>
                    <a:pt x="90" y="33"/>
                  </a:lnTo>
                  <a:lnTo>
                    <a:pt x="96" y="29"/>
                  </a:lnTo>
                  <a:lnTo>
                    <a:pt x="97" y="31"/>
                  </a:lnTo>
                  <a:lnTo>
                    <a:pt x="101" y="31"/>
                  </a:lnTo>
                  <a:lnTo>
                    <a:pt x="101" y="29"/>
                  </a:lnTo>
                  <a:lnTo>
                    <a:pt x="101" y="28"/>
                  </a:lnTo>
                  <a:lnTo>
                    <a:pt x="102" y="26"/>
                  </a:lnTo>
                  <a:lnTo>
                    <a:pt x="104" y="22"/>
                  </a:lnTo>
                  <a:lnTo>
                    <a:pt x="104" y="21"/>
                  </a:lnTo>
                  <a:lnTo>
                    <a:pt x="104" y="19"/>
                  </a:lnTo>
                  <a:lnTo>
                    <a:pt x="99" y="17"/>
                  </a:lnTo>
                  <a:lnTo>
                    <a:pt x="99" y="14"/>
                  </a:lnTo>
                  <a:lnTo>
                    <a:pt x="150" y="11"/>
                  </a:lnTo>
                  <a:lnTo>
                    <a:pt x="155" y="11"/>
                  </a:lnTo>
                  <a:lnTo>
                    <a:pt x="183" y="9"/>
                  </a:lnTo>
                  <a:lnTo>
                    <a:pt x="195" y="9"/>
                  </a:lnTo>
                  <a:lnTo>
                    <a:pt x="212" y="7"/>
                  </a:lnTo>
                  <a:lnTo>
                    <a:pt x="229" y="5"/>
                  </a:lnTo>
                  <a:lnTo>
                    <a:pt x="231" y="5"/>
                  </a:lnTo>
                  <a:lnTo>
                    <a:pt x="267" y="2"/>
                  </a:lnTo>
                  <a:lnTo>
                    <a:pt x="268" y="2"/>
                  </a:lnTo>
                  <a:lnTo>
                    <a:pt x="282" y="0"/>
                  </a:lnTo>
                  <a:lnTo>
                    <a:pt x="287" y="9"/>
                  </a:lnTo>
                  <a:lnTo>
                    <a:pt x="290" y="12"/>
                  </a:lnTo>
                  <a:lnTo>
                    <a:pt x="292" y="12"/>
                  </a:lnTo>
                  <a:lnTo>
                    <a:pt x="290" y="46"/>
                  </a:lnTo>
                  <a:lnTo>
                    <a:pt x="290" y="58"/>
                  </a:lnTo>
                  <a:lnTo>
                    <a:pt x="290" y="74"/>
                  </a:lnTo>
                  <a:lnTo>
                    <a:pt x="290" y="99"/>
                  </a:lnTo>
                  <a:lnTo>
                    <a:pt x="290" y="103"/>
                  </a:lnTo>
                  <a:lnTo>
                    <a:pt x="289" y="137"/>
                  </a:lnTo>
                  <a:lnTo>
                    <a:pt x="289" y="159"/>
                  </a:lnTo>
                  <a:lnTo>
                    <a:pt x="287" y="187"/>
                  </a:lnTo>
                  <a:lnTo>
                    <a:pt x="287" y="219"/>
                  </a:lnTo>
                  <a:lnTo>
                    <a:pt x="287" y="226"/>
                  </a:lnTo>
                  <a:lnTo>
                    <a:pt x="285" y="263"/>
                  </a:lnTo>
                  <a:lnTo>
                    <a:pt x="285" y="292"/>
                  </a:lnTo>
                  <a:lnTo>
                    <a:pt x="285" y="301"/>
                  </a:lnTo>
                  <a:lnTo>
                    <a:pt x="285" y="337"/>
                  </a:lnTo>
                  <a:lnTo>
                    <a:pt x="287" y="357"/>
                  </a:lnTo>
                  <a:lnTo>
                    <a:pt x="290" y="38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1" name="Freeform 170"/>
            <p:cNvSpPr>
              <a:spLocks noEditPoints="1"/>
            </p:cNvSpPr>
            <p:nvPr/>
          </p:nvSpPr>
          <p:spPr bwMode="gray">
            <a:xfrm>
              <a:off x="6722300" y="4331020"/>
              <a:ext cx="739110" cy="776146"/>
            </a:xfrm>
            <a:custGeom>
              <a:avLst/>
              <a:gdLst/>
              <a:ahLst/>
              <a:cxnLst>
                <a:cxn ang="0">
                  <a:pos x="84" y="342"/>
                </a:cxn>
                <a:cxn ang="0">
                  <a:pos x="88" y="323"/>
                </a:cxn>
                <a:cxn ang="0">
                  <a:pos x="96" y="315"/>
                </a:cxn>
                <a:cxn ang="0">
                  <a:pos x="88" y="303"/>
                </a:cxn>
                <a:cxn ang="0">
                  <a:pos x="77" y="281"/>
                </a:cxn>
                <a:cxn ang="0">
                  <a:pos x="71" y="265"/>
                </a:cxn>
                <a:cxn ang="0">
                  <a:pos x="55" y="226"/>
                </a:cxn>
                <a:cxn ang="0">
                  <a:pos x="31" y="137"/>
                </a:cxn>
                <a:cxn ang="0">
                  <a:pos x="4" y="43"/>
                </a:cxn>
                <a:cxn ang="0">
                  <a:pos x="55" y="23"/>
                </a:cxn>
                <a:cxn ang="0">
                  <a:pos x="141" y="12"/>
                </a:cxn>
                <a:cxn ang="0">
                  <a:pos x="216" y="6"/>
                </a:cxn>
                <a:cxn ang="0">
                  <a:pos x="214" y="9"/>
                </a:cxn>
                <a:cxn ang="0">
                  <a:pos x="207" y="16"/>
                </a:cxn>
                <a:cxn ang="0">
                  <a:pos x="202" y="24"/>
                </a:cxn>
                <a:cxn ang="0">
                  <a:pos x="206" y="40"/>
                </a:cxn>
                <a:cxn ang="0">
                  <a:pos x="226" y="52"/>
                </a:cxn>
                <a:cxn ang="0">
                  <a:pos x="248" y="60"/>
                </a:cxn>
                <a:cxn ang="0">
                  <a:pos x="260" y="82"/>
                </a:cxn>
                <a:cxn ang="0">
                  <a:pos x="279" y="106"/>
                </a:cxn>
                <a:cxn ang="0">
                  <a:pos x="300" y="117"/>
                </a:cxn>
                <a:cxn ang="0">
                  <a:pos x="317" y="137"/>
                </a:cxn>
                <a:cxn ang="0">
                  <a:pos x="334" y="144"/>
                </a:cxn>
                <a:cxn ang="0">
                  <a:pos x="346" y="156"/>
                </a:cxn>
                <a:cxn ang="0">
                  <a:pos x="346" y="164"/>
                </a:cxn>
                <a:cxn ang="0">
                  <a:pos x="354" y="170"/>
                </a:cxn>
                <a:cxn ang="0">
                  <a:pos x="359" y="175"/>
                </a:cxn>
                <a:cxn ang="0">
                  <a:pos x="376" y="187"/>
                </a:cxn>
                <a:cxn ang="0">
                  <a:pos x="388" y="194"/>
                </a:cxn>
                <a:cxn ang="0">
                  <a:pos x="392" y="207"/>
                </a:cxn>
                <a:cxn ang="0">
                  <a:pos x="399" y="214"/>
                </a:cxn>
                <a:cxn ang="0">
                  <a:pos x="402" y="226"/>
                </a:cxn>
                <a:cxn ang="0">
                  <a:pos x="409" y="236"/>
                </a:cxn>
                <a:cxn ang="0">
                  <a:pos x="424" y="246"/>
                </a:cxn>
                <a:cxn ang="0">
                  <a:pos x="433" y="260"/>
                </a:cxn>
                <a:cxn ang="0">
                  <a:pos x="438" y="284"/>
                </a:cxn>
                <a:cxn ang="0">
                  <a:pos x="433" y="306"/>
                </a:cxn>
                <a:cxn ang="0">
                  <a:pos x="433" y="305"/>
                </a:cxn>
                <a:cxn ang="0">
                  <a:pos x="441" y="323"/>
                </a:cxn>
                <a:cxn ang="0">
                  <a:pos x="440" y="339"/>
                </a:cxn>
                <a:cxn ang="0">
                  <a:pos x="428" y="368"/>
                </a:cxn>
                <a:cxn ang="0">
                  <a:pos x="429" y="388"/>
                </a:cxn>
                <a:cxn ang="0">
                  <a:pos x="419" y="411"/>
                </a:cxn>
                <a:cxn ang="0">
                  <a:pos x="416" y="436"/>
                </a:cxn>
                <a:cxn ang="0">
                  <a:pos x="400" y="434"/>
                </a:cxn>
                <a:cxn ang="0">
                  <a:pos x="383" y="431"/>
                </a:cxn>
                <a:cxn ang="0">
                  <a:pos x="376" y="440"/>
                </a:cxn>
                <a:cxn ang="0">
                  <a:pos x="380" y="474"/>
                </a:cxn>
                <a:cxn ang="0">
                  <a:pos x="366" y="470"/>
                </a:cxn>
                <a:cxn ang="0">
                  <a:pos x="329" y="465"/>
                </a:cxn>
                <a:cxn ang="0">
                  <a:pos x="223" y="472"/>
                </a:cxn>
                <a:cxn ang="0">
                  <a:pos x="118" y="479"/>
                </a:cxn>
                <a:cxn ang="0">
                  <a:pos x="110" y="460"/>
                </a:cxn>
                <a:cxn ang="0">
                  <a:pos x="98" y="436"/>
                </a:cxn>
                <a:cxn ang="0">
                  <a:pos x="91" y="417"/>
                </a:cxn>
                <a:cxn ang="0">
                  <a:pos x="91" y="390"/>
                </a:cxn>
                <a:cxn ang="0">
                  <a:pos x="424" y="416"/>
                </a:cxn>
                <a:cxn ang="0">
                  <a:pos x="423" y="419"/>
                </a:cxn>
              </a:cxnLst>
              <a:rect l="0" t="0" r="r" b="b"/>
              <a:pathLst>
                <a:path w="459" h="482">
                  <a:moveTo>
                    <a:pt x="81" y="368"/>
                  </a:moveTo>
                  <a:lnTo>
                    <a:pt x="81" y="368"/>
                  </a:lnTo>
                  <a:lnTo>
                    <a:pt x="79" y="359"/>
                  </a:lnTo>
                  <a:lnTo>
                    <a:pt x="81" y="354"/>
                  </a:lnTo>
                  <a:lnTo>
                    <a:pt x="84" y="346"/>
                  </a:lnTo>
                  <a:lnTo>
                    <a:pt x="84" y="342"/>
                  </a:lnTo>
                  <a:lnTo>
                    <a:pt x="84" y="339"/>
                  </a:lnTo>
                  <a:lnTo>
                    <a:pt x="84" y="335"/>
                  </a:lnTo>
                  <a:lnTo>
                    <a:pt x="84" y="334"/>
                  </a:lnTo>
                  <a:lnTo>
                    <a:pt x="84" y="330"/>
                  </a:lnTo>
                  <a:lnTo>
                    <a:pt x="86" y="325"/>
                  </a:lnTo>
                  <a:lnTo>
                    <a:pt x="88" y="323"/>
                  </a:lnTo>
                  <a:lnTo>
                    <a:pt x="91" y="322"/>
                  </a:lnTo>
                  <a:lnTo>
                    <a:pt x="89" y="320"/>
                  </a:lnTo>
                  <a:lnTo>
                    <a:pt x="94" y="318"/>
                  </a:lnTo>
                  <a:lnTo>
                    <a:pt x="94" y="318"/>
                  </a:lnTo>
                  <a:lnTo>
                    <a:pt x="94" y="315"/>
                  </a:lnTo>
                  <a:lnTo>
                    <a:pt x="96" y="315"/>
                  </a:lnTo>
                  <a:lnTo>
                    <a:pt x="96" y="313"/>
                  </a:lnTo>
                  <a:lnTo>
                    <a:pt x="96" y="313"/>
                  </a:lnTo>
                  <a:lnTo>
                    <a:pt x="93" y="311"/>
                  </a:lnTo>
                  <a:lnTo>
                    <a:pt x="86" y="308"/>
                  </a:lnTo>
                  <a:lnTo>
                    <a:pt x="86" y="306"/>
                  </a:lnTo>
                  <a:lnTo>
                    <a:pt x="88" y="303"/>
                  </a:lnTo>
                  <a:lnTo>
                    <a:pt x="86" y="301"/>
                  </a:lnTo>
                  <a:lnTo>
                    <a:pt x="88" y="299"/>
                  </a:lnTo>
                  <a:lnTo>
                    <a:pt x="88" y="296"/>
                  </a:lnTo>
                  <a:lnTo>
                    <a:pt x="86" y="294"/>
                  </a:lnTo>
                  <a:lnTo>
                    <a:pt x="84" y="288"/>
                  </a:lnTo>
                  <a:lnTo>
                    <a:pt x="77" y="281"/>
                  </a:lnTo>
                  <a:lnTo>
                    <a:pt x="76" y="279"/>
                  </a:lnTo>
                  <a:lnTo>
                    <a:pt x="74" y="277"/>
                  </a:lnTo>
                  <a:lnTo>
                    <a:pt x="72" y="276"/>
                  </a:lnTo>
                  <a:lnTo>
                    <a:pt x="74" y="272"/>
                  </a:lnTo>
                  <a:lnTo>
                    <a:pt x="72" y="270"/>
                  </a:lnTo>
                  <a:lnTo>
                    <a:pt x="71" y="265"/>
                  </a:lnTo>
                  <a:lnTo>
                    <a:pt x="71" y="265"/>
                  </a:lnTo>
                  <a:lnTo>
                    <a:pt x="69" y="264"/>
                  </a:lnTo>
                  <a:lnTo>
                    <a:pt x="69" y="262"/>
                  </a:lnTo>
                  <a:lnTo>
                    <a:pt x="65" y="258"/>
                  </a:lnTo>
                  <a:lnTo>
                    <a:pt x="64" y="252"/>
                  </a:lnTo>
                  <a:lnTo>
                    <a:pt x="55" y="226"/>
                  </a:lnTo>
                  <a:lnTo>
                    <a:pt x="55" y="224"/>
                  </a:lnTo>
                  <a:lnTo>
                    <a:pt x="47" y="194"/>
                  </a:lnTo>
                  <a:lnTo>
                    <a:pt x="45" y="187"/>
                  </a:lnTo>
                  <a:lnTo>
                    <a:pt x="40" y="170"/>
                  </a:lnTo>
                  <a:lnTo>
                    <a:pt x="33" y="142"/>
                  </a:lnTo>
                  <a:lnTo>
                    <a:pt x="31" y="137"/>
                  </a:lnTo>
                  <a:lnTo>
                    <a:pt x="28" y="123"/>
                  </a:lnTo>
                  <a:lnTo>
                    <a:pt x="21" y="103"/>
                  </a:lnTo>
                  <a:lnTo>
                    <a:pt x="14" y="77"/>
                  </a:lnTo>
                  <a:lnTo>
                    <a:pt x="12" y="72"/>
                  </a:lnTo>
                  <a:lnTo>
                    <a:pt x="11" y="67"/>
                  </a:lnTo>
                  <a:lnTo>
                    <a:pt x="4" y="43"/>
                  </a:lnTo>
                  <a:lnTo>
                    <a:pt x="0" y="29"/>
                  </a:lnTo>
                  <a:lnTo>
                    <a:pt x="12" y="28"/>
                  </a:lnTo>
                  <a:lnTo>
                    <a:pt x="21" y="26"/>
                  </a:lnTo>
                  <a:lnTo>
                    <a:pt x="30" y="26"/>
                  </a:lnTo>
                  <a:lnTo>
                    <a:pt x="55" y="23"/>
                  </a:lnTo>
                  <a:lnTo>
                    <a:pt x="55" y="23"/>
                  </a:lnTo>
                  <a:lnTo>
                    <a:pt x="71" y="21"/>
                  </a:lnTo>
                  <a:lnTo>
                    <a:pt x="72" y="21"/>
                  </a:lnTo>
                  <a:lnTo>
                    <a:pt x="86" y="19"/>
                  </a:lnTo>
                  <a:lnTo>
                    <a:pt x="112" y="16"/>
                  </a:lnTo>
                  <a:lnTo>
                    <a:pt x="129" y="14"/>
                  </a:lnTo>
                  <a:lnTo>
                    <a:pt x="141" y="12"/>
                  </a:lnTo>
                  <a:lnTo>
                    <a:pt x="146" y="12"/>
                  </a:lnTo>
                  <a:lnTo>
                    <a:pt x="178" y="7"/>
                  </a:lnTo>
                  <a:lnTo>
                    <a:pt x="182" y="7"/>
                  </a:lnTo>
                  <a:lnTo>
                    <a:pt x="218" y="0"/>
                  </a:lnTo>
                  <a:lnTo>
                    <a:pt x="218" y="2"/>
                  </a:lnTo>
                  <a:lnTo>
                    <a:pt x="216" y="6"/>
                  </a:lnTo>
                  <a:lnTo>
                    <a:pt x="216" y="6"/>
                  </a:lnTo>
                  <a:lnTo>
                    <a:pt x="216" y="6"/>
                  </a:lnTo>
                  <a:lnTo>
                    <a:pt x="218" y="7"/>
                  </a:lnTo>
                  <a:lnTo>
                    <a:pt x="216" y="7"/>
                  </a:lnTo>
                  <a:lnTo>
                    <a:pt x="216" y="9"/>
                  </a:lnTo>
                  <a:lnTo>
                    <a:pt x="214" y="9"/>
                  </a:lnTo>
                  <a:lnTo>
                    <a:pt x="214" y="11"/>
                  </a:lnTo>
                  <a:lnTo>
                    <a:pt x="211" y="12"/>
                  </a:lnTo>
                  <a:lnTo>
                    <a:pt x="211" y="14"/>
                  </a:lnTo>
                  <a:lnTo>
                    <a:pt x="209" y="14"/>
                  </a:lnTo>
                  <a:lnTo>
                    <a:pt x="207" y="16"/>
                  </a:lnTo>
                  <a:lnTo>
                    <a:pt x="207" y="16"/>
                  </a:lnTo>
                  <a:lnTo>
                    <a:pt x="207" y="17"/>
                  </a:lnTo>
                  <a:lnTo>
                    <a:pt x="207" y="19"/>
                  </a:lnTo>
                  <a:lnTo>
                    <a:pt x="207" y="19"/>
                  </a:lnTo>
                  <a:lnTo>
                    <a:pt x="206" y="21"/>
                  </a:lnTo>
                  <a:lnTo>
                    <a:pt x="206" y="23"/>
                  </a:lnTo>
                  <a:lnTo>
                    <a:pt x="202" y="24"/>
                  </a:lnTo>
                  <a:lnTo>
                    <a:pt x="200" y="26"/>
                  </a:lnTo>
                  <a:lnTo>
                    <a:pt x="202" y="29"/>
                  </a:lnTo>
                  <a:lnTo>
                    <a:pt x="200" y="33"/>
                  </a:lnTo>
                  <a:lnTo>
                    <a:pt x="200" y="35"/>
                  </a:lnTo>
                  <a:lnTo>
                    <a:pt x="200" y="38"/>
                  </a:lnTo>
                  <a:lnTo>
                    <a:pt x="206" y="40"/>
                  </a:lnTo>
                  <a:lnTo>
                    <a:pt x="211" y="45"/>
                  </a:lnTo>
                  <a:lnTo>
                    <a:pt x="218" y="45"/>
                  </a:lnTo>
                  <a:lnTo>
                    <a:pt x="219" y="47"/>
                  </a:lnTo>
                  <a:lnTo>
                    <a:pt x="221" y="48"/>
                  </a:lnTo>
                  <a:lnTo>
                    <a:pt x="223" y="52"/>
                  </a:lnTo>
                  <a:lnTo>
                    <a:pt x="226" y="52"/>
                  </a:lnTo>
                  <a:lnTo>
                    <a:pt x="230" y="55"/>
                  </a:lnTo>
                  <a:lnTo>
                    <a:pt x="233" y="57"/>
                  </a:lnTo>
                  <a:lnTo>
                    <a:pt x="235" y="55"/>
                  </a:lnTo>
                  <a:lnTo>
                    <a:pt x="241" y="55"/>
                  </a:lnTo>
                  <a:lnTo>
                    <a:pt x="245" y="57"/>
                  </a:lnTo>
                  <a:lnTo>
                    <a:pt x="248" y="60"/>
                  </a:lnTo>
                  <a:lnTo>
                    <a:pt x="250" y="65"/>
                  </a:lnTo>
                  <a:lnTo>
                    <a:pt x="252" y="69"/>
                  </a:lnTo>
                  <a:lnTo>
                    <a:pt x="255" y="74"/>
                  </a:lnTo>
                  <a:lnTo>
                    <a:pt x="257" y="74"/>
                  </a:lnTo>
                  <a:lnTo>
                    <a:pt x="259" y="79"/>
                  </a:lnTo>
                  <a:lnTo>
                    <a:pt x="260" y="82"/>
                  </a:lnTo>
                  <a:lnTo>
                    <a:pt x="262" y="86"/>
                  </a:lnTo>
                  <a:lnTo>
                    <a:pt x="269" y="91"/>
                  </a:lnTo>
                  <a:lnTo>
                    <a:pt x="276" y="98"/>
                  </a:lnTo>
                  <a:lnTo>
                    <a:pt x="276" y="100"/>
                  </a:lnTo>
                  <a:lnTo>
                    <a:pt x="279" y="105"/>
                  </a:lnTo>
                  <a:lnTo>
                    <a:pt x="279" y="106"/>
                  </a:lnTo>
                  <a:lnTo>
                    <a:pt x="284" y="108"/>
                  </a:lnTo>
                  <a:lnTo>
                    <a:pt x="289" y="113"/>
                  </a:lnTo>
                  <a:lnTo>
                    <a:pt x="293" y="115"/>
                  </a:lnTo>
                  <a:lnTo>
                    <a:pt x="296" y="115"/>
                  </a:lnTo>
                  <a:lnTo>
                    <a:pt x="300" y="117"/>
                  </a:lnTo>
                  <a:lnTo>
                    <a:pt x="300" y="117"/>
                  </a:lnTo>
                  <a:lnTo>
                    <a:pt x="305" y="118"/>
                  </a:lnTo>
                  <a:lnTo>
                    <a:pt x="305" y="122"/>
                  </a:lnTo>
                  <a:lnTo>
                    <a:pt x="308" y="123"/>
                  </a:lnTo>
                  <a:lnTo>
                    <a:pt x="313" y="130"/>
                  </a:lnTo>
                  <a:lnTo>
                    <a:pt x="315" y="130"/>
                  </a:lnTo>
                  <a:lnTo>
                    <a:pt x="317" y="137"/>
                  </a:lnTo>
                  <a:lnTo>
                    <a:pt x="320" y="137"/>
                  </a:lnTo>
                  <a:lnTo>
                    <a:pt x="322" y="139"/>
                  </a:lnTo>
                  <a:lnTo>
                    <a:pt x="325" y="139"/>
                  </a:lnTo>
                  <a:lnTo>
                    <a:pt x="329" y="141"/>
                  </a:lnTo>
                  <a:lnTo>
                    <a:pt x="332" y="142"/>
                  </a:lnTo>
                  <a:lnTo>
                    <a:pt x="334" y="144"/>
                  </a:lnTo>
                  <a:lnTo>
                    <a:pt x="335" y="146"/>
                  </a:lnTo>
                  <a:lnTo>
                    <a:pt x="337" y="147"/>
                  </a:lnTo>
                  <a:lnTo>
                    <a:pt x="342" y="149"/>
                  </a:lnTo>
                  <a:lnTo>
                    <a:pt x="344" y="151"/>
                  </a:lnTo>
                  <a:lnTo>
                    <a:pt x="344" y="153"/>
                  </a:lnTo>
                  <a:lnTo>
                    <a:pt x="346" y="156"/>
                  </a:lnTo>
                  <a:lnTo>
                    <a:pt x="342" y="156"/>
                  </a:lnTo>
                  <a:lnTo>
                    <a:pt x="344" y="159"/>
                  </a:lnTo>
                  <a:lnTo>
                    <a:pt x="342" y="159"/>
                  </a:lnTo>
                  <a:lnTo>
                    <a:pt x="344" y="163"/>
                  </a:lnTo>
                  <a:lnTo>
                    <a:pt x="346" y="163"/>
                  </a:lnTo>
                  <a:lnTo>
                    <a:pt x="346" y="164"/>
                  </a:lnTo>
                  <a:lnTo>
                    <a:pt x="347" y="164"/>
                  </a:lnTo>
                  <a:lnTo>
                    <a:pt x="351" y="166"/>
                  </a:lnTo>
                  <a:lnTo>
                    <a:pt x="351" y="166"/>
                  </a:lnTo>
                  <a:lnTo>
                    <a:pt x="353" y="166"/>
                  </a:lnTo>
                  <a:lnTo>
                    <a:pt x="351" y="168"/>
                  </a:lnTo>
                  <a:lnTo>
                    <a:pt x="354" y="170"/>
                  </a:lnTo>
                  <a:lnTo>
                    <a:pt x="354" y="170"/>
                  </a:lnTo>
                  <a:lnTo>
                    <a:pt x="354" y="171"/>
                  </a:lnTo>
                  <a:lnTo>
                    <a:pt x="353" y="173"/>
                  </a:lnTo>
                  <a:lnTo>
                    <a:pt x="358" y="175"/>
                  </a:lnTo>
                  <a:lnTo>
                    <a:pt x="358" y="176"/>
                  </a:lnTo>
                  <a:lnTo>
                    <a:pt x="359" y="175"/>
                  </a:lnTo>
                  <a:lnTo>
                    <a:pt x="361" y="175"/>
                  </a:lnTo>
                  <a:lnTo>
                    <a:pt x="363" y="176"/>
                  </a:lnTo>
                  <a:lnTo>
                    <a:pt x="363" y="180"/>
                  </a:lnTo>
                  <a:lnTo>
                    <a:pt x="365" y="182"/>
                  </a:lnTo>
                  <a:lnTo>
                    <a:pt x="368" y="183"/>
                  </a:lnTo>
                  <a:lnTo>
                    <a:pt x="376" y="187"/>
                  </a:lnTo>
                  <a:lnTo>
                    <a:pt x="378" y="188"/>
                  </a:lnTo>
                  <a:lnTo>
                    <a:pt x="382" y="188"/>
                  </a:lnTo>
                  <a:lnTo>
                    <a:pt x="383" y="190"/>
                  </a:lnTo>
                  <a:lnTo>
                    <a:pt x="385" y="190"/>
                  </a:lnTo>
                  <a:lnTo>
                    <a:pt x="387" y="194"/>
                  </a:lnTo>
                  <a:lnTo>
                    <a:pt x="388" y="194"/>
                  </a:lnTo>
                  <a:lnTo>
                    <a:pt x="388" y="199"/>
                  </a:lnTo>
                  <a:lnTo>
                    <a:pt x="388" y="199"/>
                  </a:lnTo>
                  <a:lnTo>
                    <a:pt x="388" y="200"/>
                  </a:lnTo>
                  <a:lnTo>
                    <a:pt x="392" y="204"/>
                  </a:lnTo>
                  <a:lnTo>
                    <a:pt x="394" y="204"/>
                  </a:lnTo>
                  <a:lnTo>
                    <a:pt x="392" y="207"/>
                  </a:lnTo>
                  <a:lnTo>
                    <a:pt x="394" y="207"/>
                  </a:lnTo>
                  <a:lnTo>
                    <a:pt x="395" y="211"/>
                  </a:lnTo>
                  <a:lnTo>
                    <a:pt x="397" y="211"/>
                  </a:lnTo>
                  <a:lnTo>
                    <a:pt x="397" y="211"/>
                  </a:lnTo>
                  <a:lnTo>
                    <a:pt x="397" y="212"/>
                  </a:lnTo>
                  <a:lnTo>
                    <a:pt x="399" y="214"/>
                  </a:lnTo>
                  <a:lnTo>
                    <a:pt x="399" y="216"/>
                  </a:lnTo>
                  <a:lnTo>
                    <a:pt x="400" y="219"/>
                  </a:lnTo>
                  <a:lnTo>
                    <a:pt x="399" y="219"/>
                  </a:lnTo>
                  <a:lnTo>
                    <a:pt x="400" y="221"/>
                  </a:lnTo>
                  <a:lnTo>
                    <a:pt x="400" y="224"/>
                  </a:lnTo>
                  <a:lnTo>
                    <a:pt x="402" y="226"/>
                  </a:lnTo>
                  <a:lnTo>
                    <a:pt x="402" y="229"/>
                  </a:lnTo>
                  <a:lnTo>
                    <a:pt x="402" y="233"/>
                  </a:lnTo>
                  <a:lnTo>
                    <a:pt x="406" y="236"/>
                  </a:lnTo>
                  <a:lnTo>
                    <a:pt x="407" y="236"/>
                  </a:lnTo>
                  <a:lnTo>
                    <a:pt x="407" y="236"/>
                  </a:lnTo>
                  <a:lnTo>
                    <a:pt x="409" y="236"/>
                  </a:lnTo>
                  <a:lnTo>
                    <a:pt x="409" y="238"/>
                  </a:lnTo>
                  <a:lnTo>
                    <a:pt x="414" y="238"/>
                  </a:lnTo>
                  <a:lnTo>
                    <a:pt x="416" y="238"/>
                  </a:lnTo>
                  <a:lnTo>
                    <a:pt x="416" y="240"/>
                  </a:lnTo>
                  <a:lnTo>
                    <a:pt x="419" y="241"/>
                  </a:lnTo>
                  <a:lnTo>
                    <a:pt x="424" y="246"/>
                  </a:lnTo>
                  <a:lnTo>
                    <a:pt x="424" y="252"/>
                  </a:lnTo>
                  <a:lnTo>
                    <a:pt x="428" y="255"/>
                  </a:lnTo>
                  <a:lnTo>
                    <a:pt x="428" y="257"/>
                  </a:lnTo>
                  <a:lnTo>
                    <a:pt x="429" y="260"/>
                  </a:lnTo>
                  <a:lnTo>
                    <a:pt x="431" y="258"/>
                  </a:lnTo>
                  <a:lnTo>
                    <a:pt x="433" y="260"/>
                  </a:lnTo>
                  <a:lnTo>
                    <a:pt x="433" y="265"/>
                  </a:lnTo>
                  <a:lnTo>
                    <a:pt x="431" y="269"/>
                  </a:lnTo>
                  <a:lnTo>
                    <a:pt x="433" y="272"/>
                  </a:lnTo>
                  <a:lnTo>
                    <a:pt x="436" y="274"/>
                  </a:lnTo>
                  <a:lnTo>
                    <a:pt x="436" y="282"/>
                  </a:lnTo>
                  <a:lnTo>
                    <a:pt x="438" y="284"/>
                  </a:lnTo>
                  <a:lnTo>
                    <a:pt x="459" y="291"/>
                  </a:lnTo>
                  <a:lnTo>
                    <a:pt x="453" y="298"/>
                  </a:lnTo>
                  <a:lnTo>
                    <a:pt x="453" y="305"/>
                  </a:lnTo>
                  <a:lnTo>
                    <a:pt x="440" y="310"/>
                  </a:lnTo>
                  <a:lnTo>
                    <a:pt x="435" y="306"/>
                  </a:lnTo>
                  <a:lnTo>
                    <a:pt x="433" y="306"/>
                  </a:lnTo>
                  <a:lnTo>
                    <a:pt x="433" y="305"/>
                  </a:lnTo>
                  <a:lnTo>
                    <a:pt x="433" y="305"/>
                  </a:lnTo>
                  <a:lnTo>
                    <a:pt x="429" y="306"/>
                  </a:lnTo>
                  <a:lnTo>
                    <a:pt x="424" y="303"/>
                  </a:lnTo>
                  <a:lnTo>
                    <a:pt x="429" y="308"/>
                  </a:lnTo>
                  <a:lnTo>
                    <a:pt x="433" y="305"/>
                  </a:lnTo>
                  <a:lnTo>
                    <a:pt x="431" y="308"/>
                  </a:lnTo>
                  <a:lnTo>
                    <a:pt x="435" y="306"/>
                  </a:lnTo>
                  <a:lnTo>
                    <a:pt x="440" y="311"/>
                  </a:lnTo>
                  <a:lnTo>
                    <a:pt x="448" y="313"/>
                  </a:lnTo>
                  <a:lnTo>
                    <a:pt x="448" y="318"/>
                  </a:lnTo>
                  <a:lnTo>
                    <a:pt x="441" y="323"/>
                  </a:lnTo>
                  <a:lnTo>
                    <a:pt x="438" y="317"/>
                  </a:lnTo>
                  <a:lnTo>
                    <a:pt x="435" y="318"/>
                  </a:lnTo>
                  <a:lnTo>
                    <a:pt x="438" y="323"/>
                  </a:lnTo>
                  <a:lnTo>
                    <a:pt x="426" y="318"/>
                  </a:lnTo>
                  <a:lnTo>
                    <a:pt x="443" y="332"/>
                  </a:lnTo>
                  <a:lnTo>
                    <a:pt x="440" y="339"/>
                  </a:lnTo>
                  <a:lnTo>
                    <a:pt x="435" y="335"/>
                  </a:lnTo>
                  <a:lnTo>
                    <a:pt x="435" y="344"/>
                  </a:lnTo>
                  <a:lnTo>
                    <a:pt x="440" y="349"/>
                  </a:lnTo>
                  <a:lnTo>
                    <a:pt x="440" y="352"/>
                  </a:lnTo>
                  <a:lnTo>
                    <a:pt x="433" y="368"/>
                  </a:lnTo>
                  <a:lnTo>
                    <a:pt x="428" y="368"/>
                  </a:lnTo>
                  <a:lnTo>
                    <a:pt x="424" y="371"/>
                  </a:lnTo>
                  <a:lnTo>
                    <a:pt x="426" y="376"/>
                  </a:lnTo>
                  <a:lnTo>
                    <a:pt x="426" y="373"/>
                  </a:lnTo>
                  <a:lnTo>
                    <a:pt x="435" y="375"/>
                  </a:lnTo>
                  <a:lnTo>
                    <a:pt x="435" y="378"/>
                  </a:lnTo>
                  <a:lnTo>
                    <a:pt x="429" y="388"/>
                  </a:lnTo>
                  <a:lnTo>
                    <a:pt x="416" y="393"/>
                  </a:lnTo>
                  <a:lnTo>
                    <a:pt x="418" y="397"/>
                  </a:lnTo>
                  <a:lnTo>
                    <a:pt x="423" y="402"/>
                  </a:lnTo>
                  <a:lnTo>
                    <a:pt x="416" y="399"/>
                  </a:lnTo>
                  <a:lnTo>
                    <a:pt x="423" y="407"/>
                  </a:lnTo>
                  <a:lnTo>
                    <a:pt x="419" y="411"/>
                  </a:lnTo>
                  <a:lnTo>
                    <a:pt x="423" y="412"/>
                  </a:lnTo>
                  <a:lnTo>
                    <a:pt x="421" y="421"/>
                  </a:lnTo>
                  <a:lnTo>
                    <a:pt x="424" y="433"/>
                  </a:lnTo>
                  <a:lnTo>
                    <a:pt x="423" y="436"/>
                  </a:lnTo>
                  <a:lnTo>
                    <a:pt x="423" y="438"/>
                  </a:lnTo>
                  <a:lnTo>
                    <a:pt x="416" y="436"/>
                  </a:lnTo>
                  <a:lnTo>
                    <a:pt x="416" y="438"/>
                  </a:lnTo>
                  <a:lnTo>
                    <a:pt x="414" y="436"/>
                  </a:lnTo>
                  <a:lnTo>
                    <a:pt x="412" y="438"/>
                  </a:lnTo>
                  <a:lnTo>
                    <a:pt x="406" y="436"/>
                  </a:lnTo>
                  <a:lnTo>
                    <a:pt x="404" y="434"/>
                  </a:lnTo>
                  <a:lnTo>
                    <a:pt x="400" y="434"/>
                  </a:lnTo>
                  <a:lnTo>
                    <a:pt x="400" y="436"/>
                  </a:lnTo>
                  <a:lnTo>
                    <a:pt x="397" y="433"/>
                  </a:lnTo>
                  <a:lnTo>
                    <a:pt x="390" y="433"/>
                  </a:lnTo>
                  <a:lnTo>
                    <a:pt x="387" y="429"/>
                  </a:lnTo>
                  <a:lnTo>
                    <a:pt x="387" y="431"/>
                  </a:lnTo>
                  <a:lnTo>
                    <a:pt x="383" y="431"/>
                  </a:lnTo>
                  <a:lnTo>
                    <a:pt x="383" y="431"/>
                  </a:lnTo>
                  <a:lnTo>
                    <a:pt x="382" y="434"/>
                  </a:lnTo>
                  <a:lnTo>
                    <a:pt x="380" y="436"/>
                  </a:lnTo>
                  <a:lnTo>
                    <a:pt x="378" y="436"/>
                  </a:lnTo>
                  <a:lnTo>
                    <a:pt x="378" y="438"/>
                  </a:lnTo>
                  <a:lnTo>
                    <a:pt x="376" y="440"/>
                  </a:lnTo>
                  <a:lnTo>
                    <a:pt x="376" y="452"/>
                  </a:lnTo>
                  <a:lnTo>
                    <a:pt x="380" y="457"/>
                  </a:lnTo>
                  <a:lnTo>
                    <a:pt x="382" y="458"/>
                  </a:lnTo>
                  <a:lnTo>
                    <a:pt x="382" y="469"/>
                  </a:lnTo>
                  <a:lnTo>
                    <a:pt x="382" y="472"/>
                  </a:lnTo>
                  <a:lnTo>
                    <a:pt x="380" y="474"/>
                  </a:lnTo>
                  <a:lnTo>
                    <a:pt x="382" y="479"/>
                  </a:lnTo>
                  <a:lnTo>
                    <a:pt x="380" y="481"/>
                  </a:lnTo>
                  <a:lnTo>
                    <a:pt x="371" y="482"/>
                  </a:lnTo>
                  <a:lnTo>
                    <a:pt x="370" y="482"/>
                  </a:lnTo>
                  <a:lnTo>
                    <a:pt x="366" y="477"/>
                  </a:lnTo>
                  <a:lnTo>
                    <a:pt x="366" y="470"/>
                  </a:lnTo>
                  <a:lnTo>
                    <a:pt x="363" y="469"/>
                  </a:lnTo>
                  <a:lnTo>
                    <a:pt x="361" y="467"/>
                  </a:lnTo>
                  <a:lnTo>
                    <a:pt x="363" y="462"/>
                  </a:lnTo>
                  <a:lnTo>
                    <a:pt x="344" y="464"/>
                  </a:lnTo>
                  <a:lnTo>
                    <a:pt x="341" y="464"/>
                  </a:lnTo>
                  <a:lnTo>
                    <a:pt x="329" y="465"/>
                  </a:lnTo>
                  <a:lnTo>
                    <a:pt x="318" y="465"/>
                  </a:lnTo>
                  <a:lnTo>
                    <a:pt x="277" y="469"/>
                  </a:lnTo>
                  <a:lnTo>
                    <a:pt x="262" y="469"/>
                  </a:lnTo>
                  <a:lnTo>
                    <a:pt x="262" y="469"/>
                  </a:lnTo>
                  <a:lnTo>
                    <a:pt x="235" y="470"/>
                  </a:lnTo>
                  <a:lnTo>
                    <a:pt x="223" y="472"/>
                  </a:lnTo>
                  <a:lnTo>
                    <a:pt x="199" y="472"/>
                  </a:lnTo>
                  <a:lnTo>
                    <a:pt x="192" y="474"/>
                  </a:lnTo>
                  <a:lnTo>
                    <a:pt x="171" y="474"/>
                  </a:lnTo>
                  <a:lnTo>
                    <a:pt x="163" y="475"/>
                  </a:lnTo>
                  <a:lnTo>
                    <a:pt x="118" y="479"/>
                  </a:lnTo>
                  <a:lnTo>
                    <a:pt x="118" y="479"/>
                  </a:lnTo>
                  <a:lnTo>
                    <a:pt x="117" y="475"/>
                  </a:lnTo>
                  <a:lnTo>
                    <a:pt x="113" y="474"/>
                  </a:lnTo>
                  <a:lnTo>
                    <a:pt x="112" y="472"/>
                  </a:lnTo>
                  <a:lnTo>
                    <a:pt x="112" y="470"/>
                  </a:lnTo>
                  <a:lnTo>
                    <a:pt x="112" y="465"/>
                  </a:lnTo>
                  <a:lnTo>
                    <a:pt x="110" y="460"/>
                  </a:lnTo>
                  <a:lnTo>
                    <a:pt x="106" y="457"/>
                  </a:lnTo>
                  <a:lnTo>
                    <a:pt x="105" y="453"/>
                  </a:lnTo>
                  <a:lnTo>
                    <a:pt x="103" y="452"/>
                  </a:lnTo>
                  <a:lnTo>
                    <a:pt x="103" y="450"/>
                  </a:lnTo>
                  <a:lnTo>
                    <a:pt x="100" y="441"/>
                  </a:lnTo>
                  <a:lnTo>
                    <a:pt x="98" y="436"/>
                  </a:lnTo>
                  <a:lnTo>
                    <a:pt x="94" y="433"/>
                  </a:lnTo>
                  <a:lnTo>
                    <a:pt x="91" y="433"/>
                  </a:lnTo>
                  <a:lnTo>
                    <a:pt x="91" y="429"/>
                  </a:lnTo>
                  <a:lnTo>
                    <a:pt x="91" y="426"/>
                  </a:lnTo>
                  <a:lnTo>
                    <a:pt x="89" y="421"/>
                  </a:lnTo>
                  <a:lnTo>
                    <a:pt x="91" y="417"/>
                  </a:lnTo>
                  <a:lnTo>
                    <a:pt x="91" y="414"/>
                  </a:lnTo>
                  <a:lnTo>
                    <a:pt x="89" y="411"/>
                  </a:lnTo>
                  <a:lnTo>
                    <a:pt x="91" y="404"/>
                  </a:lnTo>
                  <a:lnTo>
                    <a:pt x="91" y="399"/>
                  </a:lnTo>
                  <a:lnTo>
                    <a:pt x="93" y="395"/>
                  </a:lnTo>
                  <a:lnTo>
                    <a:pt x="91" y="390"/>
                  </a:lnTo>
                  <a:lnTo>
                    <a:pt x="89" y="383"/>
                  </a:lnTo>
                  <a:lnTo>
                    <a:pt x="84" y="378"/>
                  </a:lnTo>
                  <a:lnTo>
                    <a:pt x="83" y="375"/>
                  </a:lnTo>
                  <a:lnTo>
                    <a:pt x="83" y="373"/>
                  </a:lnTo>
                  <a:lnTo>
                    <a:pt x="81" y="368"/>
                  </a:lnTo>
                  <a:close/>
                  <a:moveTo>
                    <a:pt x="424" y="416"/>
                  </a:moveTo>
                  <a:lnTo>
                    <a:pt x="429" y="409"/>
                  </a:lnTo>
                  <a:lnTo>
                    <a:pt x="431" y="412"/>
                  </a:lnTo>
                  <a:lnTo>
                    <a:pt x="429" y="436"/>
                  </a:lnTo>
                  <a:lnTo>
                    <a:pt x="428" y="434"/>
                  </a:lnTo>
                  <a:lnTo>
                    <a:pt x="426" y="421"/>
                  </a:lnTo>
                  <a:lnTo>
                    <a:pt x="423" y="419"/>
                  </a:lnTo>
                  <a:lnTo>
                    <a:pt x="424" y="416"/>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2" name="Freeform 171"/>
            <p:cNvSpPr>
              <a:spLocks noEditPoints="1"/>
            </p:cNvSpPr>
            <p:nvPr/>
          </p:nvSpPr>
          <p:spPr bwMode="gray">
            <a:xfrm>
              <a:off x="7044352" y="4265000"/>
              <a:ext cx="690803" cy="523336"/>
            </a:xfrm>
            <a:custGeom>
              <a:avLst/>
              <a:gdLst/>
              <a:ahLst/>
              <a:cxnLst>
                <a:cxn ang="0">
                  <a:pos x="158" y="217"/>
                </a:cxn>
                <a:cxn ang="0">
                  <a:pos x="154" y="211"/>
                </a:cxn>
                <a:cxn ang="0">
                  <a:pos x="151" y="207"/>
                </a:cxn>
                <a:cxn ang="0">
                  <a:pos x="146" y="204"/>
                </a:cxn>
                <a:cxn ang="0">
                  <a:pos x="142" y="197"/>
                </a:cxn>
                <a:cxn ang="0">
                  <a:pos x="142" y="190"/>
                </a:cxn>
                <a:cxn ang="0">
                  <a:pos x="132" y="183"/>
                </a:cxn>
                <a:cxn ang="0">
                  <a:pos x="120" y="178"/>
                </a:cxn>
                <a:cxn ang="0">
                  <a:pos x="108" y="164"/>
                </a:cxn>
                <a:cxn ang="0">
                  <a:pos x="100" y="158"/>
                </a:cxn>
                <a:cxn ang="0">
                  <a:pos x="84" y="149"/>
                </a:cxn>
                <a:cxn ang="0">
                  <a:pos x="76" y="139"/>
                </a:cxn>
                <a:cxn ang="0">
                  <a:pos x="59" y="120"/>
                </a:cxn>
                <a:cxn ang="0">
                  <a:pos x="50" y="106"/>
                </a:cxn>
                <a:cxn ang="0">
                  <a:pos x="35" y="96"/>
                </a:cxn>
                <a:cxn ang="0">
                  <a:pos x="23" y="93"/>
                </a:cxn>
                <a:cxn ang="0">
                  <a:pos x="11" y="86"/>
                </a:cxn>
                <a:cxn ang="0">
                  <a:pos x="0" y="74"/>
                </a:cxn>
                <a:cxn ang="0">
                  <a:pos x="6" y="64"/>
                </a:cxn>
                <a:cxn ang="0">
                  <a:pos x="7" y="58"/>
                </a:cxn>
                <a:cxn ang="0">
                  <a:pos x="11" y="55"/>
                </a:cxn>
                <a:cxn ang="0">
                  <a:pos x="16" y="50"/>
                </a:cxn>
                <a:cxn ang="0">
                  <a:pos x="16" y="47"/>
                </a:cxn>
                <a:cxn ang="0">
                  <a:pos x="24" y="38"/>
                </a:cxn>
                <a:cxn ang="0">
                  <a:pos x="52" y="26"/>
                </a:cxn>
                <a:cxn ang="0">
                  <a:pos x="65" y="19"/>
                </a:cxn>
                <a:cxn ang="0">
                  <a:pos x="77" y="14"/>
                </a:cxn>
                <a:cxn ang="0">
                  <a:pos x="86" y="11"/>
                </a:cxn>
                <a:cxn ang="0">
                  <a:pos x="130" y="6"/>
                </a:cxn>
                <a:cxn ang="0">
                  <a:pos x="192" y="2"/>
                </a:cxn>
                <a:cxn ang="0">
                  <a:pos x="204" y="4"/>
                </a:cxn>
                <a:cxn ang="0">
                  <a:pos x="219" y="33"/>
                </a:cxn>
                <a:cxn ang="0">
                  <a:pos x="315" y="17"/>
                </a:cxn>
                <a:cxn ang="0">
                  <a:pos x="378" y="60"/>
                </a:cxn>
                <a:cxn ang="0">
                  <a:pos x="429" y="101"/>
                </a:cxn>
                <a:cxn ang="0">
                  <a:pos x="390" y="166"/>
                </a:cxn>
                <a:cxn ang="0">
                  <a:pos x="387" y="187"/>
                </a:cxn>
                <a:cxn ang="0">
                  <a:pos x="373" y="204"/>
                </a:cxn>
                <a:cxn ang="0">
                  <a:pos x="358" y="217"/>
                </a:cxn>
                <a:cxn ang="0">
                  <a:pos x="332" y="228"/>
                </a:cxn>
                <a:cxn ang="0">
                  <a:pos x="335" y="240"/>
                </a:cxn>
                <a:cxn ang="0">
                  <a:pos x="305" y="270"/>
                </a:cxn>
                <a:cxn ang="0">
                  <a:pos x="294" y="272"/>
                </a:cxn>
                <a:cxn ang="0">
                  <a:pos x="272" y="274"/>
                </a:cxn>
                <a:cxn ang="0">
                  <a:pos x="293" y="293"/>
                </a:cxn>
                <a:cxn ang="0">
                  <a:pos x="259" y="281"/>
                </a:cxn>
                <a:cxn ang="0">
                  <a:pos x="259" y="289"/>
                </a:cxn>
                <a:cxn ang="0">
                  <a:pos x="236" y="323"/>
                </a:cxn>
                <a:cxn ang="0">
                  <a:pos x="233" y="306"/>
                </a:cxn>
                <a:cxn ang="0">
                  <a:pos x="228" y="298"/>
                </a:cxn>
                <a:cxn ang="0">
                  <a:pos x="219" y="282"/>
                </a:cxn>
                <a:cxn ang="0">
                  <a:pos x="209" y="279"/>
                </a:cxn>
                <a:cxn ang="0">
                  <a:pos x="206" y="277"/>
                </a:cxn>
                <a:cxn ang="0">
                  <a:pos x="200" y="265"/>
                </a:cxn>
                <a:cxn ang="0">
                  <a:pos x="199" y="257"/>
                </a:cxn>
                <a:cxn ang="0">
                  <a:pos x="197" y="252"/>
                </a:cxn>
                <a:cxn ang="0">
                  <a:pos x="194" y="245"/>
                </a:cxn>
                <a:cxn ang="0">
                  <a:pos x="188" y="240"/>
                </a:cxn>
                <a:cxn ang="0">
                  <a:pos x="183" y="231"/>
                </a:cxn>
                <a:cxn ang="0">
                  <a:pos x="168" y="224"/>
                </a:cxn>
                <a:cxn ang="0">
                  <a:pos x="265" y="303"/>
                </a:cxn>
                <a:cxn ang="0">
                  <a:pos x="265" y="303"/>
                </a:cxn>
              </a:cxnLst>
              <a:rect l="0" t="0" r="r" b="b"/>
              <a:pathLst>
                <a:path w="429" h="325">
                  <a:moveTo>
                    <a:pt x="163" y="217"/>
                  </a:moveTo>
                  <a:lnTo>
                    <a:pt x="161" y="216"/>
                  </a:lnTo>
                  <a:lnTo>
                    <a:pt x="159" y="216"/>
                  </a:lnTo>
                  <a:lnTo>
                    <a:pt x="158" y="217"/>
                  </a:lnTo>
                  <a:lnTo>
                    <a:pt x="158" y="216"/>
                  </a:lnTo>
                  <a:lnTo>
                    <a:pt x="153" y="214"/>
                  </a:lnTo>
                  <a:lnTo>
                    <a:pt x="154" y="212"/>
                  </a:lnTo>
                  <a:lnTo>
                    <a:pt x="154" y="211"/>
                  </a:lnTo>
                  <a:lnTo>
                    <a:pt x="154" y="211"/>
                  </a:lnTo>
                  <a:lnTo>
                    <a:pt x="151" y="209"/>
                  </a:lnTo>
                  <a:lnTo>
                    <a:pt x="153" y="207"/>
                  </a:lnTo>
                  <a:lnTo>
                    <a:pt x="151" y="207"/>
                  </a:lnTo>
                  <a:lnTo>
                    <a:pt x="151" y="207"/>
                  </a:lnTo>
                  <a:lnTo>
                    <a:pt x="147" y="205"/>
                  </a:lnTo>
                  <a:lnTo>
                    <a:pt x="146" y="205"/>
                  </a:lnTo>
                  <a:lnTo>
                    <a:pt x="146" y="204"/>
                  </a:lnTo>
                  <a:lnTo>
                    <a:pt x="144" y="204"/>
                  </a:lnTo>
                  <a:lnTo>
                    <a:pt x="142" y="200"/>
                  </a:lnTo>
                  <a:lnTo>
                    <a:pt x="144" y="200"/>
                  </a:lnTo>
                  <a:lnTo>
                    <a:pt x="142" y="197"/>
                  </a:lnTo>
                  <a:lnTo>
                    <a:pt x="146" y="197"/>
                  </a:lnTo>
                  <a:lnTo>
                    <a:pt x="144" y="194"/>
                  </a:lnTo>
                  <a:lnTo>
                    <a:pt x="144" y="192"/>
                  </a:lnTo>
                  <a:lnTo>
                    <a:pt x="142" y="190"/>
                  </a:lnTo>
                  <a:lnTo>
                    <a:pt x="137" y="188"/>
                  </a:lnTo>
                  <a:lnTo>
                    <a:pt x="135" y="187"/>
                  </a:lnTo>
                  <a:lnTo>
                    <a:pt x="134" y="185"/>
                  </a:lnTo>
                  <a:lnTo>
                    <a:pt x="132" y="183"/>
                  </a:lnTo>
                  <a:lnTo>
                    <a:pt x="129" y="182"/>
                  </a:lnTo>
                  <a:lnTo>
                    <a:pt x="125" y="180"/>
                  </a:lnTo>
                  <a:lnTo>
                    <a:pt x="122" y="180"/>
                  </a:lnTo>
                  <a:lnTo>
                    <a:pt x="120" y="178"/>
                  </a:lnTo>
                  <a:lnTo>
                    <a:pt x="117" y="178"/>
                  </a:lnTo>
                  <a:lnTo>
                    <a:pt x="115" y="171"/>
                  </a:lnTo>
                  <a:lnTo>
                    <a:pt x="113" y="171"/>
                  </a:lnTo>
                  <a:lnTo>
                    <a:pt x="108" y="164"/>
                  </a:lnTo>
                  <a:lnTo>
                    <a:pt x="105" y="163"/>
                  </a:lnTo>
                  <a:lnTo>
                    <a:pt x="105" y="159"/>
                  </a:lnTo>
                  <a:lnTo>
                    <a:pt x="100" y="158"/>
                  </a:lnTo>
                  <a:lnTo>
                    <a:pt x="100" y="158"/>
                  </a:lnTo>
                  <a:lnTo>
                    <a:pt x="96" y="156"/>
                  </a:lnTo>
                  <a:lnTo>
                    <a:pt x="93" y="156"/>
                  </a:lnTo>
                  <a:lnTo>
                    <a:pt x="89" y="154"/>
                  </a:lnTo>
                  <a:lnTo>
                    <a:pt x="84" y="149"/>
                  </a:lnTo>
                  <a:lnTo>
                    <a:pt x="79" y="147"/>
                  </a:lnTo>
                  <a:lnTo>
                    <a:pt x="79" y="146"/>
                  </a:lnTo>
                  <a:lnTo>
                    <a:pt x="76" y="141"/>
                  </a:lnTo>
                  <a:lnTo>
                    <a:pt x="76" y="139"/>
                  </a:lnTo>
                  <a:lnTo>
                    <a:pt x="69" y="132"/>
                  </a:lnTo>
                  <a:lnTo>
                    <a:pt x="62" y="127"/>
                  </a:lnTo>
                  <a:lnTo>
                    <a:pt x="60" y="123"/>
                  </a:lnTo>
                  <a:lnTo>
                    <a:pt x="59" y="120"/>
                  </a:lnTo>
                  <a:lnTo>
                    <a:pt x="57" y="115"/>
                  </a:lnTo>
                  <a:lnTo>
                    <a:pt x="55" y="115"/>
                  </a:lnTo>
                  <a:lnTo>
                    <a:pt x="52" y="110"/>
                  </a:lnTo>
                  <a:lnTo>
                    <a:pt x="50" y="106"/>
                  </a:lnTo>
                  <a:lnTo>
                    <a:pt x="48" y="101"/>
                  </a:lnTo>
                  <a:lnTo>
                    <a:pt x="45" y="98"/>
                  </a:lnTo>
                  <a:lnTo>
                    <a:pt x="41" y="96"/>
                  </a:lnTo>
                  <a:lnTo>
                    <a:pt x="35" y="96"/>
                  </a:lnTo>
                  <a:lnTo>
                    <a:pt x="33" y="98"/>
                  </a:lnTo>
                  <a:lnTo>
                    <a:pt x="30" y="96"/>
                  </a:lnTo>
                  <a:lnTo>
                    <a:pt x="26" y="93"/>
                  </a:lnTo>
                  <a:lnTo>
                    <a:pt x="23" y="93"/>
                  </a:lnTo>
                  <a:lnTo>
                    <a:pt x="21" y="89"/>
                  </a:lnTo>
                  <a:lnTo>
                    <a:pt x="19" y="88"/>
                  </a:lnTo>
                  <a:lnTo>
                    <a:pt x="18" y="86"/>
                  </a:lnTo>
                  <a:lnTo>
                    <a:pt x="11" y="86"/>
                  </a:lnTo>
                  <a:lnTo>
                    <a:pt x="6" y="81"/>
                  </a:lnTo>
                  <a:lnTo>
                    <a:pt x="0" y="79"/>
                  </a:lnTo>
                  <a:lnTo>
                    <a:pt x="0" y="76"/>
                  </a:lnTo>
                  <a:lnTo>
                    <a:pt x="0" y="74"/>
                  </a:lnTo>
                  <a:lnTo>
                    <a:pt x="2" y="70"/>
                  </a:lnTo>
                  <a:lnTo>
                    <a:pt x="0" y="67"/>
                  </a:lnTo>
                  <a:lnTo>
                    <a:pt x="2" y="65"/>
                  </a:lnTo>
                  <a:lnTo>
                    <a:pt x="6" y="64"/>
                  </a:lnTo>
                  <a:lnTo>
                    <a:pt x="6" y="62"/>
                  </a:lnTo>
                  <a:lnTo>
                    <a:pt x="7" y="60"/>
                  </a:lnTo>
                  <a:lnTo>
                    <a:pt x="7" y="60"/>
                  </a:lnTo>
                  <a:lnTo>
                    <a:pt x="7" y="58"/>
                  </a:lnTo>
                  <a:lnTo>
                    <a:pt x="7" y="57"/>
                  </a:lnTo>
                  <a:lnTo>
                    <a:pt x="7" y="57"/>
                  </a:lnTo>
                  <a:lnTo>
                    <a:pt x="9" y="55"/>
                  </a:lnTo>
                  <a:lnTo>
                    <a:pt x="11" y="55"/>
                  </a:lnTo>
                  <a:lnTo>
                    <a:pt x="11" y="53"/>
                  </a:lnTo>
                  <a:lnTo>
                    <a:pt x="14" y="52"/>
                  </a:lnTo>
                  <a:lnTo>
                    <a:pt x="14" y="50"/>
                  </a:lnTo>
                  <a:lnTo>
                    <a:pt x="16" y="50"/>
                  </a:lnTo>
                  <a:lnTo>
                    <a:pt x="16" y="48"/>
                  </a:lnTo>
                  <a:lnTo>
                    <a:pt x="18" y="48"/>
                  </a:lnTo>
                  <a:lnTo>
                    <a:pt x="16" y="47"/>
                  </a:lnTo>
                  <a:lnTo>
                    <a:pt x="16" y="47"/>
                  </a:lnTo>
                  <a:lnTo>
                    <a:pt x="16" y="47"/>
                  </a:lnTo>
                  <a:lnTo>
                    <a:pt x="18" y="43"/>
                  </a:lnTo>
                  <a:lnTo>
                    <a:pt x="18" y="41"/>
                  </a:lnTo>
                  <a:lnTo>
                    <a:pt x="24" y="38"/>
                  </a:lnTo>
                  <a:lnTo>
                    <a:pt x="35" y="33"/>
                  </a:lnTo>
                  <a:lnTo>
                    <a:pt x="45" y="29"/>
                  </a:lnTo>
                  <a:lnTo>
                    <a:pt x="50" y="28"/>
                  </a:lnTo>
                  <a:lnTo>
                    <a:pt x="52" y="26"/>
                  </a:lnTo>
                  <a:lnTo>
                    <a:pt x="52" y="24"/>
                  </a:lnTo>
                  <a:lnTo>
                    <a:pt x="53" y="24"/>
                  </a:lnTo>
                  <a:lnTo>
                    <a:pt x="60" y="19"/>
                  </a:lnTo>
                  <a:lnTo>
                    <a:pt x="65" y="19"/>
                  </a:lnTo>
                  <a:lnTo>
                    <a:pt x="69" y="16"/>
                  </a:lnTo>
                  <a:lnTo>
                    <a:pt x="72" y="16"/>
                  </a:lnTo>
                  <a:lnTo>
                    <a:pt x="76" y="11"/>
                  </a:lnTo>
                  <a:lnTo>
                    <a:pt x="77" y="14"/>
                  </a:lnTo>
                  <a:lnTo>
                    <a:pt x="79" y="14"/>
                  </a:lnTo>
                  <a:lnTo>
                    <a:pt x="79" y="12"/>
                  </a:lnTo>
                  <a:lnTo>
                    <a:pt x="82" y="12"/>
                  </a:lnTo>
                  <a:lnTo>
                    <a:pt x="86" y="11"/>
                  </a:lnTo>
                  <a:lnTo>
                    <a:pt x="91" y="11"/>
                  </a:lnTo>
                  <a:lnTo>
                    <a:pt x="112" y="9"/>
                  </a:lnTo>
                  <a:lnTo>
                    <a:pt x="120" y="7"/>
                  </a:lnTo>
                  <a:lnTo>
                    <a:pt x="130" y="6"/>
                  </a:lnTo>
                  <a:lnTo>
                    <a:pt x="165" y="2"/>
                  </a:lnTo>
                  <a:lnTo>
                    <a:pt x="168" y="2"/>
                  </a:lnTo>
                  <a:lnTo>
                    <a:pt x="192" y="0"/>
                  </a:lnTo>
                  <a:lnTo>
                    <a:pt x="192" y="2"/>
                  </a:lnTo>
                  <a:lnTo>
                    <a:pt x="195" y="4"/>
                  </a:lnTo>
                  <a:lnTo>
                    <a:pt x="192" y="9"/>
                  </a:lnTo>
                  <a:lnTo>
                    <a:pt x="195" y="12"/>
                  </a:lnTo>
                  <a:lnTo>
                    <a:pt x="204" y="4"/>
                  </a:lnTo>
                  <a:lnTo>
                    <a:pt x="207" y="7"/>
                  </a:lnTo>
                  <a:lnTo>
                    <a:pt x="212" y="12"/>
                  </a:lnTo>
                  <a:lnTo>
                    <a:pt x="218" y="19"/>
                  </a:lnTo>
                  <a:lnTo>
                    <a:pt x="219" y="33"/>
                  </a:lnTo>
                  <a:lnTo>
                    <a:pt x="240" y="29"/>
                  </a:lnTo>
                  <a:lnTo>
                    <a:pt x="260" y="26"/>
                  </a:lnTo>
                  <a:lnTo>
                    <a:pt x="294" y="21"/>
                  </a:lnTo>
                  <a:lnTo>
                    <a:pt x="315" y="17"/>
                  </a:lnTo>
                  <a:lnTo>
                    <a:pt x="317" y="17"/>
                  </a:lnTo>
                  <a:lnTo>
                    <a:pt x="339" y="31"/>
                  </a:lnTo>
                  <a:lnTo>
                    <a:pt x="339" y="33"/>
                  </a:lnTo>
                  <a:lnTo>
                    <a:pt x="378" y="60"/>
                  </a:lnTo>
                  <a:lnTo>
                    <a:pt x="421" y="93"/>
                  </a:lnTo>
                  <a:lnTo>
                    <a:pt x="429" y="98"/>
                  </a:lnTo>
                  <a:lnTo>
                    <a:pt x="426" y="100"/>
                  </a:lnTo>
                  <a:lnTo>
                    <a:pt x="429" y="101"/>
                  </a:lnTo>
                  <a:lnTo>
                    <a:pt x="407" y="120"/>
                  </a:lnTo>
                  <a:lnTo>
                    <a:pt x="399" y="137"/>
                  </a:lnTo>
                  <a:lnTo>
                    <a:pt x="390" y="154"/>
                  </a:lnTo>
                  <a:lnTo>
                    <a:pt x="390" y="166"/>
                  </a:lnTo>
                  <a:lnTo>
                    <a:pt x="388" y="164"/>
                  </a:lnTo>
                  <a:lnTo>
                    <a:pt x="380" y="171"/>
                  </a:lnTo>
                  <a:lnTo>
                    <a:pt x="388" y="182"/>
                  </a:lnTo>
                  <a:lnTo>
                    <a:pt x="387" y="187"/>
                  </a:lnTo>
                  <a:lnTo>
                    <a:pt x="375" y="187"/>
                  </a:lnTo>
                  <a:lnTo>
                    <a:pt x="380" y="188"/>
                  </a:lnTo>
                  <a:lnTo>
                    <a:pt x="382" y="192"/>
                  </a:lnTo>
                  <a:lnTo>
                    <a:pt x="373" y="204"/>
                  </a:lnTo>
                  <a:lnTo>
                    <a:pt x="358" y="205"/>
                  </a:lnTo>
                  <a:lnTo>
                    <a:pt x="354" y="211"/>
                  </a:lnTo>
                  <a:lnTo>
                    <a:pt x="359" y="216"/>
                  </a:lnTo>
                  <a:lnTo>
                    <a:pt x="358" y="217"/>
                  </a:lnTo>
                  <a:lnTo>
                    <a:pt x="346" y="231"/>
                  </a:lnTo>
                  <a:lnTo>
                    <a:pt x="332" y="235"/>
                  </a:lnTo>
                  <a:lnTo>
                    <a:pt x="341" y="217"/>
                  </a:lnTo>
                  <a:lnTo>
                    <a:pt x="332" y="228"/>
                  </a:lnTo>
                  <a:lnTo>
                    <a:pt x="329" y="221"/>
                  </a:lnTo>
                  <a:lnTo>
                    <a:pt x="325" y="223"/>
                  </a:lnTo>
                  <a:lnTo>
                    <a:pt x="329" y="233"/>
                  </a:lnTo>
                  <a:lnTo>
                    <a:pt x="335" y="240"/>
                  </a:lnTo>
                  <a:lnTo>
                    <a:pt x="335" y="246"/>
                  </a:lnTo>
                  <a:lnTo>
                    <a:pt x="329" y="255"/>
                  </a:lnTo>
                  <a:lnTo>
                    <a:pt x="310" y="264"/>
                  </a:lnTo>
                  <a:lnTo>
                    <a:pt x="305" y="270"/>
                  </a:lnTo>
                  <a:lnTo>
                    <a:pt x="300" y="270"/>
                  </a:lnTo>
                  <a:lnTo>
                    <a:pt x="293" y="257"/>
                  </a:lnTo>
                  <a:lnTo>
                    <a:pt x="289" y="255"/>
                  </a:lnTo>
                  <a:lnTo>
                    <a:pt x="294" y="272"/>
                  </a:lnTo>
                  <a:lnTo>
                    <a:pt x="288" y="272"/>
                  </a:lnTo>
                  <a:lnTo>
                    <a:pt x="281" y="269"/>
                  </a:lnTo>
                  <a:lnTo>
                    <a:pt x="282" y="274"/>
                  </a:lnTo>
                  <a:lnTo>
                    <a:pt x="272" y="274"/>
                  </a:lnTo>
                  <a:lnTo>
                    <a:pt x="272" y="276"/>
                  </a:lnTo>
                  <a:lnTo>
                    <a:pt x="288" y="281"/>
                  </a:lnTo>
                  <a:lnTo>
                    <a:pt x="293" y="286"/>
                  </a:lnTo>
                  <a:lnTo>
                    <a:pt x="293" y="293"/>
                  </a:lnTo>
                  <a:lnTo>
                    <a:pt x="279" y="299"/>
                  </a:lnTo>
                  <a:lnTo>
                    <a:pt x="274" y="299"/>
                  </a:lnTo>
                  <a:lnTo>
                    <a:pt x="267" y="293"/>
                  </a:lnTo>
                  <a:lnTo>
                    <a:pt x="259" y="281"/>
                  </a:lnTo>
                  <a:lnTo>
                    <a:pt x="260" y="277"/>
                  </a:lnTo>
                  <a:lnTo>
                    <a:pt x="255" y="277"/>
                  </a:lnTo>
                  <a:lnTo>
                    <a:pt x="252" y="276"/>
                  </a:lnTo>
                  <a:lnTo>
                    <a:pt x="259" y="289"/>
                  </a:lnTo>
                  <a:lnTo>
                    <a:pt x="265" y="305"/>
                  </a:lnTo>
                  <a:lnTo>
                    <a:pt x="259" y="325"/>
                  </a:lnTo>
                  <a:lnTo>
                    <a:pt x="238" y="325"/>
                  </a:lnTo>
                  <a:lnTo>
                    <a:pt x="236" y="323"/>
                  </a:lnTo>
                  <a:lnTo>
                    <a:pt x="236" y="315"/>
                  </a:lnTo>
                  <a:lnTo>
                    <a:pt x="233" y="313"/>
                  </a:lnTo>
                  <a:lnTo>
                    <a:pt x="231" y="310"/>
                  </a:lnTo>
                  <a:lnTo>
                    <a:pt x="233" y="306"/>
                  </a:lnTo>
                  <a:lnTo>
                    <a:pt x="233" y="301"/>
                  </a:lnTo>
                  <a:lnTo>
                    <a:pt x="231" y="299"/>
                  </a:lnTo>
                  <a:lnTo>
                    <a:pt x="229" y="301"/>
                  </a:lnTo>
                  <a:lnTo>
                    <a:pt x="228" y="298"/>
                  </a:lnTo>
                  <a:lnTo>
                    <a:pt x="228" y="296"/>
                  </a:lnTo>
                  <a:lnTo>
                    <a:pt x="224" y="293"/>
                  </a:lnTo>
                  <a:lnTo>
                    <a:pt x="224" y="287"/>
                  </a:lnTo>
                  <a:lnTo>
                    <a:pt x="219" y="282"/>
                  </a:lnTo>
                  <a:lnTo>
                    <a:pt x="216" y="281"/>
                  </a:lnTo>
                  <a:lnTo>
                    <a:pt x="216" y="279"/>
                  </a:lnTo>
                  <a:lnTo>
                    <a:pt x="214" y="279"/>
                  </a:lnTo>
                  <a:lnTo>
                    <a:pt x="209" y="279"/>
                  </a:lnTo>
                  <a:lnTo>
                    <a:pt x="209" y="277"/>
                  </a:lnTo>
                  <a:lnTo>
                    <a:pt x="207" y="277"/>
                  </a:lnTo>
                  <a:lnTo>
                    <a:pt x="207" y="277"/>
                  </a:lnTo>
                  <a:lnTo>
                    <a:pt x="206" y="277"/>
                  </a:lnTo>
                  <a:lnTo>
                    <a:pt x="202" y="274"/>
                  </a:lnTo>
                  <a:lnTo>
                    <a:pt x="202" y="270"/>
                  </a:lnTo>
                  <a:lnTo>
                    <a:pt x="202" y="267"/>
                  </a:lnTo>
                  <a:lnTo>
                    <a:pt x="200" y="265"/>
                  </a:lnTo>
                  <a:lnTo>
                    <a:pt x="200" y="262"/>
                  </a:lnTo>
                  <a:lnTo>
                    <a:pt x="199" y="260"/>
                  </a:lnTo>
                  <a:lnTo>
                    <a:pt x="200" y="260"/>
                  </a:lnTo>
                  <a:lnTo>
                    <a:pt x="199" y="257"/>
                  </a:lnTo>
                  <a:lnTo>
                    <a:pt x="199" y="255"/>
                  </a:lnTo>
                  <a:lnTo>
                    <a:pt x="197" y="253"/>
                  </a:lnTo>
                  <a:lnTo>
                    <a:pt x="197" y="252"/>
                  </a:lnTo>
                  <a:lnTo>
                    <a:pt x="197" y="252"/>
                  </a:lnTo>
                  <a:lnTo>
                    <a:pt x="195" y="252"/>
                  </a:lnTo>
                  <a:lnTo>
                    <a:pt x="194" y="248"/>
                  </a:lnTo>
                  <a:lnTo>
                    <a:pt x="192" y="248"/>
                  </a:lnTo>
                  <a:lnTo>
                    <a:pt x="194" y="245"/>
                  </a:lnTo>
                  <a:lnTo>
                    <a:pt x="192" y="245"/>
                  </a:lnTo>
                  <a:lnTo>
                    <a:pt x="188" y="241"/>
                  </a:lnTo>
                  <a:lnTo>
                    <a:pt x="188" y="240"/>
                  </a:lnTo>
                  <a:lnTo>
                    <a:pt x="188" y="240"/>
                  </a:lnTo>
                  <a:lnTo>
                    <a:pt x="188" y="235"/>
                  </a:lnTo>
                  <a:lnTo>
                    <a:pt x="187" y="235"/>
                  </a:lnTo>
                  <a:lnTo>
                    <a:pt x="185" y="231"/>
                  </a:lnTo>
                  <a:lnTo>
                    <a:pt x="183" y="231"/>
                  </a:lnTo>
                  <a:lnTo>
                    <a:pt x="182" y="229"/>
                  </a:lnTo>
                  <a:lnTo>
                    <a:pt x="178" y="229"/>
                  </a:lnTo>
                  <a:lnTo>
                    <a:pt x="176" y="228"/>
                  </a:lnTo>
                  <a:lnTo>
                    <a:pt x="168" y="224"/>
                  </a:lnTo>
                  <a:lnTo>
                    <a:pt x="165" y="223"/>
                  </a:lnTo>
                  <a:lnTo>
                    <a:pt x="163" y="221"/>
                  </a:lnTo>
                  <a:lnTo>
                    <a:pt x="163" y="217"/>
                  </a:lnTo>
                  <a:close/>
                  <a:moveTo>
                    <a:pt x="265" y="303"/>
                  </a:moveTo>
                  <a:lnTo>
                    <a:pt x="270" y="301"/>
                  </a:lnTo>
                  <a:lnTo>
                    <a:pt x="276" y="306"/>
                  </a:lnTo>
                  <a:lnTo>
                    <a:pt x="264" y="320"/>
                  </a:lnTo>
                  <a:lnTo>
                    <a:pt x="265" y="303"/>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3" name="Freeform 172"/>
            <p:cNvSpPr>
              <a:spLocks/>
            </p:cNvSpPr>
            <p:nvPr/>
          </p:nvSpPr>
          <p:spPr bwMode="gray">
            <a:xfrm>
              <a:off x="5455025" y="4171604"/>
              <a:ext cx="692412" cy="624781"/>
            </a:xfrm>
            <a:custGeom>
              <a:avLst/>
              <a:gdLst/>
              <a:ahLst/>
              <a:cxnLst>
                <a:cxn ang="0">
                  <a:pos x="15" y="106"/>
                </a:cxn>
                <a:cxn ang="0">
                  <a:pos x="46" y="14"/>
                </a:cxn>
                <a:cxn ang="0">
                  <a:pos x="157" y="11"/>
                </a:cxn>
                <a:cxn ang="0">
                  <a:pos x="275" y="5"/>
                </a:cxn>
                <a:cxn ang="0">
                  <a:pos x="384" y="4"/>
                </a:cxn>
                <a:cxn ang="0">
                  <a:pos x="391" y="14"/>
                </a:cxn>
                <a:cxn ang="0">
                  <a:pos x="382" y="31"/>
                </a:cxn>
                <a:cxn ang="0">
                  <a:pos x="370" y="45"/>
                </a:cxn>
                <a:cxn ang="0">
                  <a:pos x="429" y="57"/>
                </a:cxn>
                <a:cxn ang="0">
                  <a:pos x="420" y="62"/>
                </a:cxn>
                <a:cxn ang="0">
                  <a:pos x="420" y="70"/>
                </a:cxn>
                <a:cxn ang="0">
                  <a:pos x="405" y="81"/>
                </a:cxn>
                <a:cxn ang="0">
                  <a:pos x="413" y="89"/>
                </a:cxn>
                <a:cxn ang="0">
                  <a:pos x="408" y="103"/>
                </a:cxn>
                <a:cxn ang="0">
                  <a:pos x="398" y="105"/>
                </a:cxn>
                <a:cxn ang="0">
                  <a:pos x="394" y="110"/>
                </a:cxn>
                <a:cxn ang="0">
                  <a:pos x="391" y="116"/>
                </a:cxn>
                <a:cxn ang="0">
                  <a:pos x="394" y="123"/>
                </a:cxn>
                <a:cxn ang="0">
                  <a:pos x="396" y="134"/>
                </a:cxn>
                <a:cxn ang="0">
                  <a:pos x="391" y="146"/>
                </a:cxn>
                <a:cxn ang="0">
                  <a:pos x="379" y="161"/>
                </a:cxn>
                <a:cxn ang="0">
                  <a:pos x="381" y="175"/>
                </a:cxn>
                <a:cxn ang="0">
                  <a:pos x="369" y="180"/>
                </a:cxn>
                <a:cxn ang="0">
                  <a:pos x="367" y="181"/>
                </a:cxn>
                <a:cxn ang="0">
                  <a:pos x="362" y="190"/>
                </a:cxn>
                <a:cxn ang="0">
                  <a:pos x="360" y="193"/>
                </a:cxn>
                <a:cxn ang="0">
                  <a:pos x="360" y="200"/>
                </a:cxn>
                <a:cxn ang="0">
                  <a:pos x="362" y="210"/>
                </a:cxn>
                <a:cxn ang="0">
                  <a:pos x="359" y="224"/>
                </a:cxn>
                <a:cxn ang="0">
                  <a:pos x="350" y="233"/>
                </a:cxn>
                <a:cxn ang="0">
                  <a:pos x="340" y="240"/>
                </a:cxn>
                <a:cxn ang="0">
                  <a:pos x="328" y="246"/>
                </a:cxn>
                <a:cxn ang="0">
                  <a:pos x="329" y="252"/>
                </a:cxn>
                <a:cxn ang="0">
                  <a:pos x="328" y="269"/>
                </a:cxn>
                <a:cxn ang="0">
                  <a:pos x="324" y="275"/>
                </a:cxn>
                <a:cxn ang="0">
                  <a:pos x="323" y="279"/>
                </a:cxn>
                <a:cxn ang="0">
                  <a:pos x="326" y="298"/>
                </a:cxn>
                <a:cxn ang="0">
                  <a:pos x="312" y="298"/>
                </a:cxn>
                <a:cxn ang="0">
                  <a:pos x="323" y="306"/>
                </a:cxn>
                <a:cxn ang="0">
                  <a:pos x="307" y="310"/>
                </a:cxn>
                <a:cxn ang="0">
                  <a:pos x="306" y="322"/>
                </a:cxn>
                <a:cxn ang="0">
                  <a:pos x="307" y="332"/>
                </a:cxn>
                <a:cxn ang="0">
                  <a:pos x="316" y="328"/>
                </a:cxn>
                <a:cxn ang="0">
                  <a:pos x="311" y="339"/>
                </a:cxn>
                <a:cxn ang="0">
                  <a:pos x="321" y="334"/>
                </a:cxn>
                <a:cxn ang="0">
                  <a:pos x="319" y="354"/>
                </a:cxn>
                <a:cxn ang="0">
                  <a:pos x="321" y="363"/>
                </a:cxn>
                <a:cxn ang="0">
                  <a:pos x="316" y="371"/>
                </a:cxn>
                <a:cxn ang="0">
                  <a:pos x="307" y="380"/>
                </a:cxn>
                <a:cxn ang="0">
                  <a:pos x="129" y="387"/>
                </a:cxn>
                <a:cxn ang="0">
                  <a:pos x="56" y="330"/>
                </a:cxn>
                <a:cxn ang="0">
                  <a:pos x="41" y="327"/>
                </a:cxn>
                <a:cxn ang="0">
                  <a:pos x="35" y="327"/>
                </a:cxn>
                <a:cxn ang="0">
                  <a:pos x="25" y="330"/>
                </a:cxn>
                <a:cxn ang="0">
                  <a:pos x="22" y="327"/>
                </a:cxn>
                <a:cxn ang="0">
                  <a:pos x="17" y="289"/>
                </a:cxn>
              </a:cxnLst>
              <a:rect l="0" t="0" r="r" b="b"/>
              <a:pathLst>
                <a:path w="430" h="388">
                  <a:moveTo>
                    <a:pt x="18" y="262"/>
                  </a:moveTo>
                  <a:lnTo>
                    <a:pt x="18" y="228"/>
                  </a:lnTo>
                  <a:lnTo>
                    <a:pt x="18" y="204"/>
                  </a:lnTo>
                  <a:lnTo>
                    <a:pt x="18" y="183"/>
                  </a:lnTo>
                  <a:lnTo>
                    <a:pt x="18" y="132"/>
                  </a:lnTo>
                  <a:lnTo>
                    <a:pt x="15" y="106"/>
                  </a:lnTo>
                  <a:lnTo>
                    <a:pt x="13" y="93"/>
                  </a:lnTo>
                  <a:lnTo>
                    <a:pt x="6" y="57"/>
                  </a:lnTo>
                  <a:lnTo>
                    <a:pt x="6" y="50"/>
                  </a:lnTo>
                  <a:lnTo>
                    <a:pt x="1" y="16"/>
                  </a:lnTo>
                  <a:lnTo>
                    <a:pt x="0" y="14"/>
                  </a:lnTo>
                  <a:lnTo>
                    <a:pt x="46" y="14"/>
                  </a:lnTo>
                  <a:lnTo>
                    <a:pt x="65" y="14"/>
                  </a:lnTo>
                  <a:lnTo>
                    <a:pt x="87" y="12"/>
                  </a:lnTo>
                  <a:lnTo>
                    <a:pt x="111" y="12"/>
                  </a:lnTo>
                  <a:lnTo>
                    <a:pt x="112" y="12"/>
                  </a:lnTo>
                  <a:lnTo>
                    <a:pt x="152" y="11"/>
                  </a:lnTo>
                  <a:lnTo>
                    <a:pt x="157" y="11"/>
                  </a:lnTo>
                  <a:lnTo>
                    <a:pt x="179" y="11"/>
                  </a:lnTo>
                  <a:lnTo>
                    <a:pt x="212" y="9"/>
                  </a:lnTo>
                  <a:lnTo>
                    <a:pt x="213" y="9"/>
                  </a:lnTo>
                  <a:lnTo>
                    <a:pt x="251" y="7"/>
                  </a:lnTo>
                  <a:lnTo>
                    <a:pt x="271" y="5"/>
                  </a:lnTo>
                  <a:lnTo>
                    <a:pt x="275" y="5"/>
                  </a:lnTo>
                  <a:lnTo>
                    <a:pt x="299" y="5"/>
                  </a:lnTo>
                  <a:lnTo>
                    <a:pt x="326" y="4"/>
                  </a:lnTo>
                  <a:lnTo>
                    <a:pt x="345" y="2"/>
                  </a:lnTo>
                  <a:lnTo>
                    <a:pt x="376" y="0"/>
                  </a:lnTo>
                  <a:lnTo>
                    <a:pt x="382" y="0"/>
                  </a:lnTo>
                  <a:lnTo>
                    <a:pt x="384" y="4"/>
                  </a:lnTo>
                  <a:lnTo>
                    <a:pt x="386" y="4"/>
                  </a:lnTo>
                  <a:lnTo>
                    <a:pt x="384" y="7"/>
                  </a:lnTo>
                  <a:lnTo>
                    <a:pt x="386" y="9"/>
                  </a:lnTo>
                  <a:lnTo>
                    <a:pt x="389" y="11"/>
                  </a:lnTo>
                  <a:lnTo>
                    <a:pt x="391" y="11"/>
                  </a:lnTo>
                  <a:lnTo>
                    <a:pt x="391" y="14"/>
                  </a:lnTo>
                  <a:lnTo>
                    <a:pt x="391" y="17"/>
                  </a:lnTo>
                  <a:lnTo>
                    <a:pt x="393" y="21"/>
                  </a:lnTo>
                  <a:lnTo>
                    <a:pt x="391" y="23"/>
                  </a:lnTo>
                  <a:lnTo>
                    <a:pt x="388" y="24"/>
                  </a:lnTo>
                  <a:lnTo>
                    <a:pt x="386" y="29"/>
                  </a:lnTo>
                  <a:lnTo>
                    <a:pt x="382" y="31"/>
                  </a:lnTo>
                  <a:lnTo>
                    <a:pt x="379" y="34"/>
                  </a:lnTo>
                  <a:lnTo>
                    <a:pt x="377" y="36"/>
                  </a:lnTo>
                  <a:lnTo>
                    <a:pt x="377" y="38"/>
                  </a:lnTo>
                  <a:lnTo>
                    <a:pt x="376" y="41"/>
                  </a:lnTo>
                  <a:lnTo>
                    <a:pt x="374" y="41"/>
                  </a:lnTo>
                  <a:lnTo>
                    <a:pt x="370" y="45"/>
                  </a:lnTo>
                  <a:lnTo>
                    <a:pt x="365" y="55"/>
                  </a:lnTo>
                  <a:lnTo>
                    <a:pt x="374" y="55"/>
                  </a:lnTo>
                  <a:lnTo>
                    <a:pt x="401" y="52"/>
                  </a:lnTo>
                  <a:lnTo>
                    <a:pt x="422" y="50"/>
                  </a:lnTo>
                  <a:lnTo>
                    <a:pt x="423" y="55"/>
                  </a:lnTo>
                  <a:lnTo>
                    <a:pt x="429" y="57"/>
                  </a:lnTo>
                  <a:lnTo>
                    <a:pt x="430" y="60"/>
                  </a:lnTo>
                  <a:lnTo>
                    <a:pt x="429" y="62"/>
                  </a:lnTo>
                  <a:lnTo>
                    <a:pt x="429" y="62"/>
                  </a:lnTo>
                  <a:lnTo>
                    <a:pt x="423" y="60"/>
                  </a:lnTo>
                  <a:lnTo>
                    <a:pt x="422" y="60"/>
                  </a:lnTo>
                  <a:lnTo>
                    <a:pt x="420" y="62"/>
                  </a:lnTo>
                  <a:lnTo>
                    <a:pt x="420" y="64"/>
                  </a:lnTo>
                  <a:lnTo>
                    <a:pt x="420" y="65"/>
                  </a:lnTo>
                  <a:lnTo>
                    <a:pt x="425" y="67"/>
                  </a:lnTo>
                  <a:lnTo>
                    <a:pt x="425" y="69"/>
                  </a:lnTo>
                  <a:lnTo>
                    <a:pt x="422" y="72"/>
                  </a:lnTo>
                  <a:lnTo>
                    <a:pt x="420" y="70"/>
                  </a:lnTo>
                  <a:lnTo>
                    <a:pt x="418" y="72"/>
                  </a:lnTo>
                  <a:lnTo>
                    <a:pt x="417" y="75"/>
                  </a:lnTo>
                  <a:lnTo>
                    <a:pt x="415" y="77"/>
                  </a:lnTo>
                  <a:lnTo>
                    <a:pt x="411" y="79"/>
                  </a:lnTo>
                  <a:lnTo>
                    <a:pt x="408" y="79"/>
                  </a:lnTo>
                  <a:lnTo>
                    <a:pt x="405" y="81"/>
                  </a:lnTo>
                  <a:lnTo>
                    <a:pt x="405" y="82"/>
                  </a:lnTo>
                  <a:lnTo>
                    <a:pt x="406" y="87"/>
                  </a:lnTo>
                  <a:lnTo>
                    <a:pt x="410" y="89"/>
                  </a:lnTo>
                  <a:lnTo>
                    <a:pt x="411" y="87"/>
                  </a:lnTo>
                  <a:lnTo>
                    <a:pt x="413" y="87"/>
                  </a:lnTo>
                  <a:lnTo>
                    <a:pt x="413" y="89"/>
                  </a:lnTo>
                  <a:lnTo>
                    <a:pt x="413" y="91"/>
                  </a:lnTo>
                  <a:lnTo>
                    <a:pt x="411" y="91"/>
                  </a:lnTo>
                  <a:lnTo>
                    <a:pt x="405" y="94"/>
                  </a:lnTo>
                  <a:lnTo>
                    <a:pt x="405" y="98"/>
                  </a:lnTo>
                  <a:lnTo>
                    <a:pt x="408" y="101"/>
                  </a:lnTo>
                  <a:lnTo>
                    <a:pt x="408" y="103"/>
                  </a:lnTo>
                  <a:lnTo>
                    <a:pt x="406" y="103"/>
                  </a:lnTo>
                  <a:lnTo>
                    <a:pt x="405" y="103"/>
                  </a:lnTo>
                  <a:lnTo>
                    <a:pt x="403" y="99"/>
                  </a:lnTo>
                  <a:lnTo>
                    <a:pt x="398" y="101"/>
                  </a:lnTo>
                  <a:lnTo>
                    <a:pt x="398" y="101"/>
                  </a:lnTo>
                  <a:lnTo>
                    <a:pt x="398" y="105"/>
                  </a:lnTo>
                  <a:lnTo>
                    <a:pt x="403" y="111"/>
                  </a:lnTo>
                  <a:lnTo>
                    <a:pt x="398" y="115"/>
                  </a:lnTo>
                  <a:lnTo>
                    <a:pt x="398" y="116"/>
                  </a:lnTo>
                  <a:lnTo>
                    <a:pt x="396" y="115"/>
                  </a:lnTo>
                  <a:lnTo>
                    <a:pt x="396" y="110"/>
                  </a:lnTo>
                  <a:lnTo>
                    <a:pt x="394" y="110"/>
                  </a:lnTo>
                  <a:lnTo>
                    <a:pt x="393" y="110"/>
                  </a:lnTo>
                  <a:lnTo>
                    <a:pt x="391" y="113"/>
                  </a:lnTo>
                  <a:lnTo>
                    <a:pt x="388" y="115"/>
                  </a:lnTo>
                  <a:lnTo>
                    <a:pt x="388" y="120"/>
                  </a:lnTo>
                  <a:lnTo>
                    <a:pt x="391" y="120"/>
                  </a:lnTo>
                  <a:lnTo>
                    <a:pt x="391" y="116"/>
                  </a:lnTo>
                  <a:lnTo>
                    <a:pt x="393" y="115"/>
                  </a:lnTo>
                  <a:lnTo>
                    <a:pt x="394" y="115"/>
                  </a:lnTo>
                  <a:lnTo>
                    <a:pt x="396" y="116"/>
                  </a:lnTo>
                  <a:lnTo>
                    <a:pt x="394" y="120"/>
                  </a:lnTo>
                  <a:lnTo>
                    <a:pt x="394" y="122"/>
                  </a:lnTo>
                  <a:lnTo>
                    <a:pt x="394" y="123"/>
                  </a:lnTo>
                  <a:lnTo>
                    <a:pt x="394" y="127"/>
                  </a:lnTo>
                  <a:lnTo>
                    <a:pt x="389" y="128"/>
                  </a:lnTo>
                  <a:lnTo>
                    <a:pt x="389" y="130"/>
                  </a:lnTo>
                  <a:lnTo>
                    <a:pt x="391" y="132"/>
                  </a:lnTo>
                  <a:lnTo>
                    <a:pt x="394" y="132"/>
                  </a:lnTo>
                  <a:lnTo>
                    <a:pt x="396" y="134"/>
                  </a:lnTo>
                  <a:lnTo>
                    <a:pt x="398" y="137"/>
                  </a:lnTo>
                  <a:lnTo>
                    <a:pt x="398" y="140"/>
                  </a:lnTo>
                  <a:lnTo>
                    <a:pt x="398" y="142"/>
                  </a:lnTo>
                  <a:lnTo>
                    <a:pt x="398" y="144"/>
                  </a:lnTo>
                  <a:lnTo>
                    <a:pt x="398" y="147"/>
                  </a:lnTo>
                  <a:lnTo>
                    <a:pt x="391" y="146"/>
                  </a:lnTo>
                  <a:lnTo>
                    <a:pt x="389" y="147"/>
                  </a:lnTo>
                  <a:lnTo>
                    <a:pt x="389" y="149"/>
                  </a:lnTo>
                  <a:lnTo>
                    <a:pt x="389" y="152"/>
                  </a:lnTo>
                  <a:lnTo>
                    <a:pt x="388" y="156"/>
                  </a:lnTo>
                  <a:lnTo>
                    <a:pt x="379" y="156"/>
                  </a:lnTo>
                  <a:lnTo>
                    <a:pt x="379" y="161"/>
                  </a:lnTo>
                  <a:lnTo>
                    <a:pt x="379" y="164"/>
                  </a:lnTo>
                  <a:lnTo>
                    <a:pt x="384" y="166"/>
                  </a:lnTo>
                  <a:lnTo>
                    <a:pt x="384" y="168"/>
                  </a:lnTo>
                  <a:lnTo>
                    <a:pt x="384" y="169"/>
                  </a:lnTo>
                  <a:lnTo>
                    <a:pt x="382" y="173"/>
                  </a:lnTo>
                  <a:lnTo>
                    <a:pt x="381" y="175"/>
                  </a:lnTo>
                  <a:lnTo>
                    <a:pt x="381" y="176"/>
                  </a:lnTo>
                  <a:lnTo>
                    <a:pt x="381" y="178"/>
                  </a:lnTo>
                  <a:lnTo>
                    <a:pt x="377" y="178"/>
                  </a:lnTo>
                  <a:lnTo>
                    <a:pt x="376" y="176"/>
                  </a:lnTo>
                  <a:lnTo>
                    <a:pt x="370" y="180"/>
                  </a:lnTo>
                  <a:lnTo>
                    <a:pt x="369" y="180"/>
                  </a:lnTo>
                  <a:lnTo>
                    <a:pt x="369" y="180"/>
                  </a:lnTo>
                  <a:lnTo>
                    <a:pt x="369" y="176"/>
                  </a:lnTo>
                  <a:lnTo>
                    <a:pt x="367" y="175"/>
                  </a:lnTo>
                  <a:lnTo>
                    <a:pt x="365" y="175"/>
                  </a:lnTo>
                  <a:lnTo>
                    <a:pt x="365" y="178"/>
                  </a:lnTo>
                  <a:lnTo>
                    <a:pt x="367" y="181"/>
                  </a:lnTo>
                  <a:lnTo>
                    <a:pt x="365" y="183"/>
                  </a:lnTo>
                  <a:lnTo>
                    <a:pt x="367" y="188"/>
                  </a:lnTo>
                  <a:lnTo>
                    <a:pt x="367" y="190"/>
                  </a:lnTo>
                  <a:lnTo>
                    <a:pt x="365" y="192"/>
                  </a:lnTo>
                  <a:lnTo>
                    <a:pt x="364" y="192"/>
                  </a:lnTo>
                  <a:lnTo>
                    <a:pt x="362" y="190"/>
                  </a:lnTo>
                  <a:lnTo>
                    <a:pt x="364" y="188"/>
                  </a:lnTo>
                  <a:lnTo>
                    <a:pt x="364" y="185"/>
                  </a:lnTo>
                  <a:lnTo>
                    <a:pt x="362" y="183"/>
                  </a:lnTo>
                  <a:lnTo>
                    <a:pt x="360" y="183"/>
                  </a:lnTo>
                  <a:lnTo>
                    <a:pt x="359" y="185"/>
                  </a:lnTo>
                  <a:lnTo>
                    <a:pt x="360" y="193"/>
                  </a:lnTo>
                  <a:lnTo>
                    <a:pt x="362" y="195"/>
                  </a:lnTo>
                  <a:lnTo>
                    <a:pt x="365" y="193"/>
                  </a:lnTo>
                  <a:lnTo>
                    <a:pt x="367" y="197"/>
                  </a:lnTo>
                  <a:lnTo>
                    <a:pt x="364" y="202"/>
                  </a:lnTo>
                  <a:lnTo>
                    <a:pt x="360" y="202"/>
                  </a:lnTo>
                  <a:lnTo>
                    <a:pt x="360" y="200"/>
                  </a:lnTo>
                  <a:lnTo>
                    <a:pt x="360" y="197"/>
                  </a:lnTo>
                  <a:lnTo>
                    <a:pt x="359" y="195"/>
                  </a:lnTo>
                  <a:lnTo>
                    <a:pt x="357" y="200"/>
                  </a:lnTo>
                  <a:lnTo>
                    <a:pt x="357" y="204"/>
                  </a:lnTo>
                  <a:lnTo>
                    <a:pt x="357" y="205"/>
                  </a:lnTo>
                  <a:lnTo>
                    <a:pt x="362" y="210"/>
                  </a:lnTo>
                  <a:lnTo>
                    <a:pt x="362" y="212"/>
                  </a:lnTo>
                  <a:lnTo>
                    <a:pt x="359" y="214"/>
                  </a:lnTo>
                  <a:lnTo>
                    <a:pt x="357" y="214"/>
                  </a:lnTo>
                  <a:lnTo>
                    <a:pt x="357" y="217"/>
                  </a:lnTo>
                  <a:lnTo>
                    <a:pt x="359" y="222"/>
                  </a:lnTo>
                  <a:lnTo>
                    <a:pt x="359" y="224"/>
                  </a:lnTo>
                  <a:lnTo>
                    <a:pt x="357" y="228"/>
                  </a:lnTo>
                  <a:lnTo>
                    <a:pt x="352" y="231"/>
                  </a:lnTo>
                  <a:lnTo>
                    <a:pt x="352" y="236"/>
                  </a:lnTo>
                  <a:lnTo>
                    <a:pt x="350" y="236"/>
                  </a:lnTo>
                  <a:lnTo>
                    <a:pt x="350" y="236"/>
                  </a:lnTo>
                  <a:lnTo>
                    <a:pt x="350" y="233"/>
                  </a:lnTo>
                  <a:lnTo>
                    <a:pt x="348" y="231"/>
                  </a:lnTo>
                  <a:lnTo>
                    <a:pt x="343" y="231"/>
                  </a:lnTo>
                  <a:lnTo>
                    <a:pt x="343" y="233"/>
                  </a:lnTo>
                  <a:lnTo>
                    <a:pt x="345" y="238"/>
                  </a:lnTo>
                  <a:lnTo>
                    <a:pt x="343" y="241"/>
                  </a:lnTo>
                  <a:lnTo>
                    <a:pt x="340" y="240"/>
                  </a:lnTo>
                  <a:lnTo>
                    <a:pt x="340" y="240"/>
                  </a:lnTo>
                  <a:lnTo>
                    <a:pt x="338" y="241"/>
                  </a:lnTo>
                  <a:lnTo>
                    <a:pt x="338" y="246"/>
                  </a:lnTo>
                  <a:lnTo>
                    <a:pt x="335" y="248"/>
                  </a:lnTo>
                  <a:lnTo>
                    <a:pt x="329" y="245"/>
                  </a:lnTo>
                  <a:lnTo>
                    <a:pt x="328" y="246"/>
                  </a:lnTo>
                  <a:lnTo>
                    <a:pt x="329" y="250"/>
                  </a:lnTo>
                  <a:lnTo>
                    <a:pt x="338" y="252"/>
                  </a:lnTo>
                  <a:lnTo>
                    <a:pt x="340" y="253"/>
                  </a:lnTo>
                  <a:lnTo>
                    <a:pt x="338" y="255"/>
                  </a:lnTo>
                  <a:lnTo>
                    <a:pt x="336" y="257"/>
                  </a:lnTo>
                  <a:lnTo>
                    <a:pt x="329" y="252"/>
                  </a:lnTo>
                  <a:lnTo>
                    <a:pt x="328" y="255"/>
                  </a:lnTo>
                  <a:lnTo>
                    <a:pt x="328" y="258"/>
                  </a:lnTo>
                  <a:lnTo>
                    <a:pt x="331" y="262"/>
                  </a:lnTo>
                  <a:lnTo>
                    <a:pt x="335" y="262"/>
                  </a:lnTo>
                  <a:lnTo>
                    <a:pt x="333" y="267"/>
                  </a:lnTo>
                  <a:lnTo>
                    <a:pt x="328" y="269"/>
                  </a:lnTo>
                  <a:lnTo>
                    <a:pt x="326" y="272"/>
                  </a:lnTo>
                  <a:lnTo>
                    <a:pt x="326" y="274"/>
                  </a:lnTo>
                  <a:lnTo>
                    <a:pt x="328" y="275"/>
                  </a:lnTo>
                  <a:lnTo>
                    <a:pt x="328" y="275"/>
                  </a:lnTo>
                  <a:lnTo>
                    <a:pt x="324" y="277"/>
                  </a:lnTo>
                  <a:lnTo>
                    <a:pt x="324" y="275"/>
                  </a:lnTo>
                  <a:lnTo>
                    <a:pt x="323" y="274"/>
                  </a:lnTo>
                  <a:lnTo>
                    <a:pt x="321" y="274"/>
                  </a:lnTo>
                  <a:lnTo>
                    <a:pt x="317" y="272"/>
                  </a:lnTo>
                  <a:lnTo>
                    <a:pt x="316" y="274"/>
                  </a:lnTo>
                  <a:lnTo>
                    <a:pt x="317" y="275"/>
                  </a:lnTo>
                  <a:lnTo>
                    <a:pt x="323" y="279"/>
                  </a:lnTo>
                  <a:lnTo>
                    <a:pt x="319" y="287"/>
                  </a:lnTo>
                  <a:lnTo>
                    <a:pt x="319" y="289"/>
                  </a:lnTo>
                  <a:lnTo>
                    <a:pt x="323" y="293"/>
                  </a:lnTo>
                  <a:lnTo>
                    <a:pt x="326" y="294"/>
                  </a:lnTo>
                  <a:lnTo>
                    <a:pt x="326" y="296"/>
                  </a:lnTo>
                  <a:lnTo>
                    <a:pt x="326" y="298"/>
                  </a:lnTo>
                  <a:lnTo>
                    <a:pt x="323" y="298"/>
                  </a:lnTo>
                  <a:lnTo>
                    <a:pt x="321" y="298"/>
                  </a:lnTo>
                  <a:lnTo>
                    <a:pt x="319" y="296"/>
                  </a:lnTo>
                  <a:lnTo>
                    <a:pt x="316" y="298"/>
                  </a:lnTo>
                  <a:lnTo>
                    <a:pt x="312" y="298"/>
                  </a:lnTo>
                  <a:lnTo>
                    <a:pt x="312" y="298"/>
                  </a:lnTo>
                  <a:lnTo>
                    <a:pt x="312" y="303"/>
                  </a:lnTo>
                  <a:lnTo>
                    <a:pt x="314" y="304"/>
                  </a:lnTo>
                  <a:lnTo>
                    <a:pt x="316" y="304"/>
                  </a:lnTo>
                  <a:lnTo>
                    <a:pt x="321" y="303"/>
                  </a:lnTo>
                  <a:lnTo>
                    <a:pt x="323" y="304"/>
                  </a:lnTo>
                  <a:lnTo>
                    <a:pt x="323" y="306"/>
                  </a:lnTo>
                  <a:lnTo>
                    <a:pt x="317" y="310"/>
                  </a:lnTo>
                  <a:lnTo>
                    <a:pt x="314" y="308"/>
                  </a:lnTo>
                  <a:lnTo>
                    <a:pt x="311" y="303"/>
                  </a:lnTo>
                  <a:lnTo>
                    <a:pt x="307" y="304"/>
                  </a:lnTo>
                  <a:lnTo>
                    <a:pt x="307" y="306"/>
                  </a:lnTo>
                  <a:lnTo>
                    <a:pt x="307" y="310"/>
                  </a:lnTo>
                  <a:lnTo>
                    <a:pt x="312" y="313"/>
                  </a:lnTo>
                  <a:lnTo>
                    <a:pt x="312" y="315"/>
                  </a:lnTo>
                  <a:lnTo>
                    <a:pt x="311" y="318"/>
                  </a:lnTo>
                  <a:lnTo>
                    <a:pt x="309" y="320"/>
                  </a:lnTo>
                  <a:lnTo>
                    <a:pt x="306" y="318"/>
                  </a:lnTo>
                  <a:lnTo>
                    <a:pt x="306" y="322"/>
                  </a:lnTo>
                  <a:lnTo>
                    <a:pt x="307" y="323"/>
                  </a:lnTo>
                  <a:lnTo>
                    <a:pt x="309" y="323"/>
                  </a:lnTo>
                  <a:lnTo>
                    <a:pt x="311" y="325"/>
                  </a:lnTo>
                  <a:lnTo>
                    <a:pt x="311" y="327"/>
                  </a:lnTo>
                  <a:lnTo>
                    <a:pt x="309" y="330"/>
                  </a:lnTo>
                  <a:lnTo>
                    <a:pt x="307" y="332"/>
                  </a:lnTo>
                  <a:lnTo>
                    <a:pt x="306" y="334"/>
                  </a:lnTo>
                  <a:lnTo>
                    <a:pt x="311" y="334"/>
                  </a:lnTo>
                  <a:lnTo>
                    <a:pt x="312" y="330"/>
                  </a:lnTo>
                  <a:lnTo>
                    <a:pt x="311" y="327"/>
                  </a:lnTo>
                  <a:lnTo>
                    <a:pt x="312" y="327"/>
                  </a:lnTo>
                  <a:lnTo>
                    <a:pt x="316" y="328"/>
                  </a:lnTo>
                  <a:lnTo>
                    <a:pt x="316" y="330"/>
                  </a:lnTo>
                  <a:lnTo>
                    <a:pt x="316" y="332"/>
                  </a:lnTo>
                  <a:lnTo>
                    <a:pt x="316" y="334"/>
                  </a:lnTo>
                  <a:lnTo>
                    <a:pt x="309" y="335"/>
                  </a:lnTo>
                  <a:lnTo>
                    <a:pt x="309" y="337"/>
                  </a:lnTo>
                  <a:lnTo>
                    <a:pt x="311" y="339"/>
                  </a:lnTo>
                  <a:lnTo>
                    <a:pt x="316" y="339"/>
                  </a:lnTo>
                  <a:lnTo>
                    <a:pt x="317" y="335"/>
                  </a:lnTo>
                  <a:lnTo>
                    <a:pt x="319" y="330"/>
                  </a:lnTo>
                  <a:lnTo>
                    <a:pt x="321" y="330"/>
                  </a:lnTo>
                  <a:lnTo>
                    <a:pt x="321" y="330"/>
                  </a:lnTo>
                  <a:lnTo>
                    <a:pt x="321" y="334"/>
                  </a:lnTo>
                  <a:lnTo>
                    <a:pt x="321" y="337"/>
                  </a:lnTo>
                  <a:lnTo>
                    <a:pt x="317" y="339"/>
                  </a:lnTo>
                  <a:lnTo>
                    <a:pt x="316" y="342"/>
                  </a:lnTo>
                  <a:lnTo>
                    <a:pt x="316" y="345"/>
                  </a:lnTo>
                  <a:lnTo>
                    <a:pt x="317" y="352"/>
                  </a:lnTo>
                  <a:lnTo>
                    <a:pt x="319" y="354"/>
                  </a:lnTo>
                  <a:lnTo>
                    <a:pt x="321" y="349"/>
                  </a:lnTo>
                  <a:lnTo>
                    <a:pt x="323" y="349"/>
                  </a:lnTo>
                  <a:lnTo>
                    <a:pt x="324" y="351"/>
                  </a:lnTo>
                  <a:lnTo>
                    <a:pt x="323" y="354"/>
                  </a:lnTo>
                  <a:lnTo>
                    <a:pt x="319" y="356"/>
                  </a:lnTo>
                  <a:lnTo>
                    <a:pt x="321" y="363"/>
                  </a:lnTo>
                  <a:lnTo>
                    <a:pt x="319" y="364"/>
                  </a:lnTo>
                  <a:lnTo>
                    <a:pt x="317" y="366"/>
                  </a:lnTo>
                  <a:lnTo>
                    <a:pt x="312" y="364"/>
                  </a:lnTo>
                  <a:lnTo>
                    <a:pt x="311" y="366"/>
                  </a:lnTo>
                  <a:lnTo>
                    <a:pt x="312" y="369"/>
                  </a:lnTo>
                  <a:lnTo>
                    <a:pt x="316" y="371"/>
                  </a:lnTo>
                  <a:lnTo>
                    <a:pt x="319" y="373"/>
                  </a:lnTo>
                  <a:lnTo>
                    <a:pt x="317" y="376"/>
                  </a:lnTo>
                  <a:lnTo>
                    <a:pt x="316" y="376"/>
                  </a:lnTo>
                  <a:lnTo>
                    <a:pt x="316" y="378"/>
                  </a:lnTo>
                  <a:lnTo>
                    <a:pt x="314" y="380"/>
                  </a:lnTo>
                  <a:lnTo>
                    <a:pt x="307" y="380"/>
                  </a:lnTo>
                  <a:lnTo>
                    <a:pt x="292" y="381"/>
                  </a:lnTo>
                  <a:lnTo>
                    <a:pt x="288" y="381"/>
                  </a:lnTo>
                  <a:lnTo>
                    <a:pt x="234" y="383"/>
                  </a:lnTo>
                  <a:lnTo>
                    <a:pt x="176" y="385"/>
                  </a:lnTo>
                  <a:lnTo>
                    <a:pt x="152" y="385"/>
                  </a:lnTo>
                  <a:lnTo>
                    <a:pt x="129" y="387"/>
                  </a:lnTo>
                  <a:lnTo>
                    <a:pt x="107" y="387"/>
                  </a:lnTo>
                  <a:lnTo>
                    <a:pt x="104" y="387"/>
                  </a:lnTo>
                  <a:lnTo>
                    <a:pt x="78" y="387"/>
                  </a:lnTo>
                  <a:lnTo>
                    <a:pt x="58" y="388"/>
                  </a:lnTo>
                  <a:lnTo>
                    <a:pt x="58" y="361"/>
                  </a:lnTo>
                  <a:lnTo>
                    <a:pt x="56" y="330"/>
                  </a:lnTo>
                  <a:lnTo>
                    <a:pt x="54" y="328"/>
                  </a:lnTo>
                  <a:lnTo>
                    <a:pt x="53" y="327"/>
                  </a:lnTo>
                  <a:lnTo>
                    <a:pt x="51" y="328"/>
                  </a:lnTo>
                  <a:lnTo>
                    <a:pt x="46" y="328"/>
                  </a:lnTo>
                  <a:lnTo>
                    <a:pt x="46" y="327"/>
                  </a:lnTo>
                  <a:lnTo>
                    <a:pt x="41" y="327"/>
                  </a:lnTo>
                  <a:lnTo>
                    <a:pt x="41" y="330"/>
                  </a:lnTo>
                  <a:lnTo>
                    <a:pt x="39" y="330"/>
                  </a:lnTo>
                  <a:lnTo>
                    <a:pt x="41" y="327"/>
                  </a:lnTo>
                  <a:lnTo>
                    <a:pt x="39" y="327"/>
                  </a:lnTo>
                  <a:lnTo>
                    <a:pt x="35" y="330"/>
                  </a:lnTo>
                  <a:lnTo>
                    <a:pt x="35" y="327"/>
                  </a:lnTo>
                  <a:lnTo>
                    <a:pt x="35" y="327"/>
                  </a:lnTo>
                  <a:lnTo>
                    <a:pt x="34" y="328"/>
                  </a:lnTo>
                  <a:lnTo>
                    <a:pt x="32" y="330"/>
                  </a:lnTo>
                  <a:lnTo>
                    <a:pt x="30" y="328"/>
                  </a:lnTo>
                  <a:lnTo>
                    <a:pt x="27" y="332"/>
                  </a:lnTo>
                  <a:lnTo>
                    <a:pt x="25" y="330"/>
                  </a:lnTo>
                  <a:lnTo>
                    <a:pt x="27" y="328"/>
                  </a:lnTo>
                  <a:lnTo>
                    <a:pt x="27" y="327"/>
                  </a:lnTo>
                  <a:lnTo>
                    <a:pt x="25" y="327"/>
                  </a:lnTo>
                  <a:lnTo>
                    <a:pt x="25" y="328"/>
                  </a:lnTo>
                  <a:lnTo>
                    <a:pt x="24" y="328"/>
                  </a:lnTo>
                  <a:lnTo>
                    <a:pt x="22" y="327"/>
                  </a:lnTo>
                  <a:lnTo>
                    <a:pt x="20" y="327"/>
                  </a:lnTo>
                  <a:lnTo>
                    <a:pt x="20" y="325"/>
                  </a:lnTo>
                  <a:lnTo>
                    <a:pt x="20" y="325"/>
                  </a:lnTo>
                  <a:lnTo>
                    <a:pt x="20" y="322"/>
                  </a:lnTo>
                  <a:lnTo>
                    <a:pt x="17" y="323"/>
                  </a:lnTo>
                  <a:lnTo>
                    <a:pt x="17" y="289"/>
                  </a:lnTo>
                  <a:lnTo>
                    <a:pt x="18" y="26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4" name="Freeform 173"/>
            <p:cNvSpPr>
              <a:spLocks noEditPoints="1"/>
            </p:cNvSpPr>
            <p:nvPr/>
          </p:nvSpPr>
          <p:spPr bwMode="gray">
            <a:xfrm>
              <a:off x="5548420" y="4783504"/>
              <a:ext cx="769705" cy="684362"/>
            </a:xfrm>
            <a:custGeom>
              <a:avLst/>
              <a:gdLst/>
              <a:ahLst/>
              <a:cxnLst>
                <a:cxn ang="0">
                  <a:pos x="34" y="285"/>
                </a:cxn>
                <a:cxn ang="0">
                  <a:pos x="34" y="268"/>
                </a:cxn>
                <a:cxn ang="0">
                  <a:pos x="42" y="251"/>
                </a:cxn>
                <a:cxn ang="0">
                  <a:pos x="48" y="234"/>
                </a:cxn>
                <a:cxn ang="0">
                  <a:pos x="48" y="225"/>
                </a:cxn>
                <a:cxn ang="0">
                  <a:pos x="48" y="213"/>
                </a:cxn>
                <a:cxn ang="0">
                  <a:pos x="51" y="203"/>
                </a:cxn>
                <a:cxn ang="0">
                  <a:pos x="39" y="193"/>
                </a:cxn>
                <a:cxn ang="0">
                  <a:pos x="34" y="176"/>
                </a:cxn>
                <a:cxn ang="0">
                  <a:pos x="24" y="164"/>
                </a:cxn>
                <a:cxn ang="0">
                  <a:pos x="22" y="148"/>
                </a:cxn>
                <a:cxn ang="0">
                  <a:pos x="15" y="128"/>
                </a:cxn>
                <a:cxn ang="0">
                  <a:pos x="1" y="75"/>
                </a:cxn>
                <a:cxn ang="0">
                  <a:pos x="118" y="5"/>
                </a:cxn>
                <a:cxn ang="0">
                  <a:pos x="256" y="12"/>
                </a:cxn>
                <a:cxn ang="0">
                  <a:pos x="259" y="27"/>
                </a:cxn>
                <a:cxn ang="0">
                  <a:pos x="271" y="39"/>
                </a:cxn>
                <a:cxn ang="0">
                  <a:pos x="273" y="54"/>
                </a:cxn>
                <a:cxn ang="0">
                  <a:pos x="277" y="63"/>
                </a:cxn>
                <a:cxn ang="0">
                  <a:pos x="278" y="75"/>
                </a:cxn>
                <a:cxn ang="0">
                  <a:pos x="265" y="83"/>
                </a:cxn>
                <a:cxn ang="0">
                  <a:pos x="273" y="89"/>
                </a:cxn>
                <a:cxn ang="0">
                  <a:pos x="265" y="100"/>
                </a:cxn>
                <a:cxn ang="0">
                  <a:pos x="256" y="128"/>
                </a:cxn>
                <a:cxn ang="0">
                  <a:pos x="254" y="135"/>
                </a:cxn>
                <a:cxn ang="0">
                  <a:pos x="234" y="147"/>
                </a:cxn>
                <a:cxn ang="0">
                  <a:pos x="234" y="169"/>
                </a:cxn>
                <a:cxn ang="0">
                  <a:pos x="229" y="172"/>
                </a:cxn>
                <a:cxn ang="0">
                  <a:pos x="224" y="188"/>
                </a:cxn>
                <a:cxn ang="0">
                  <a:pos x="225" y="217"/>
                </a:cxn>
                <a:cxn ang="0">
                  <a:pos x="400" y="206"/>
                </a:cxn>
                <a:cxn ang="0">
                  <a:pos x="396" y="224"/>
                </a:cxn>
                <a:cxn ang="0">
                  <a:pos x="391" y="237"/>
                </a:cxn>
                <a:cxn ang="0">
                  <a:pos x="393" y="249"/>
                </a:cxn>
                <a:cxn ang="0">
                  <a:pos x="408" y="271"/>
                </a:cxn>
                <a:cxn ang="0">
                  <a:pos x="415" y="288"/>
                </a:cxn>
                <a:cxn ang="0">
                  <a:pos x="343" y="309"/>
                </a:cxn>
                <a:cxn ang="0">
                  <a:pos x="413" y="300"/>
                </a:cxn>
                <a:cxn ang="0">
                  <a:pos x="434" y="307"/>
                </a:cxn>
                <a:cxn ang="0">
                  <a:pos x="425" y="340"/>
                </a:cxn>
                <a:cxn ang="0">
                  <a:pos x="418" y="353"/>
                </a:cxn>
                <a:cxn ang="0">
                  <a:pos x="454" y="381"/>
                </a:cxn>
                <a:cxn ang="0">
                  <a:pos x="468" y="403"/>
                </a:cxn>
                <a:cxn ang="0">
                  <a:pos x="449" y="408"/>
                </a:cxn>
                <a:cxn ang="0">
                  <a:pos x="408" y="381"/>
                </a:cxn>
                <a:cxn ang="0">
                  <a:pos x="365" y="365"/>
                </a:cxn>
                <a:cxn ang="0">
                  <a:pos x="383" y="400"/>
                </a:cxn>
                <a:cxn ang="0">
                  <a:pos x="348" y="391"/>
                </a:cxn>
                <a:cxn ang="0">
                  <a:pos x="323" y="412"/>
                </a:cxn>
                <a:cxn ang="0">
                  <a:pos x="299" y="391"/>
                </a:cxn>
                <a:cxn ang="0">
                  <a:pos x="232" y="348"/>
                </a:cxn>
                <a:cxn ang="0">
                  <a:pos x="184" y="350"/>
                </a:cxn>
                <a:cxn ang="0">
                  <a:pos x="29" y="347"/>
                </a:cxn>
                <a:cxn ang="0">
                  <a:pos x="36" y="307"/>
                </a:cxn>
                <a:cxn ang="0">
                  <a:pos x="196" y="369"/>
                </a:cxn>
                <a:cxn ang="0">
                  <a:pos x="275" y="400"/>
                </a:cxn>
                <a:cxn ang="0">
                  <a:pos x="297" y="400"/>
                </a:cxn>
                <a:cxn ang="0">
                  <a:pos x="287" y="401"/>
                </a:cxn>
              </a:cxnLst>
              <a:rect l="0" t="0" r="r" b="b"/>
              <a:pathLst>
                <a:path w="478" h="425">
                  <a:moveTo>
                    <a:pt x="36" y="306"/>
                  </a:moveTo>
                  <a:lnTo>
                    <a:pt x="37" y="299"/>
                  </a:lnTo>
                  <a:lnTo>
                    <a:pt x="34" y="299"/>
                  </a:lnTo>
                  <a:lnTo>
                    <a:pt x="30" y="295"/>
                  </a:lnTo>
                  <a:lnTo>
                    <a:pt x="30" y="294"/>
                  </a:lnTo>
                  <a:lnTo>
                    <a:pt x="32" y="292"/>
                  </a:lnTo>
                  <a:lnTo>
                    <a:pt x="32" y="290"/>
                  </a:lnTo>
                  <a:lnTo>
                    <a:pt x="32" y="287"/>
                  </a:lnTo>
                  <a:lnTo>
                    <a:pt x="34" y="285"/>
                  </a:lnTo>
                  <a:lnTo>
                    <a:pt x="37" y="283"/>
                  </a:lnTo>
                  <a:lnTo>
                    <a:pt x="36" y="282"/>
                  </a:lnTo>
                  <a:lnTo>
                    <a:pt x="37" y="282"/>
                  </a:lnTo>
                  <a:lnTo>
                    <a:pt x="36" y="278"/>
                  </a:lnTo>
                  <a:lnTo>
                    <a:pt x="36" y="277"/>
                  </a:lnTo>
                  <a:lnTo>
                    <a:pt x="36" y="275"/>
                  </a:lnTo>
                  <a:lnTo>
                    <a:pt x="32" y="273"/>
                  </a:lnTo>
                  <a:lnTo>
                    <a:pt x="34" y="270"/>
                  </a:lnTo>
                  <a:lnTo>
                    <a:pt x="34" y="268"/>
                  </a:lnTo>
                  <a:lnTo>
                    <a:pt x="37" y="266"/>
                  </a:lnTo>
                  <a:lnTo>
                    <a:pt x="39" y="268"/>
                  </a:lnTo>
                  <a:lnTo>
                    <a:pt x="37" y="265"/>
                  </a:lnTo>
                  <a:lnTo>
                    <a:pt x="37" y="263"/>
                  </a:lnTo>
                  <a:lnTo>
                    <a:pt x="39" y="259"/>
                  </a:lnTo>
                  <a:lnTo>
                    <a:pt x="44" y="258"/>
                  </a:lnTo>
                  <a:lnTo>
                    <a:pt x="44" y="254"/>
                  </a:lnTo>
                  <a:lnTo>
                    <a:pt x="44" y="253"/>
                  </a:lnTo>
                  <a:lnTo>
                    <a:pt x="42" y="251"/>
                  </a:lnTo>
                  <a:lnTo>
                    <a:pt x="46" y="247"/>
                  </a:lnTo>
                  <a:lnTo>
                    <a:pt x="46" y="246"/>
                  </a:lnTo>
                  <a:lnTo>
                    <a:pt x="49" y="242"/>
                  </a:lnTo>
                  <a:lnTo>
                    <a:pt x="49" y="241"/>
                  </a:lnTo>
                  <a:lnTo>
                    <a:pt x="48" y="241"/>
                  </a:lnTo>
                  <a:lnTo>
                    <a:pt x="49" y="239"/>
                  </a:lnTo>
                  <a:lnTo>
                    <a:pt x="48" y="237"/>
                  </a:lnTo>
                  <a:lnTo>
                    <a:pt x="48" y="236"/>
                  </a:lnTo>
                  <a:lnTo>
                    <a:pt x="48" y="234"/>
                  </a:lnTo>
                  <a:lnTo>
                    <a:pt x="49" y="234"/>
                  </a:lnTo>
                  <a:lnTo>
                    <a:pt x="49" y="232"/>
                  </a:lnTo>
                  <a:lnTo>
                    <a:pt x="51" y="232"/>
                  </a:lnTo>
                  <a:lnTo>
                    <a:pt x="51" y="230"/>
                  </a:lnTo>
                  <a:lnTo>
                    <a:pt x="51" y="229"/>
                  </a:lnTo>
                  <a:lnTo>
                    <a:pt x="49" y="229"/>
                  </a:lnTo>
                  <a:lnTo>
                    <a:pt x="49" y="227"/>
                  </a:lnTo>
                  <a:lnTo>
                    <a:pt x="48" y="227"/>
                  </a:lnTo>
                  <a:lnTo>
                    <a:pt x="48" y="225"/>
                  </a:lnTo>
                  <a:lnTo>
                    <a:pt x="48" y="224"/>
                  </a:lnTo>
                  <a:lnTo>
                    <a:pt x="48" y="222"/>
                  </a:lnTo>
                  <a:lnTo>
                    <a:pt x="49" y="222"/>
                  </a:lnTo>
                  <a:lnTo>
                    <a:pt x="53" y="220"/>
                  </a:lnTo>
                  <a:lnTo>
                    <a:pt x="51" y="218"/>
                  </a:lnTo>
                  <a:lnTo>
                    <a:pt x="51" y="215"/>
                  </a:lnTo>
                  <a:lnTo>
                    <a:pt x="49" y="215"/>
                  </a:lnTo>
                  <a:lnTo>
                    <a:pt x="49" y="213"/>
                  </a:lnTo>
                  <a:lnTo>
                    <a:pt x="48" y="213"/>
                  </a:lnTo>
                  <a:lnTo>
                    <a:pt x="48" y="212"/>
                  </a:lnTo>
                  <a:lnTo>
                    <a:pt x="49" y="212"/>
                  </a:lnTo>
                  <a:lnTo>
                    <a:pt x="51" y="210"/>
                  </a:lnTo>
                  <a:lnTo>
                    <a:pt x="49" y="210"/>
                  </a:lnTo>
                  <a:lnTo>
                    <a:pt x="49" y="206"/>
                  </a:lnTo>
                  <a:lnTo>
                    <a:pt x="51" y="206"/>
                  </a:lnTo>
                  <a:lnTo>
                    <a:pt x="49" y="205"/>
                  </a:lnTo>
                  <a:lnTo>
                    <a:pt x="51" y="205"/>
                  </a:lnTo>
                  <a:lnTo>
                    <a:pt x="51" y="203"/>
                  </a:lnTo>
                  <a:lnTo>
                    <a:pt x="48" y="203"/>
                  </a:lnTo>
                  <a:lnTo>
                    <a:pt x="46" y="205"/>
                  </a:lnTo>
                  <a:lnTo>
                    <a:pt x="44" y="205"/>
                  </a:lnTo>
                  <a:lnTo>
                    <a:pt x="44" y="203"/>
                  </a:lnTo>
                  <a:lnTo>
                    <a:pt x="44" y="200"/>
                  </a:lnTo>
                  <a:lnTo>
                    <a:pt x="42" y="198"/>
                  </a:lnTo>
                  <a:lnTo>
                    <a:pt x="42" y="194"/>
                  </a:lnTo>
                  <a:lnTo>
                    <a:pt x="41" y="194"/>
                  </a:lnTo>
                  <a:lnTo>
                    <a:pt x="39" y="193"/>
                  </a:lnTo>
                  <a:lnTo>
                    <a:pt x="36" y="191"/>
                  </a:lnTo>
                  <a:lnTo>
                    <a:pt x="36" y="189"/>
                  </a:lnTo>
                  <a:lnTo>
                    <a:pt x="41" y="184"/>
                  </a:lnTo>
                  <a:lnTo>
                    <a:pt x="37" y="184"/>
                  </a:lnTo>
                  <a:lnTo>
                    <a:pt x="37" y="181"/>
                  </a:lnTo>
                  <a:lnTo>
                    <a:pt x="36" y="181"/>
                  </a:lnTo>
                  <a:lnTo>
                    <a:pt x="34" y="179"/>
                  </a:lnTo>
                  <a:lnTo>
                    <a:pt x="36" y="177"/>
                  </a:lnTo>
                  <a:lnTo>
                    <a:pt x="34" y="176"/>
                  </a:lnTo>
                  <a:lnTo>
                    <a:pt x="34" y="174"/>
                  </a:lnTo>
                  <a:lnTo>
                    <a:pt x="32" y="176"/>
                  </a:lnTo>
                  <a:lnTo>
                    <a:pt x="29" y="172"/>
                  </a:lnTo>
                  <a:lnTo>
                    <a:pt x="32" y="171"/>
                  </a:lnTo>
                  <a:lnTo>
                    <a:pt x="34" y="169"/>
                  </a:lnTo>
                  <a:lnTo>
                    <a:pt x="30" y="169"/>
                  </a:lnTo>
                  <a:lnTo>
                    <a:pt x="29" y="167"/>
                  </a:lnTo>
                  <a:lnTo>
                    <a:pt x="27" y="167"/>
                  </a:lnTo>
                  <a:lnTo>
                    <a:pt x="24" y="164"/>
                  </a:lnTo>
                  <a:lnTo>
                    <a:pt x="24" y="162"/>
                  </a:lnTo>
                  <a:lnTo>
                    <a:pt x="22" y="160"/>
                  </a:lnTo>
                  <a:lnTo>
                    <a:pt x="22" y="159"/>
                  </a:lnTo>
                  <a:lnTo>
                    <a:pt x="24" y="155"/>
                  </a:lnTo>
                  <a:lnTo>
                    <a:pt x="24" y="153"/>
                  </a:lnTo>
                  <a:lnTo>
                    <a:pt x="24" y="152"/>
                  </a:lnTo>
                  <a:lnTo>
                    <a:pt x="25" y="148"/>
                  </a:lnTo>
                  <a:lnTo>
                    <a:pt x="24" y="148"/>
                  </a:lnTo>
                  <a:lnTo>
                    <a:pt x="22" y="148"/>
                  </a:lnTo>
                  <a:lnTo>
                    <a:pt x="24" y="147"/>
                  </a:lnTo>
                  <a:lnTo>
                    <a:pt x="22" y="143"/>
                  </a:lnTo>
                  <a:lnTo>
                    <a:pt x="22" y="142"/>
                  </a:lnTo>
                  <a:lnTo>
                    <a:pt x="20" y="138"/>
                  </a:lnTo>
                  <a:lnTo>
                    <a:pt x="19" y="136"/>
                  </a:lnTo>
                  <a:lnTo>
                    <a:pt x="17" y="133"/>
                  </a:lnTo>
                  <a:lnTo>
                    <a:pt x="17" y="131"/>
                  </a:lnTo>
                  <a:lnTo>
                    <a:pt x="15" y="131"/>
                  </a:lnTo>
                  <a:lnTo>
                    <a:pt x="15" y="128"/>
                  </a:lnTo>
                  <a:lnTo>
                    <a:pt x="12" y="130"/>
                  </a:lnTo>
                  <a:lnTo>
                    <a:pt x="13" y="128"/>
                  </a:lnTo>
                  <a:lnTo>
                    <a:pt x="12" y="128"/>
                  </a:lnTo>
                  <a:lnTo>
                    <a:pt x="8" y="126"/>
                  </a:lnTo>
                  <a:lnTo>
                    <a:pt x="8" y="123"/>
                  </a:lnTo>
                  <a:lnTo>
                    <a:pt x="5" y="119"/>
                  </a:lnTo>
                  <a:lnTo>
                    <a:pt x="1" y="118"/>
                  </a:lnTo>
                  <a:lnTo>
                    <a:pt x="1" y="95"/>
                  </a:lnTo>
                  <a:lnTo>
                    <a:pt x="1" y="75"/>
                  </a:lnTo>
                  <a:lnTo>
                    <a:pt x="0" y="42"/>
                  </a:lnTo>
                  <a:lnTo>
                    <a:pt x="0" y="22"/>
                  </a:lnTo>
                  <a:lnTo>
                    <a:pt x="0" y="8"/>
                  </a:lnTo>
                  <a:lnTo>
                    <a:pt x="20" y="7"/>
                  </a:lnTo>
                  <a:lnTo>
                    <a:pt x="46" y="7"/>
                  </a:lnTo>
                  <a:lnTo>
                    <a:pt x="49" y="7"/>
                  </a:lnTo>
                  <a:lnTo>
                    <a:pt x="71" y="7"/>
                  </a:lnTo>
                  <a:lnTo>
                    <a:pt x="94" y="5"/>
                  </a:lnTo>
                  <a:lnTo>
                    <a:pt x="118" y="5"/>
                  </a:lnTo>
                  <a:lnTo>
                    <a:pt x="176" y="3"/>
                  </a:lnTo>
                  <a:lnTo>
                    <a:pt x="230" y="1"/>
                  </a:lnTo>
                  <a:lnTo>
                    <a:pt x="234" y="1"/>
                  </a:lnTo>
                  <a:lnTo>
                    <a:pt x="249" y="0"/>
                  </a:lnTo>
                  <a:lnTo>
                    <a:pt x="256" y="0"/>
                  </a:lnTo>
                  <a:lnTo>
                    <a:pt x="258" y="1"/>
                  </a:lnTo>
                  <a:lnTo>
                    <a:pt x="253" y="8"/>
                  </a:lnTo>
                  <a:lnTo>
                    <a:pt x="254" y="10"/>
                  </a:lnTo>
                  <a:lnTo>
                    <a:pt x="256" y="12"/>
                  </a:lnTo>
                  <a:lnTo>
                    <a:pt x="259" y="10"/>
                  </a:lnTo>
                  <a:lnTo>
                    <a:pt x="259" y="8"/>
                  </a:lnTo>
                  <a:lnTo>
                    <a:pt x="259" y="3"/>
                  </a:lnTo>
                  <a:lnTo>
                    <a:pt x="261" y="1"/>
                  </a:lnTo>
                  <a:lnTo>
                    <a:pt x="263" y="1"/>
                  </a:lnTo>
                  <a:lnTo>
                    <a:pt x="265" y="5"/>
                  </a:lnTo>
                  <a:lnTo>
                    <a:pt x="265" y="13"/>
                  </a:lnTo>
                  <a:lnTo>
                    <a:pt x="259" y="18"/>
                  </a:lnTo>
                  <a:lnTo>
                    <a:pt x="259" y="27"/>
                  </a:lnTo>
                  <a:lnTo>
                    <a:pt x="261" y="27"/>
                  </a:lnTo>
                  <a:lnTo>
                    <a:pt x="265" y="27"/>
                  </a:lnTo>
                  <a:lnTo>
                    <a:pt x="268" y="30"/>
                  </a:lnTo>
                  <a:lnTo>
                    <a:pt x="261" y="37"/>
                  </a:lnTo>
                  <a:lnTo>
                    <a:pt x="259" y="39"/>
                  </a:lnTo>
                  <a:lnTo>
                    <a:pt x="263" y="44"/>
                  </a:lnTo>
                  <a:lnTo>
                    <a:pt x="268" y="42"/>
                  </a:lnTo>
                  <a:lnTo>
                    <a:pt x="270" y="42"/>
                  </a:lnTo>
                  <a:lnTo>
                    <a:pt x="271" y="39"/>
                  </a:lnTo>
                  <a:lnTo>
                    <a:pt x="273" y="39"/>
                  </a:lnTo>
                  <a:lnTo>
                    <a:pt x="273" y="41"/>
                  </a:lnTo>
                  <a:lnTo>
                    <a:pt x="271" y="46"/>
                  </a:lnTo>
                  <a:lnTo>
                    <a:pt x="268" y="46"/>
                  </a:lnTo>
                  <a:lnTo>
                    <a:pt x="268" y="48"/>
                  </a:lnTo>
                  <a:lnTo>
                    <a:pt x="268" y="49"/>
                  </a:lnTo>
                  <a:lnTo>
                    <a:pt x="275" y="53"/>
                  </a:lnTo>
                  <a:lnTo>
                    <a:pt x="275" y="54"/>
                  </a:lnTo>
                  <a:lnTo>
                    <a:pt x="273" y="54"/>
                  </a:lnTo>
                  <a:lnTo>
                    <a:pt x="271" y="54"/>
                  </a:lnTo>
                  <a:lnTo>
                    <a:pt x="266" y="49"/>
                  </a:lnTo>
                  <a:lnTo>
                    <a:pt x="263" y="51"/>
                  </a:lnTo>
                  <a:lnTo>
                    <a:pt x="263" y="54"/>
                  </a:lnTo>
                  <a:lnTo>
                    <a:pt x="270" y="59"/>
                  </a:lnTo>
                  <a:lnTo>
                    <a:pt x="271" y="59"/>
                  </a:lnTo>
                  <a:lnTo>
                    <a:pt x="275" y="59"/>
                  </a:lnTo>
                  <a:lnTo>
                    <a:pt x="278" y="59"/>
                  </a:lnTo>
                  <a:lnTo>
                    <a:pt x="277" y="63"/>
                  </a:lnTo>
                  <a:lnTo>
                    <a:pt x="273" y="65"/>
                  </a:lnTo>
                  <a:lnTo>
                    <a:pt x="275" y="68"/>
                  </a:lnTo>
                  <a:lnTo>
                    <a:pt x="277" y="70"/>
                  </a:lnTo>
                  <a:lnTo>
                    <a:pt x="283" y="70"/>
                  </a:lnTo>
                  <a:lnTo>
                    <a:pt x="285" y="66"/>
                  </a:lnTo>
                  <a:lnTo>
                    <a:pt x="287" y="66"/>
                  </a:lnTo>
                  <a:lnTo>
                    <a:pt x="283" y="75"/>
                  </a:lnTo>
                  <a:lnTo>
                    <a:pt x="282" y="75"/>
                  </a:lnTo>
                  <a:lnTo>
                    <a:pt x="278" y="75"/>
                  </a:lnTo>
                  <a:lnTo>
                    <a:pt x="277" y="75"/>
                  </a:lnTo>
                  <a:lnTo>
                    <a:pt x="277" y="77"/>
                  </a:lnTo>
                  <a:lnTo>
                    <a:pt x="278" y="78"/>
                  </a:lnTo>
                  <a:lnTo>
                    <a:pt x="278" y="83"/>
                  </a:lnTo>
                  <a:lnTo>
                    <a:pt x="271" y="82"/>
                  </a:lnTo>
                  <a:lnTo>
                    <a:pt x="270" y="83"/>
                  </a:lnTo>
                  <a:lnTo>
                    <a:pt x="268" y="83"/>
                  </a:lnTo>
                  <a:lnTo>
                    <a:pt x="266" y="85"/>
                  </a:lnTo>
                  <a:lnTo>
                    <a:pt x="265" y="83"/>
                  </a:lnTo>
                  <a:lnTo>
                    <a:pt x="261" y="87"/>
                  </a:lnTo>
                  <a:lnTo>
                    <a:pt x="261" y="90"/>
                  </a:lnTo>
                  <a:lnTo>
                    <a:pt x="263" y="92"/>
                  </a:lnTo>
                  <a:lnTo>
                    <a:pt x="266" y="94"/>
                  </a:lnTo>
                  <a:lnTo>
                    <a:pt x="268" y="92"/>
                  </a:lnTo>
                  <a:lnTo>
                    <a:pt x="271" y="94"/>
                  </a:lnTo>
                  <a:lnTo>
                    <a:pt x="271" y="90"/>
                  </a:lnTo>
                  <a:lnTo>
                    <a:pt x="271" y="89"/>
                  </a:lnTo>
                  <a:lnTo>
                    <a:pt x="273" y="89"/>
                  </a:lnTo>
                  <a:lnTo>
                    <a:pt x="277" y="89"/>
                  </a:lnTo>
                  <a:lnTo>
                    <a:pt x="275" y="94"/>
                  </a:lnTo>
                  <a:lnTo>
                    <a:pt x="273" y="95"/>
                  </a:lnTo>
                  <a:lnTo>
                    <a:pt x="270" y="97"/>
                  </a:lnTo>
                  <a:lnTo>
                    <a:pt x="271" y="102"/>
                  </a:lnTo>
                  <a:lnTo>
                    <a:pt x="268" y="102"/>
                  </a:lnTo>
                  <a:lnTo>
                    <a:pt x="265" y="99"/>
                  </a:lnTo>
                  <a:lnTo>
                    <a:pt x="263" y="99"/>
                  </a:lnTo>
                  <a:lnTo>
                    <a:pt x="265" y="100"/>
                  </a:lnTo>
                  <a:lnTo>
                    <a:pt x="270" y="104"/>
                  </a:lnTo>
                  <a:lnTo>
                    <a:pt x="270" y="106"/>
                  </a:lnTo>
                  <a:lnTo>
                    <a:pt x="268" y="109"/>
                  </a:lnTo>
                  <a:lnTo>
                    <a:pt x="263" y="109"/>
                  </a:lnTo>
                  <a:lnTo>
                    <a:pt x="259" y="118"/>
                  </a:lnTo>
                  <a:lnTo>
                    <a:pt x="256" y="121"/>
                  </a:lnTo>
                  <a:lnTo>
                    <a:pt x="254" y="123"/>
                  </a:lnTo>
                  <a:lnTo>
                    <a:pt x="256" y="126"/>
                  </a:lnTo>
                  <a:lnTo>
                    <a:pt x="256" y="128"/>
                  </a:lnTo>
                  <a:lnTo>
                    <a:pt x="253" y="128"/>
                  </a:lnTo>
                  <a:lnTo>
                    <a:pt x="251" y="124"/>
                  </a:lnTo>
                  <a:lnTo>
                    <a:pt x="251" y="123"/>
                  </a:lnTo>
                  <a:lnTo>
                    <a:pt x="248" y="126"/>
                  </a:lnTo>
                  <a:lnTo>
                    <a:pt x="248" y="131"/>
                  </a:lnTo>
                  <a:lnTo>
                    <a:pt x="246" y="133"/>
                  </a:lnTo>
                  <a:lnTo>
                    <a:pt x="248" y="135"/>
                  </a:lnTo>
                  <a:lnTo>
                    <a:pt x="254" y="133"/>
                  </a:lnTo>
                  <a:lnTo>
                    <a:pt x="254" y="135"/>
                  </a:lnTo>
                  <a:lnTo>
                    <a:pt x="253" y="136"/>
                  </a:lnTo>
                  <a:lnTo>
                    <a:pt x="248" y="135"/>
                  </a:lnTo>
                  <a:lnTo>
                    <a:pt x="244" y="136"/>
                  </a:lnTo>
                  <a:lnTo>
                    <a:pt x="246" y="136"/>
                  </a:lnTo>
                  <a:lnTo>
                    <a:pt x="244" y="140"/>
                  </a:lnTo>
                  <a:lnTo>
                    <a:pt x="244" y="147"/>
                  </a:lnTo>
                  <a:lnTo>
                    <a:pt x="242" y="150"/>
                  </a:lnTo>
                  <a:lnTo>
                    <a:pt x="237" y="150"/>
                  </a:lnTo>
                  <a:lnTo>
                    <a:pt x="234" y="147"/>
                  </a:lnTo>
                  <a:lnTo>
                    <a:pt x="232" y="148"/>
                  </a:lnTo>
                  <a:lnTo>
                    <a:pt x="232" y="150"/>
                  </a:lnTo>
                  <a:lnTo>
                    <a:pt x="234" y="152"/>
                  </a:lnTo>
                  <a:lnTo>
                    <a:pt x="241" y="152"/>
                  </a:lnTo>
                  <a:lnTo>
                    <a:pt x="242" y="153"/>
                  </a:lnTo>
                  <a:lnTo>
                    <a:pt x="241" y="157"/>
                  </a:lnTo>
                  <a:lnTo>
                    <a:pt x="237" y="159"/>
                  </a:lnTo>
                  <a:lnTo>
                    <a:pt x="234" y="160"/>
                  </a:lnTo>
                  <a:lnTo>
                    <a:pt x="234" y="169"/>
                  </a:lnTo>
                  <a:lnTo>
                    <a:pt x="237" y="172"/>
                  </a:lnTo>
                  <a:lnTo>
                    <a:pt x="237" y="174"/>
                  </a:lnTo>
                  <a:lnTo>
                    <a:pt x="237" y="176"/>
                  </a:lnTo>
                  <a:lnTo>
                    <a:pt x="236" y="177"/>
                  </a:lnTo>
                  <a:lnTo>
                    <a:pt x="232" y="176"/>
                  </a:lnTo>
                  <a:lnTo>
                    <a:pt x="232" y="174"/>
                  </a:lnTo>
                  <a:lnTo>
                    <a:pt x="232" y="171"/>
                  </a:lnTo>
                  <a:lnTo>
                    <a:pt x="230" y="171"/>
                  </a:lnTo>
                  <a:lnTo>
                    <a:pt x="229" y="172"/>
                  </a:lnTo>
                  <a:lnTo>
                    <a:pt x="229" y="176"/>
                  </a:lnTo>
                  <a:lnTo>
                    <a:pt x="232" y="176"/>
                  </a:lnTo>
                  <a:lnTo>
                    <a:pt x="230" y="177"/>
                  </a:lnTo>
                  <a:lnTo>
                    <a:pt x="230" y="179"/>
                  </a:lnTo>
                  <a:lnTo>
                    <a:pt x="236" y="183"/>
                  </a:lnTo>
                  <a:lnTo>
                    <a:pt x="236" y="184"/>
                  </a:lnTo>
                  <a:lnTo>
                    <a:pt x="234" y="186"/>
                  </a:lnTo>
                  <a:lnTo>
                    <a:pt x="230" y="188"/>
                  </a:lnTo>
                  <a:lnTo>
                    <a:pt x="224" y="188"/>
                  </a:lnTo>
                  <a:lnTo>
                    <a:pt x="222" y="188"/>
                  </a:lnTo>
                  <a:lnTo>
                    <a:pt x="224" y="191"/>
                  </a:lnTo>
                  <a:lnTo>
                    <a:pt x="227" y="194"/>
                  </a:lnTo>
                  <a:lnTo>
                    <a:pt x="227" y="198"/>
                  </a:lnTo>
                  <a:lnTo>
                    <a:pt x="225" y="203"/>
                  </a:lnTo>
                  <a:lnTo>
                    <a:pt x="230" y="208"/>
                  </a:lnTo>
                  <a:lnTo>
                    <a:pt x="232" y="212"/>
                  </a:lnTo>
                  <a:lnTo>
                    <a:pt x="230" y="213"/>
                  </a:lnTo>
                  <a:lnTo>
                    <a:pt x="225" y="217"/>
                  </a:lnTo>
                  <a:lnTo>
                    <a:pt x="266" y="215"/>
                  </a:lnTo>
                  <a:lnTo>
                    <a:pt x="278" y="215"/>
                  </a:lnTo>
                  <a:lnTo>
                    <a:pt x="299" y="213"/>
                  </a:lnTo>
                  <a:lnTo>
                    <a:pt x="323" y="212"/>
                  </a:lnTo>
                  <a:lnTo>
                    <a:pt x="324" y="212"/>
                  </a:lnTo>
                  <a:lnTo>
                    <a:pt x="343" y="210"/>
                  </a:lnTo>
                  <a:lnTo>
                    <a:pt x="350" y="210"/>
                  </a:lnTo>
                  <a:lnTo>
                    <a:pt x="389" y="208"/>
                  </a:lnTo>
                  <a:lnTo>
                    <a:pt x="400" y="206"/>
                  </a:lnTo>
                  <a:lnTo>
                    <a:pt x="400" y="208"/>
                  </a:lnTo>
                  <a:lnTo>
                    <a:pt x="400" y="210"/>
                  </a:lnTo>
                  <a:lnTo>
                    <a:pt x="398" y="212"/>
                  </a:lnTo>
                  <a:lnTo>
                    <a:pt x="398" y="213"/>
                  </a:lnTo>
                  <a:lnTo>
                    <a:pt x="398" y="215"/>
                  </a:lnTo>
                  <a:lnTo>
                    <a:pt x="398" y="217"/>
                  </a:lnTo>
                  <a:lnTo>
                    <a:pt x="398" y="218"/>
                  </a:lnTo>
                  <a:lnTo>
                    <a:pt x="396" y="218"/>
                  </a:lnTo>
                  <a:lnTo>
                    <a:pt x="396" y="224"/>
                  </a:lnTo>
                  <a:lnTo>
                    <a:pt x="395" y="224"/>
                  </a:lnTo>
                  <a:lnTo>
                    <a:pt x="396" y="227"/>
                  </a:lnTo>
                  <a:lnTo>
                    <a:pt x="395" y="227"/>
                  </a:lnTo>
                  <a:lnTo>
                    <a:pt x="395" y="229"/>
                  </a:lnTo>
                  <a:lnTo>
                    <a:pt x="393" y="229"/>
                  </a:lnTo>
                  <a:lnTo>
                    <a:pt x="391" y="230"/>
                  </a:lnTo>
                  <a:lnTo>
                    <a:pt x="393" y="236"/>
                  </a:lnTo>
                  <a:lnTo>
                    <a:pt x="393" y="237"/>
                  </a:lnTo>
                  <a:lnTo>
                    <a:pt x="391" y="237"/>
                  </a:lnTo>
                  <a:lnTo>
                    <a:pt x="391" y="239"/>
                  </a:lnTo>
                  <a:lnTo>
                    <a:pt x="393" y="241"/>
                  </a:lnTo>
                  <a:lnTo>
                    <a:pt x="391" y="241"/>
                  </a:lnTo>
                  <a:lnTo>
                    <a:pt x="391" y="242"/>
                  </a:lnTo>
                  <a:lnTo>
                    <a:pt x="391" y="244"/>
                  </a:lnTo>
                  <a:lnTo>
                    <a:pt x="393" y="244"/>
                  </a:lnTo>
                  <a:lnTo>
                    <a:pt x="393" y="246"/>
                  </a:lnTo>
                  <a:lnTo>
                    <a:pt x="395" y="246"/>
                  </a:lnTo>
                  <a:lnTo>
                    <a:pt x="393" y="249"/>
                  </a:lnTo>
                  <a:lnTo>
                    <a:pt x="396" y="256"/>
                  </a:lnTo>
                  <a:lnTo>
                    <a:pt x="398" y="256"/>
                  </a:lnTo>
                  <a:lnTo>
                    <a:pt x="400" y="259"/>
                  </a:lnTo>
                  <a:lnTo>
                    <a:pt x="403" y="261"/>
                  </a:lnTo>
                  <a:lnTo>
                    <a:pt x="405" y="263"/>
                  </a:lnTo>
                  <a:lnTo>
                    <a:pt x="406" y="263"/>
                  </a:lnTo>
                  <a:lnTo>
                    <a:pt x="406" y="265"/>
                  </a:lnTo>
                  <a:lnTo>
                    <a:pt x="408" y="266"/>
                  </a:lnTo>
                  <a:lnTo>
                    <a:pt x="408" y="271"/>
                  </a:lnTo>
                  <a:lnTo>
                    <a:pt x="410" y="273"/>
                  </a:lnTo>
                  <a:lnTo>
                    <a:pt x="412" y="277"/>
                  </a:lnTo>
                  <a:lnTo>
                    <a:pt x="413" y="277"/>
                  </a:lnTo>
                  <a:lnTo>
                    <a:pt x="415" y="280"/>
                  </a:lnTo>
                  <a:lnTo>
                    <a:pt x="413" y="280"/>
                  </a:lnTo>
                  <a:lnTo>
                    <a:pt x="413" y="282"/>
                  </a:lnTo>
                  <a:lnTo>
                    <a:pt x="413" y="283"/>
                  </a:lnTo>
                  <a:lnTo>
                    <a:pt x="415" y="287"/>
                  </a:lnTo>
                  <a:lnTo>
                    <a:pt x="415" y="288"/>
                  </a:lnTo>
                  <a:lnTo>
                    <a:pt x="418" y="294"/>
                  </a:lnTo>
                  <a:lnTo>
                    <a:pt x="405" y="295"/>
                  </a:lnTo>
                  <a:lnTo>
                    <a:pt x="401" y="290"/>
                  </a:lnTo>
                  <a:lnTo>
                    <a:pt x="384" y="287"/>
                  </a:lnTo>
                  <a:lnTo>
                    <a:pt x="372" y="277"/>
                  </a:lnTo>
                  <a:lnTo>
                    <a:pt x="357" y="277"/>
                  </a:lnTo>
                  <a:lnTo>
                    <a:pt x="350" y="285"/>
                  </a:lnTo>
                  <a:lnTo>
                    <a:pt x="340" y="299"/>
                  </a:lnTo>
                  <a:lnTo>
                    <a:pt x="343" y="309"/>
                  </a:lnTo>
                  <a:lnTo>
                    <a:pt x="355" y="311"/>
                  </a:lnTo>
                  <a:lnTo>
                    <a:pt x="371" y="312"/>
                  </a:lnTo>
                  <a:lnTo>
                    <a:pt x="381" y="311"/>
                  </a:lnTo>
                  <a:lnTo>
                    <a:pt x="389" y="299"/>
                  </a:lnTo>
                  <a:lnTo>
                    <a:pt x="400" y="304"/>
                  </a:lnTo>
                  <a:lnTo>
                    <a:pt x="405" y="297"/>
                  </a:lnTo>
                  <a:lnTo>
                    <a:pt x="406" y="302"/>
                  </a:lnTo>
                  <a:lnTo>
                    <a:pt x="410" y="297"/>
                  </a:lnTo>
                  <a:lnTo>
                    <a:pt x="413" y="300"/>
                  </a:lnTo>
                  <a:lnTo>
                    <a:pt x="406" y="309"/>
                  </a:lnTo>
                  <a:lnTo>
                    <a:pt x="395" y="314"/>
                  </a:lnTo>
                  <a:lnTo>
                    <a:pt x="398" y="321"/>
                  </a:lnTo>
                  <a:lnTo>
                    <a:pt x="408" y="318"/>
                  </a:lnTo>
                  <a:lnTo>
                    <a:pt x="408" y="326"/>
                  </a:lnTo>
                  <a:lnTo>
                    <a:pt x="417" y="328"/>
                  </a:lnTo>
                  <a:lnTo>
                    <a:pt x="420" y="324"/>
                  </a:lnTo>
                  <a:lnTo>
                    <a:pt x="420" y="312"/>
                  </a:lnTo>
                  <a:lnTo>
                    <a:pt x="434" y="307"/>
                  </a:lnTo>
                  <a:lnTo>
                    <a:pt x="432" y="314"/>
                  </a:lnTo>
                  <a:lnTo>
                    <a:pt x="439" y="318"/>
                  </a:lnTo>
                  <a:lnTo>
                    <a:pt x="434" y="319"/>
                  </a:lnTo>
                  <a:lnTo>
                    <a:pt x="437" y="329"/>
                  </a:lnTo>
                  <a:lnTo>
                    <a:pt x="436" y="331"/>
                  </a:lnTo>
                  <a:lnTo>
                    <a:pt x="442" y="335"/>
                  </a:lnTo>
                  <a:lnTo>
                    <a:pt x="437" y="336"/>
                  </a:lnTo>
                  <a:lnTo>
                    <a:pt x="430" y="331"/>
                  </a:lnTo>
                  <a:lnTo>
                    <a:pt x="425" y="340"/>
                  </a:lnTo>
                  <a:lnTo>
                    <a:pt x="415" y="340"/>
                  </a:lnTo>
                  <a:lnTo>
                    <a:pt x="420" y="345"/>
                  </a:lnTo>
                  <a:lnTo>
                    <a:pt x="420" y="347"/>
                  </a:lnTo>
                  <a:lnTo>
                    <a:pt x="429" y="348"/>
                  </a:lnTo>
                  <a:lnTo>
                    <a:pt x="432" y="352"/>
                  </a:lnTo>
                  <a:lnTo>
                    <a:pt x="420" y="350"/>
                  </a:lnTo>
                  <a:lnTo>
                    <a:pt x="413" y="347"/>
                  </a:lnTo>
                  <a:lnTo>
                    <a:pt x="412" y="347"/>
                  </a:lnTo>
                  <a:lnTo>
                    <a:pt x="418" y="353"/>
                  </a:lnTo>
                  <a:lnTo>
                    <a:pt x="408" y="352"/>
                  </a:lnTo>
                  <a:lnTo>
                    <a:pt x="406" y="353"/>
                  </a:lnTo>
                  <a:lnTo>
                    <a:pt x="410" y="357"/>
                  </a:lnTo>
                  <a:lnTo>
                    <a:pt x="405" y="357"/>
                  </a:lnTo>
                  <a:lnTo>
                    <a:pt x="427" y="371"/>
                  </a:lnTo>
                  <a:lnTo>
                    <a:pt x="429" y="377"/>
                  </a:lnTo>
                  <a:lnTo>
                    <a:pt x="442" y="377"/>
                  </a:lnTo>
                  <a:lnTo>
                    <a:pt x="447" y="382"/>
                  </a:lnTo>
                  <a:lnTo>
                    <a:pt x="454" y="381"/>
                  </a:lnTo>
                  <a:lnTo>
                    <a:pt x="454" y="386"/>
                  </a:lnTo>
                  <a:lnTo>
                    <a:pt x="461" y="381"/>
                  </a:lnTo>
                  <a:lnTo>
                    <a:pt x="468" y="386"/>
                  </a:lnTo>
                  <a:lnTo>
                    <a:pt x="468" y="394"/>
                  </a:lnTo>
                  <a:lnTo>
                    <a:pt x="477" y="393"/>
                  </a:lnTo>
                  <a:lnTo>
                    <a:pt x="471" y="400"/>
                  </a:lnTo>
                  <a:lnTo>
                    <a:pt x="478" y="401"/>
                  </a:lnTo>
                  <a:lnTo>
                    <a:pt x="475" y="408"/>
                  </a:lnTo>
                  <a:lnTo>
                    <a:pt x="468" y="403"/>
                  </a:lnTo>
                  <a:lnTo>
                    <a:pt x="471" y="408"/>
                  </a:lnTo>
                  <a:lnTo>
                    <a:pt x="466" y="412"/>
                  </a:lnTo>
                  <a:lnTo>
                    <a:pt x="468" y="415"/>
                  </a:lnTo>
                  <a:lnTo>
                    <a:pt x="458" y="405"/>
                  </a:lnTo>
                  <a:lnTo>
                    <a:pt x="458" y="412"/>
                  </a:lnTo>
                  <a:lnTo>
                    <a:pt x="446" y="425"/>
                  </a:lnTo>
                  <a:lnTo>
                    <a:pt x="456" y="403"/>
                  </a:lnTo>
                  <a:lnTo>
                    <a:pt x="451" y="400"/>
                  </a:lnTo>
                  <a:lnTo>
                    <a:pt x="449" y="408"/>
                  </a:lnTo>
                  <a:lnTo>
                    <a:pt x="444" y="408"/>
                  </a:lnTo>
                  <a:lnTo>
                    <a:pt x="444" y="403"/>
                  </a:lnTo>
                  <a:lnTo>
                    <a:pt x="436" y="396"/>
                  </a:lnTo>
                  <a:lnTo>
                    <a:pt x="437" y="393"/>
                  </a:lnTo>
                  <a:lnTo>
                    <a:pt x="434" y="394"/>
                  </a:lnTo>
                  <a:lnTo>
                    <a:pt x="422" y="391"/>
                  </a:lnTo>
                  <a:lnTo>
                    <a:pt x="422" y="386"/>
                  </a:lnTo>
                  <a:lnTo>
                    <a:pt x="405" y="388"/>
                  </a:lnTo>
                  <a:lnTo>
                    <a:pt x="408" y="381"/>
                  </a:lnTo>
                  <a:lnTo>
                    <a:pt x="401" y="377"/>
                  </a:lnTo>
                  <a:lnTo>
                    <a:pt x="401" y="371"/>
                  </a:lnTo>
                  <a:lnTo>
                    <a:pt x="388" y="372"/>
                  </a:lnTo>
                  <a:lnTo>
                    <a:pt x="388" y="369"/>
                  </a:lnTo>
                  <a:lnTo>
                    <a:pt x="384" y="371"/>
                  </a:lnTo>
                  <a:lnTo>
                    <a:pt x="374" y="364"/>
                  </a:lnTo>
                  <a:lnTo>
                    <a:pt x="372" y="367"/>
                  </a:lnTo>
                  <a:lnTo>
                    <a:pt x="371" y="360"/>
                  </a:lnTo>
                  <a:lnTo>
                    <a:pt x="365" y="365"/>
                  </a:lnTo>
                  <a:lnTo>
                    <a:pt x="369" y="371"/>
                  </a:lnTo>
                  <a:lnTo>
                    <a:pt x="381" y="376"/>
                  </a:lnTo>
                  <a:lnTo>
                    <a:pt x="379" y="377"/>
                  </a:lnTo>
                  <a:lnTo>
                    <a:pt x="383" y="382"/>
                  </a:lnTo>
                  <a:lnTo>
                    <a:pt x="381" y="386"/>
                  </a:lnTo>
                  <a:lnTo>
                    <a:pt x="383" y="391"/>
                  </a:lnTo>
                  <a:lnTo>
                    <a:pt x="376" y="389"/>
                  </a:lnTo>
                  <a:lnTo>
                    <a:pt x="379" y="401"/>
                  </a:lnTo>
                  <a:lnTo>
                    <a:pt x="383" y="400"/>
                  </a:lnTo>
                  <a:lnTo>
                    <a:pt x="379" y="405"/>
                  </a:lnTo>
                  <a:lnTo>
                    <a:pt x="365" y="413"/>
                  </a:lnTo>
                  <a:lnTo>
                    <a:pt x="362" y="405"/>
                  </a:lnTo>
                  <a:lnTo>
                    <a:pt x="364" y="398"/>
                  </a:lnTo>
                  <a:lnTo>
                    <a:pt x="360" y="394"/>
                  </a:lnTo>
                  <a:lnTo>
                    <a:pt x="360" y="398"/>
                  </a:lnTo>
                  <a:lnTo>
                    <a:pt x="353" y="391"/>
                  </a:lnTo>
                  <a:lnTo>
                    <a:pt x="348" y="396"/>
                  </a:lnTo>
                  <a:lnTo>
                    <a:pt x="348" y="391"/>
                  </a:lnTo>
                  <a:lnTo>
                    <a:pt x="343" y="388"/>
                  </a:lnTo>
                  <a:lnTo>
                    <a:pt x="342" y="393"/>
                  </a:lnTo>
                  <a:lnTo>
                    <a:pt x="328" y="394"/>
                  </a:lnTo>
                  <a:lnTo>
                    <a:pt x="331" y="398"/>
                  </a:lnTo>
                  <a:lnTo>
                    <a:pt x="328" y="403"/>
                  </a:lnTo>
                  <a:lnTo>
                    <a:pt x="326" y="400"/>
                  </a:lnTo>
                  <a:lnTo>
                    <a:pt x="326" y="410"/>
                  </a:lnTo>
                  <a:lnTo>
                    <a:pt x="323" y="408"/>
                  </a:lnTo>
                  <a:lnTo>
                    <a:pt x="323" y="412"/>
                  </a:lnTo>
                  <a:lnTo>
                    <a:pt x="314" y="413"/>
                  </a:lnTo>
                  <a:lnTo>
                    <a:pt x="314" y="410"/>
                  </a:lnTo>
                  <a:lnTo>
                    <a:pt x="307" y="408"/>
                  </a:lnTo>
                  <a:lnTo>
                    <a:pt x="304" y="413"/>
                  </a:lnTo>
                  <a:lnTo>
                    <a:pt x="301" y="408"/>
                  </a:lnTo>
                  <a:lnTo>
                    <a:pt x="311" y="403"/>
                  </a:lnTo>
                  <a:lnTo>
                    <a:pt x="309" y="400"/>
                  </a:lnTo>
                  <a:lnTo>
                    <a:pt x="302" y="400"/>
                  </a:lnTo>
                  <a:lnTo>
                    <a:pt x="299" y="391"/>
                  </a:lnTo>
                  <a:lnTo>
                    <a:pt x="285" y="391"/>
                  </a:lnTo>
                  <a:lnTo>
                    <a:pt x="283" y="396"/>
                  </a:lnTo>
                  <a:lnTo>
                    <a:pt x="271" y="386"/>
                  </a:lnTo>
                  <a:lnTo>
                    <a:pt x="266" y="377"/>
                  </a:lnTo>
                  <a:lnTo>
                    <a:pt x="251" y="372"/>
                  </a:lnTo>
                  <a:lnTo>
                    <a:pt x="241" y="374"/>
                  </a:lnTo>
                  <a:lnTo>
                    <a:pt x="239" y="362"/>
                  </a:lnTo>
                  <a:lnTo>
                    <a:pt x="230" y="362"/>
                  </a:lnTo>
                  <a:lnTo>
                    <a:pt x="232" y="348"/>
                  </a:lnTo>
                  <a:lnTo>
                    <a:pt x="210" y="355"/>
                  </a:lnTo>
                  <a:lnTo>
                    <a:pt x="208" y="350"/>
                  </a:lnTo>
                  <a:lnTo>
                    <a:pt x="210" y="347"/>
                  </a:lnTo>
                  <a:lnTo>
                    <a:pt x="213" y="348"/>
                  </a:lnTo>
                  <a:lnTo>
                    <a:pt x="212" y="343"/>
                  </a:lnTo>
                  <a:lnTo>
                    <a:pt x="200" y="343"/>
                  </a:lnTo>
                  <a:lnTo>
                    <a:pt x="200" y="347"/>
                  </a:lnTo>
                  <a:lnTo>
                    <a:pt x="184" y="355"/>
                  </a:lnTo>
                  <a:lnTo>
                    <a:pt x="184" y="350"/>
                  </a:lnTo>
                  <a:lnTo>
                    <a:pt x="177" y="352"/>
                  </a:lnTo>
                  <a:lnTo>
                    <a:pt x="191" y="369"/>
                  </a:lnTo>
                  <a:lnTo>
                    <a:pt x="171" y="376"/>
                  </a:lnTo>
                  <a:lnTo>
                    <a:pt x="140" y="372"/>
                  </a:lnTo>
                  <a:lnTo>
                    <a:pt x="82" y="353"/>
                  </a:lnTo>
                  <a:lnTo>
                    <a:pt x="36" y="357"/>
                  </a:lnTo>
                  <a:lnTo>
                    <a:pt x="29" y="360"/>
                  </a:lnTo>
                  <a:lnTo>
                    <a:pt x="20" y="352"/>
                  </a:lnTo>
                  <a:lnTo>
                    <a:pt x="29" y="347"/>
                  </a:lnTo>
                  <a:lnTo>
                    <a:pt x="32" y="331"/>
                  </a:lnTo>
                  <a:lnTo>
                    <a:pt x="36" y="324"/>
                  </a:lnTo>
                  <a:lnTo>
                    <a:pt x="36" y="321"/>
                  </a:lnTo>
                  <a:lnTo>
                    <a:pt x="37" y="319"/>
                  </a:lnTo>
                  <a:lnTo>
                    <a:pt x="37" y="316"/>
                  </a:lnTo>
                  <a:lnTo>
                    <a:pt x="39" y="316"/>
                  </a:lnTo>
                  <a:lnTo>
                    <a:pt x="37" y="316"/>
                  </a:lnTo>
                  <a:lnTo>
                    <a:pt x="37" y="312"/>
                  </a:lnTo>
                  <a:lnTo>
                    <a:pt x="36" y="307"/>
                  </a:lnTo>
                  <a:lnTo>
                    <a:pt x="36" y="306"/>
                  </a:lnTo>
                  <a:close/>
                  <a:moveTo>
                    <a:pt x="196" y="369"/>
                  </a:moveTo>
                  <a:lnTo>
                    <a:pt x="207" y="364"/>
                  </a:lnTo>
                  <a:lnTo>
                    <a:pt x="218" y="371"/>
                  </a:lnTo>
                  <a:lnTo>
                    <a:pt x="225" y="371"/>
                  </a:lnTo>
                  <a:lnTo>
                    <a:pt x="220" y="376"/>
                  </a:lnTo>
                  <a:lnTo>
                    <a:pt x="220" y="379"/>
                  </a:lnTo>
                  <a:lnTo>
                    <a:pt x="212" y="381"/>
                  </a:lnTo>
                  <a:lnTo>
                    <a:pt x="196" y="369"/>
                  </a:lnTo>
                  <a:close/>
                  <a:moveTo>
                    <a:pt x="259" y="393"/>
                  </a:moveTo>
                  <a:lnTo>
                    <a:pt x="265" y="396"/>
                  </a:lnTo>
                  <a:lnTo>
                    <a:pt x="271" y="389"/>
                  </a:lnTo>
                  <a:lnTo>
                    <a:pt x="275" y="398"/>
                  </a:lnTo>
                  <a:lnTo>
                    <a:pt x="277" y="394"/>
                  </a:lnTo>
                  <a:lnTo>
                    <a:pt x="277" y="400"/>
                  </a:lnTo>
                  <a:lnTo>
                    <a:pt x="275" y="400"/>
                  </a:lnTo>
                  <a:lnTo>
                    <a:pt x="273" y="396"/>
                  </a:lnTo>
                  <a:lnTo>
                    <a:pt x="275" y="400"/>
                  </a:lnTo>
                  <a:lnTo>
                    <a:pt x="278" y="401"/>
                  </a:lnTo>
                  <a:lnTo>
                    <a:pt x="277" y="403"/>
                  </a:lnTo>
                  <a:lnTo>
                    <a:pt x="280" y="401"/>
                  </a:lnTo>
                  <a:lnTo>
                    <a:pt x="280" y="405"/>
                  </a:lnTo>
                  <a:lnTo>
                    <a:pt x="266" y="403"/>
                  </a:lnTo>
                  <a:lnTo>
                    <a:pt x="259" y="393"/>
                  </a:lnTo>
                  <a:close/>
                  <a:moveTo>
                    <a:pt x="299" y="400"/>
                  </a:moveTo>
                  <a:lnTo>
                    <a:pt x="295" y="403"/>
                  </a:lnTo>
                  <a:lnTo>
                    <a:pt x="297" y="400"/>
                  </a:lnTo>
                  <a:lnTo>
                    <a:pt x="294" y="400"/>
                  </a:lnTo>
                  <a:lnTo>
                    <a:pt x="295" y="405"/>
                  </a:lnTo>
                  <a:lnTo>
                    <a:pt x="297" y="405"/>
                  </a:lnTo>
                  <a:lnTo>
                    <a:pt x="297" y="408"/>
                  </a:lnTo>
                  <a:lnTo>
                    <a:pt x="292" y="408"/>
                  </a:lnTo>
                  <a:lnTo>
                    <a:pt x="294" y="405"/>
                  </a:lnTo>
                  <a:lnTo>
                    <a:pt x="289" y="406"/>
                  </a:lnTo>
                  <a:lnTo>
                    <a:pt x="289" y="400"/>
                  </a:lnTo>
                  <a:lnTo>
                    <a:pt x="287" y="401"/>
                  </a:lnTo>
                  <a:lnTo>
                    <a:pt x="289" y="408"/>
                  </a:lnTo>
                  <a:lnTo>
                    <a:pt x="282" y="405"/>
                  </a:lnTo>
                  <a:lnTo>
                    <a:pt x="280" y="398"/>
                  </a:lnTo>
                  <a:lnTo>
                    <a:pt x="292" y="396"/>
                  </a:lnTo>
                  <a:lnTo>
                    <a:pt x="292" y="394"/>
                  </a:lnTo>
                  <a:lnTo>
                    <a:pt x="299" y="400"/>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5" name="Freeform 174"/>
            <p:cNvSpPr>
              <a:spLocks noEditPoints="1"/>
            </p:cNvSpPr>
            <p:nvPr/>
          </p:nvSpPr>
          <p:spPr bwMode="gray">
            <a:xfrm>
              <a:off x="6503305" y="5021823"/>
              <a:ext cx="1241512" cy="962936"/>
            </a:xfrm>
            <a:custGeom>
              <a:avLst/>
              <a:gdLst/>
              <a:ahLst/>
              <a:cxnLst>
                <a:cxn ang="0">
                  <a:pos x="702" y="293"/>
                </a:cxn>
                <a:cxn ang="0">
                  <a:pos x="743" y="359"/>
                </a:cxn>
                <a:cxn ang="0">
                  <a:pos x="748" y="368"/>
                </a:cxn>
                <a:cxn ang="0">
                  <a:pos x="767" y="510"/>
                </a:cxn>
                <a:cxn ang="0">
                  <a:pos x="743" y="571"/>
                </a:cxn>
                <a:cxn ang="0">
                  <a:pos x="680" y="576"/>
                </a:cxn>
                <a:cxn ang="0">
                  <a:pos x="682" y="563"/>
                </a:cxn>
                <a:cxn ang="0">
                  <a:pos x="618" y="508"/>
                </a:cxn>
                <a:cxn ang="0">
                  <a:pos x="584" y="457"/>
                </a:cxn>
                <a:cxn ang="0">
                  <a:pos x="579" y="457"/>
                </a:cxn>
                <a:cxn ang="0">
                  <a:pos x="576" y="404"/>
                </a:cxn>
                <a:cxn ang="0">
                  <a:pos x="550" y="410"/>
                </a:cxn>
                <a:cxn ang="0">
                  <a:pos x="540" y="417"/>
                </a:cxn>
                <a:cxn ang="0">
                  <a:pos x="516" y="385"/>
                </a:cxn>
                <a:cxn ang="0">
                  <a:pos x="502" y="361"/>
                </a:cxn>
                <a:cxn ang="0">
                  <a:pos x="512" y="356"/>
                </a:cxn>
                <a:cxn ang="0">
                  <a:pos x="523" y="316"/>
                </a:cxn>
                <a:cxn ang="0">
                  <a:pos x="497" y="310"/>
                </a:cxn>
                <a:cxn ang="0">
                  <a:pos x="507" y="322"/>
                </a:cxn>
                <a:cxn ang="0">
                  <a:pos x="494" y="344"/>
                </a:cxn>
                <a:cxn ang="0">
                  <a:pos x="487" y="224"/>
                </a:cxn>
                <a:cxn ang="0">
                  <a:pos x="432" y="180"/>
                </a:cxn>
                <a:cxn ang="0">
                  <a:pos x="388" y="139"/>
                </a:cxn>
                <a:cxn ang="0">
                  <a:pos x="309" y="111"/>
                </a:cxn>
                <a:cxn ang="0">
                  <a:pos x="301" y="129"/>
                </a:cxn>
                <a:cxn ang="0">
                  <a:pos x="215" y="154"/>
                </a:cxn>
                <a:cxn ang="0">
                  <a:pos x="225" y="151"/>
                </a:cxn>
                <a:cxn ang="0">
                  <a:pos x="210" y="127"/>
                </a:cxn>
                <a:cxn ang="0">
                  <a:pos x="183" y="115"/>
                </a:cxn>
                <a:cxn ang="0">
                  <a:pos x="169" y="106"/>
                </a:cxn>
                <a:cxn ang="0">
                  <a:pos x="107" y="98"/>
                </a:cxn>
                <a:cxn ang="0">
                  <a:pos x="133" y="88"/>
                </a:cxn>
                <a:cxn ang="0">
                  <a:pos x="68" y="96"/>
                </a:cxn>
                <a:cxn ang="0">
                  <a:pos x="44" y="88"/>
                </a:cxn>
                <a:cxn ang="0">
                  <a:pos x="29" y="101"/>
                </a:cxn>
                <a:cxn ang="0">
                  <a:pos x="20" y="76"/>
                </a:cxn>
                <a:cxn ang="0">
                  <a:pos x="3" y="50"/>
                </a:cxn>
                <a:cxn ang="0">
                  <a:pos x="131" y="33"/>
                </a:cxn>
                <a:cxn ang="0">
                  <a:pos x="241" y="24"/>
                </a:cxn>
                <a:cxn ang="0">
                  <a:pos x="249" y="45"/>
                </a:cxn>
                <a:cxn ang="0">
                  <a:pos x="328" y="45"/>
                </a:cxn>
                <a:cxn ang="0">
                  <a:pos x="413" y="40"/>
                </a:cxn>
                <a:cxn ang="0">
                  <a:pos x="497" y="38"/>
                </a:cxn>
                <a:cxn ang="0">
                  <a:pos x="516" y="52"/>
                </a:cxn>
                <a:cxn ang="0">
                  <a:pos x="516" y="28"/>
                </a:cxn>
                <a:cxn ang="0">
                  <a:pos x="518" y="5"/>
                </a:cxn>
                <a:cxn ang="0">
                  <a:pos x="533" y="4"/>
                </a:cxn>
                <a:cxn ang="0">
                  <a:pos x="550" y="7"/>
                </a:cxn>
                <a:cxn ang="0">
                  <a:pos x="562" y="24"/>
                </a:cxn>
                <a:cxn ang="0">
                  <a:pos x="593" y="99"/>
                </a:cxn>
                <a:cxn ang="0">
                  <a:pos x="77" y="103"/>
                </a:cxn>
                <a:cxn ang="0">
                  <a:pos x="85" y="101"/>
                </a:cxn>
                <a:cxn ang="0">
                  <a:pos x="36" y="113"/>
                </a:cxn>
                <a:cxn ang="0">
                  <a:pos x="665" y="200"/>
                </a:cxn>
                <a:cxn ang="0">
                  <a:pos x="649" y="180"/>
                </a:cxn>
                <a:cxn ang="0">
                  <a:pos x="682" y="238"/>
                </a:cxn>
                <a:cxn ang="0">
                  <a:pos x="661" y="211"/>
                </a:cxn>
                <a:cxn ang="0">
                  <a:pos x="675" y="219"/>
                </a:cxn>
                <a:cxn ang="0">
                  <a:pos x="671" y="221"/>
                </a:cxn>
                <a:cxn ang="0">
                  <a:pos x="567" y="441"/>
                </a:cxn>
                <a:cxn ang="0">
                  <a:pos x="764" y="563"/>
                </a:cxn>
              </a:cxnLst>
              <a:rect l="0" t="0" r="r" b="b"/>
              <a:pathLst>
                <a:path w="771" h="598">
                  <a:moveTo>
                    <a:pt x="659" y="200"/>
                  </a:moveTo>
                  <a:lnTo>
                    <a:pt x="663" y="205"/>
                  </a:lnTo>
                  <a:lnTo>
                    <a:pt x="654" y="202"/>
                  </a:lnTo>
                  <a:lnTo>
                    <a:pt x="653" y="202"/>
                  </a:lnTo>
                  <a:lnTo>
                    <a:pt x="670" y="241"/>
                  </a:lnTo>
                  <a:lnTo>
                    <a:pt x="702" y="293"/>
                  </a:lnTo>
                  <a:lnTo>
                    <a:pt x="702" y="298"/>
                  </a:lnTo>
                  <a:lnTo>
                    <a:pt x="704" y="296"/>
                  </a:lnTo>
                  <a:lnTo>
                    <a:pt x="714" y="310"/>
                  </a:lnTo>
                  <a:lnTo>
                    <a:pt x="721" y="323"/>
                  </a:lnTo>
                  <a:lnTo>
                    <a:pt x="736" y="352"/>
                  </a:lnTo>
                  <a:lnTo>
                    <a:pt x="743" y="359"/>
                  </a:lnTo>
                  <a:lnTo>
                    <a:pt x="740" y="358"/>
                  </a:lnTo>
                  <a:lnTo>
                    <a:pt x="733" y="356"/>
                  </a:lnTo>
                  <a:lnTo>
                    <a:pt x="730" y="356"/>
                  </a:lnTo>
                  <a:lnTo>
                    <a:pt x="733" y="359"/>
                  </a:lnTo>
                  <a:lnTo>
                    <a:pt x="740" y="359"/>
                  </a:lnTo>
                  <a:lnTo>
                    <a:pt x="748" y="368"/>
                  </a:lnTo>
                  <a:lnTo>
                    <a:pt x="757" y="380"/>
                  </a:lnTo>
                  <a:lnTo>
                    <a:pt x="753" y="381"/>
                  </a:lnTo>
                  <a:lnTo>
                    <a:pt x="764" y="399"/>
                  </a:lnTo>
                  <a:lnTo>
                    <a:pt x="769" y="448"/>
                  </a:lnTo>
                  <a:lnTo>
                    <a:pt x="771" y="486"/>
                  </a:lnTo>
                  <a:lnTo>
                    <a:pt x="767" y="510"/>
                  </a:lnTo>
                  <a:lnTo>
                    <a:pt x="760" y="527"/>
                  </a:lnTo>
                  <a:lnTo>
                    <a:pt x="759" y="539"/>
                  </a:lnTo>
                  <a:lnTo>
                    <a:pt x="764" y="549"/>
                  </a:lnTo>
                  <a:lnTo>
                    <a:pt x="755" y="566"/>
                  </a:lnTo>
                  <a:lnTo>
                    <a:pt x="755" y="571"/>
                  </a:lnTo>
                  <a:lnTo>
                    <a:pt x="743" y="571"/>
                  </a:lnTo>
                  <a:lnTo>
                    <a:pt x="730" y="580"/>
                  </a:lnTo>
                  <a:lnTo>
                    <a:pt x="714" y="580"/>
                  </a:lnTo>
                  <a:lnTo>
                    <a:pt x="702" y="587"/>
                  </a:lnTo>
                  <a:lnTo>
                    <a:pt x="689" y="588"/>
                  </a:lnTo>
                  <a:lnTo>
                    <a:pt x="685" y="587"/>
                  </a:lnTo>
                  <a:lnTo>
                    <a:pt x="680" y="576"/>
                  </a:lnTo>
                  <a:lnTo>
                    <a:pt x="683" y="569"/>
                  </a:lnTo>
                  <a:lnTo>
                    <a:pt x="699" y="578"/>
                  </a:lnTo>
                  <a:lnTo>
                    <a:pt x="704" y="580"/>
                  </a:lnTo>
                  <a:lnTo>
                    <a:pt x="707" y="575"/>
                  </a:lnTo>
                  <a:lnTo>
                    <a:pt x="700" y="568"/>
                  </a:lnTo>
                  <a:lnTo>
                    <a:pt x="682" y="563"/>
                  </a:lnTo>
                  <a:lnTo>
                    <a:pt x="666" y="534"/>
                  </a:lnTo>
                  <a:lnTo>
                    <a:pt x="671" y="530"/>
                  </a:lnTo>
                  <a:lnTo>
                    <a:pt x="665" y="522"/>
                  </a:lnTo>
                  <a:lnTo>
                    <a:pt x="636" y="513"/>
                  </a:lnTo>
                  <a:lnTo>
                    <a:pt x="618" y="515"/>
                  </a:lnTo>
                  <a:lnTo>
                    <a:pt x="618" y="508"/>
                  </a:lnTo>
                  <a:lnTo>
                    <a:pt x="608" y="496"/>
                  </a:lnTo>
                  <a:lnTo>
                    <a:pt x="603" y="479"/>
                  </a:lnTo>
                  <a:lnTo>
                    <a:pt x="600" y="474"/>
                  </a:lnTo>
                  <a:lnTo>
                    <a:pt x="596" y="463"/>
                  </a:lnTo>
                  <a:lnTo>
                    <a:pt x="588" y="462"/>
                  </a:lnTo>
                  <a:lnTo>
                    <a:pt x="584" y="457"/>
                  </a:lnTo>
                  <a:lnTo>
                    <a:pt x="588" y="455"/>
                  </a:lnTo>
                  <a:lnTo>
                    <a:pt x="591" y="443"/>
                  </a:lnTo>
                  <a:lnTo>
                    <a:pt x="600" y="434"/>
                  </a:lnTo>
                  <a:lnTo>
                    <a:pt x="589" y="440"/>
                  </a:lnTo>
                  <a:lnTo>
                    <a:pt x="586" y="453"/>
                  </a:lnTo>
                  <a:lnTo>
                    <a:pt x="579" y="457"/>
                  </a:lnTo>
                  <a:lnTo>
                    <a:pt x="571" y="438"/>
                  </a:lnTo>
                  <a:lnTo>
                    <a:pt x="571" y="433"/>
                  </a:lnTo>
                  <a:lnTo>
                    <a:pt x="571" y="421"/>
                  </a:lnTo>
                  <a:lnTo>
                    <a:pt x="565" y="416"/>
                  </a:lnTo>
                  <a:lnTo>
                    <a:pt x="576" y="410"/>
                  </a:lnTo>
                  <a:lnTo>
                    <a:pt x="576" y="404"/>
                  </a:lnTo>
                  <a:lnTo>
                    <a:pt x="574" y="404"/>
                  </a:lnTo>
                  <a:lnTo>
                    <a:pt x="574" y="409"/>
                  </a:lnTo>
                  <a:lnTo>
                    <a:pt x="560" y="416"/>
                  </a:lnTo>
                  <a:lnTo>
                    <a:pt x="550" y="410"/>
                  </a:lnTo>
                  <a:lnTo>
                    <a:pt x="547" y="407"/>
                  </a:lnTo>
                  <a:lnTo>
                    <a:pt x="550" y="410"/>
                  </a:lnTo>
                  <a:lnTo>
                    <a:pt x="559" y="417"/>
                  </a:lnTo>
                  <a:lnTo>
                    <a:pt x="562" y="431"/>
                  </a:lnTo>
                  <a:lnTo>
                    <a:pt x="548" y="426"/>
                  </a:lnTo>
                  <a:lnTo>
                    <a:pt x="542" y="417"/>
                  </a:lnTo>
                  <a:lnTo>
                    <a:pt x="536" y="412"/>
                  </a:lnTo>
                  <a:lnTo>
                    <a:pt x="540" y="417"/>
                  </a:lnTo>
                  <a:lnTo>
                    <a:pt x="543" y="421"/>
                  </a:lnTo>
                  <a:lnTo>
                    <a:pt x="538" y="417"/>
                  </a:lnTo>
                  <a:lnTo>
                    <a:pt x="523" y="388"/>
                  </a:lnTo>
                  <a:lnTo>
                    <a:pt x="519" y="387"/>
                  </a:lnTo>
                  <a:lnTo>
                    <a:pt x="523" y="392"/>
                  </a:lnTo>
                  <a:lnTo>
                    <a:pt x="516" y="385"/>
                  </a:lnTo>
                  <a:lnTo>
                    <a:pt x="519" y="380"/>
                  </a:lnTo>
                  <a:lnTo>
                    <a:pt x="514" y="373"/>
                  </a:lnTo>
                  <a:lnTo>
                    <a:pt x="502" y="366"/>
                  </a:lnTo>
                  <a:lnTo>
                    <a:pt x="506" y="363"/>
                  </a:lnTo>
                  <a:lnTo>
                    <a:pt x="504" y="364"/>
                  </a:lnTo>
                  <a:lnTo>
                    <a:pt x="502" y="361"/>
                  </a:lnTo>
                  <a:lnTo>
                    <a:pt x="521" y="363"/>
                  </a:lnTo>
                  <a:lnTo>
                    <a:pt x="518" y="359"/>
                  </a:lnTo>
                  <a:lnTo>
                    <a:pt x="526" y="358"/>
                  </a:lnTo>
                  <a:lnTo>
                    <a:pt x="512" y="361"/>
                  </a:lnTo>
                  <a:lnTo>
                    <a:pt x="506" y="359"/>
                  </a:lnTo>
                  <a:lnTo>
                    <a:pt x="512" y="356"/>
                  </a:lnTo>
                  <a:lnTo>
                    <a:pt x="512" y="352"/>
                  </a:lnTo>
                  <a:lnTo>
                    <a:pt x="506" y="358"/>
                  </a:lnTo>
                  <a:lnTo>
                    <a:pt x="514" y="351"/>
                  </a:lnTo>
                  <a:lnTo>
                    <a:pt x="512" y="346"/>
                  </a:lnTo>
                  <a:lnTo>
                    <a:pt x="524" y="328"/>
                  </a:lnTo>
                  <a:lnTo>
                    <a:pt x="523" y="316"/>
                  </a:lnTo>
                  <a:lnTo>
                    <a:pt x="516" y="315"/>
                  </a:lnTo>
                  <a:lnTo>
                    <a:pt x="516" y="327"/>
                  </a:lnTo>
                  <a:lnTo>
                    <a:pt x="512" y="327"/>
                  </a:lnTo>
                  <a:lnTo>
                    <a:pt x="509" y="315"/>
                  </a:lnTo>
                  <a:lnTo>
                    <a:pt x="497" y="306"/>
                  </a:lnTo>
                  <a:lnTo>
                    <a:pt x="497" y="310"/>
                  </a:lnTo>
                  <a:lnTo>
                    <a:pt x="492" y="306"/>
                  </a:lnTo>
                  <a:lnTo>
                    <a:pt x="495" y="310"/>
                  </a:lnTo>
                  <a:lnTo>
                    <a:pt x="494" y="313"/>
                  </a:lnTo>
                  <a:lnTo>
                    <a:pt x="499" y="313"/>
                  </a:lnTo>
                  <a:lnTo>
                    <a:pt x="492" y="318"/>
                  </a:lnTo>
                  <a:lnTo>
                    <a:pt x="507" y="322"/>
                  </a:lnTo>
                  <a:lnTo>
                    <a:pt x="502" y="325"/>
                  </a:lnTo>
                  <a:lnTo>
                    <a:pt x="502" y="340"/>
                  </a:lnTo>
                  <a:lnTo>
                    <a:pt x="499" y="342"/>
                  </a:lnTo>
                  <a:lnTo>
                    <a:pt x="487" y="330"/>
                  </a:lnTo>
                  <a:lnTo>
                    <a:pt x="494" y="340"/>
                  </a:lnTo>
                  <a:lnTo>
                    <a:pt x="494" y="344"/>
                  </a:lnTo>
                  <a:lnTo>
                    <a:pt x="482" y="328"/>
                  </a:lnTo>
                  <a:lnTo>
                    <a:pt x="483" y="294"/>
                  </a:lnTo>
                  <a:lnTo>
                    <a:pt x="489" y="265"/>
                  </a:lnTo>
                  <a:lnTo>
                    <a:pt x="489" y="236"/>
                  </a:lnTo>
                  <a:lnTo>
                    <a:pt x="482" y="226"/>
                  </a:lnTo>
                  <a:lnTo>
                    <a:pt x="487" y="224"/>
                  </a:lnTo>
                  <a:lnTo>
                    <a:pt x="485" y="217"/>
                  </a:lnTo>
                  <a:lnTo>
                    <a:pt x="473" y="205"/>
                  </a:lnTo>
                  <a:lnTo>
                    <a:pt x="466" y="190"/>
                  </a:lnTo>
                  <a:lnTo>
                    <a:pt x="444" y="190"/>
                  </a:lnTo>
                  <a:lnTo>
                    <a:pt x="439" y="181"/>
                  </a:lnTo>
                  <a:lnTo>
                    <a:pt x="432" y="180"/>
                  </a:lnTo>
                  <a:lnTo>
                    <a:pt x="436" y="176"/>
                  </a:lnTo>
                  <a:lnTo>
                    <a:pt x="429" y="175"/>
                  </a:lnTo>
                  <a:lnTo>
                    <a:pt x="422" y="166"/>
                  </a:lnTo>
                  <a:lnTo>
                    <a:pt x="407" y="159"/>
                  </a:lnTo>
                  <a:lnTo>
                    <a:pt x="403" y="144"/>
                  </a:lnTo>
                  <a:lnTo>
                    <a:pt x="388" y="139"/>
                  </a:lnTo>
                  <a:lnTo>
                    <a:pt x="376" y="122"/>
                  </a:lnTo>
                  <a:lnTo>
                    <a:pt x="345" y="106"/>
                  </a:lnTo>
                  <a:lnTo>
                    <a:pt x="335" y="106"/>
                  </a:lnTo>
                  <a:lnTo>
                    <a:pt x="328" y="108"/>
                  </a:lnTo>
                  <a:lnTo>
                    <a:pt x="321" y="106"/>
                  </a:lnTo>
                  <a:lnTo>
                    <a:pt x="309" y="111"/>
                  </a:lnTo>
                  <a:lnTo>
                    <a:pt x="311" y="122"/>
                  </a:lnTo>
                  <a:lnTo>
                    <a:pt x="302" y="122"/>
                  </a:lnTo>
                  <a:lnTo>
                    <a:pt x="304" y="125"/>
                  </a:lnTo>
                  <a:lnTo>
                    <a:pt x="313" y="125"/>
                  </a:lnTo>
                  <a:lnTo>
                    <a:pt x="313" y="129"/>
                  </a:lnTo>
                  <a:lnTo>
                    <a:pt x="301" y="129"/>
                  </a:lnTo>
                  <a:lnTo>
                    <a:pt x="266" y="152"/>
                  </a:lnTo>
                  <a:lnTo>
                    <a:pt x="260" y="149"/>
                  </a:lnTo>
                  <a:lnTo>
                    <a:pt x="256" y="156"/>
                  </a:lnTo>
                  <a:lnTo>
                    <a:pt x="234" y="161"/>
                  </a:lnTo>
                  <a:lnTo>
                    <a:pt x="220" y="164"/>
                  </a:lnTo>
                  <a:lnTo>
                    <a:pt x="215" y="154"/>
                  </a:lnTo>
                  <a:lnTo>
                    <a:pt x="215" y="146"/>
                  </a:lnTo>
                  <a:lnTo>
                    <a:pt x="217" y="144"/>
                  </a:lnTo>
                  <a:lnTo>
                    <a:pt x="217" y="152"/>
                  </a:lnTo>
                  <a:lnTo>
                    <a:pt x="222" y="163"/>
                  </a:lnTo>
                  <a:lnTo>
                    <a:pt x="225" y="161"/>
                  </a:lnTo>
                  <a:lnTo>
                    <a:pt x="225" y="151"/>
                  </a:lnTo>
                  <a:lnTo>
                    <a:pt x="217" y="139"/>
                  </a:lnTo>
                  <a:lnTo>
                    <a:pt x="191" y="123"/>
                  </a:lnTo>
                  <a:lnTo>
                    <a:pt x="198" y="122"/>
                  </a:lnTo>
                  <a:lnTo>
                    <a:pt x="207" y="129"/>
                  </a:lnTo>
                  <a:lnTo>
                    <a:pt x="212" y="129"/>
                  </a:lnTo>
                  <a:lnTo>
                    <a:pt x="210" y="127"/>
                  </a:lnTo>
                  <a:lnTo>
                    <a:pt x="215" y="129"/>
                  </a:lnTo>
                  <a:lnTo>
                    <a:pt x="215" y="127"/>
                  </a:lnTo>
                  <a:lnTo>
                    <a:pt x="213" y="125"/>
                  </a:lnTo>
                  <a:lnTo>
                    <a:pt x="208" y="127"/>
                  </a:lnTo>
                  <a:lnTo>
                    <a:pt x="200" y="118"/>
                  </a:lnTo>
                  <a:lnTo>
                    <a:pt x="183" y="115"/>
                  </a:lnTo>
                  <a:lnTo>
                    <a:pt x="186" y="106"/>
                  </a:lnTo>
                  <a:lnTo>
                    <a:pt x="193" y="106"/>
                  </a:lnTo>
                  <a:lnTo>
                    <a:pt x="195" y="99"/>
                  </a:lnTo>
                  <a:lnTo>
                    <a:pt x="181" y="106"/>
                  </a:lnTo>
                  <a:lnTo>
                    <a:pt x="178" y="103"/>
                  </a:lnTo>
                  <a:lnTo>
                    <a:pt x="169" y="106"/>
                  </a:lnTo>
                  <a:lnTo>
                    <a:pt x="172" y="110"/>
                  </a:lnTo>
                  <a:lnTo>
                    <a:pt x="178" y="110"/>
                  </a:lnTo>
                  <a:lnTo>
                    <a:pt x="183" y="120"/>
                  </a:lnTo>
                  <a:lnTo>
                    <a:pt x="157" y="108"/>
                  </a:lnTo>
                  <a:lnTo>
                    <a:pt x="118" y="99"/>
                  </a:lnTo>
                  <a:lnTo>
                    <a:pt x="107" y="98"/>
                  </a:lnTo>
                  <a:lnTo>
                    <a:pt x="118" y="98"/>
                  </a:lnTo>
                  <a:lnTo>
                    <a:pt x="131" y="96"/>
                  </a:lnTo>
                  <a:lnTo>
                    <a:pt x="131" y="94"/>
                  </a:lnTo>
                  <a:lnTo>
                    <a:pt x="143" y="98"/>
                  </a:lnTo>
                  <a:lnTo>
                    <a:pt x="142" y="93"/>
                  </a:lnTo>
                  <a:lnTo>
                    <a:pt x="133" y="88"/>
                  </a:lnTo>
                  <a:lnTo>
                    <a:pt x="118" y="91"/>
                  </a:lnTo>
                  <a:lnTo>
                    <a:pt x="111" y="88"/>
                  </a:lnTo>
                  <a:lnTo>
                    <a:pt x="97" y="98"/>
                  </a:lnTo>
                  <a:lnTo>
                    <a:pt x="82" y="99"/>
                  </a:lnTo>
                  <a:lnTo>
                    <a:pt x="44" y="110"/>
                  </a:lnTo>
                  <a:lnTo>
                    <a:pt x="68" y="96"/>
                  </a:lnTo>
                  <a:lnTo>
                    <a:pt x="60" y="91"/>
                  </a:lnTo>
                  <a:lnTo>
                    <a:pt x="61" y="82"/>
                  </a:lnTo>
                  <a:lnTo>
                    <a:pt x="58" y="84"/>
                  </a:lnTo>
                  <a:lnTo>
                    <a:pt x="54" y="99"/>
                  </a:lnTo>
                  <a:lnTo>
                    <a:pt x="49" y="88"/>
                  </a:lnTo>
                  <a:lnTo>
                    <a:pt x="44" y="88"/>
                  </a:lnTo>
                  <a:lnTo>
                    <a:pt x="46" y="98"/>
                  </a:lnTo>
                  <a:lnTo>
                    <a:pt x="37" y="110"/>
                  </a:lnTo>
                  <a:lnTo>
                    <a:pt x="24" y="115"/>
                  </a:lnTo>
                  <a:lnTo>
                    <a:pt x="24" y="106"/>
                  </a:lnTo>
                  <a:lnTo>
                    <a:pt x="31" y="103"/>
                  </a:lnTo>
                  <a:lnTo>
                    <a:pt x="29" y="101"/>
                  </a:lnTo>
                  <a:lnTo>
                    <a:pt x="22" y="98"/>
                  </a:lnTo>
                  <a:lnTo>
                    <a:pt x="20" y="93"/>
                  </a:lnTo>
                  <a:lnTo>
                    <a:pt x="22" y="91"/>
                  </a:lnTo>
                  <a:lnTo>
                    <a:pt x="24" y="84"/>
                  </a:lnTo>
                  <a:lnTo>
                    <a:pt x="22" y="79"/>
                  </a:lnTo>
                  <a:lnTo>
                    <a:pt x="20" y="76"/>
                  </a:lnTo>
                  <a:lnTo>
                    <a:pt x="17" y="76"/>
                  </a:lnTo>
                  <a:lnTo>
                    <a:pt x="10" y="70"/>
                  </a:lnTo>
                  <a:lnTo>
                    <a:pt x="8" y="67"/>
                  </a:lnTo>
                  <a:lnTo>
                    <a:pt x="1" y="60"/>
                  </a:lnTo>
                  <a:lnTo>
                    <a:pt x="0" y="58"/>
                  </a:lnTo>
                  <a:lnTo>
                    <a:pt x="3" y="50"/>
                  </a:lnTo>
                  <a:lnTo>
                    <a:pt x="1" y="45"/>
                  </a:lnTo>
                  <a:lnTo>
                    <a:pt x="41" y="41"/>
                  </a:lnTo>
                  <a:lnTo>
                    <a:pt x="77" y="38"/>
                  </a:lnTo>
                  <a:lnTo>
                    <a:pt x="84" y="38"/>
                  </a:lnTo>
                  <a:lnTo>
                    <a:pt x="113" y="35"/>
                  </a:lnTo>
                  <a:lnTo>
                    <a:pt x="131" y="33"/>
                  </a:lnTo>
                  <a:lnTo>
                    <a:pt x="145" y="31"/>
                  </a:lnTo>
                  <a:lnTo>
                    <a:pt x="195" y="26"/>
                  </a:lnTo>
                  <a:lnTo>
                    <a:pt x="195" y="26"/>
                  </a:lnTo>
                  <a:lnTo>
                    <a:pt x="239" y="21"/>
                  </a:lnTo>
                  <a:lnTo>
                    <a:pt x="239" y="23"/>
                  </a:lnTo>
                  <a:lnTo>
                    <a:pt x="241" y="24"/>
                  </a:lnTo>
                  <a:lnTo>
                    <a:pt x="242" y="28"/>
                  </a:lnTo>
                  <a:lnTo>
                    <a:pt x="246" y="31"/>
                  </a:lnTo>
                  <a:lnTo>
                    <a:pt x="248" y="36"/>
                  </a:lnTo>
                  <a:lnTo>
                    <a:pt x="248" y="41"/>
                  </a:lnTo>
                  <a:lnTo>
                    <a:pt x="248" y="43"/>
                  </a:lnTo>
                  <a:lnTo>
                    <a:pt x="249" y="45"/>
                  </a:lnTo>
                  <a:lnTo>
                    <a:pt x="253" y="46"/>
                  </a:lnTo>
                  <a:lnTo>
                    <a:pt x="254" y="50"/>
                  </a:lnTo>
                  <a:lnTo>
                    <a:pt x="254" y="50"/>
                  </a:lnTo>
                  <a:lnTo>
                    <a:pt x="299" y="46"/>
                  </a:lnTo>
                  <a:lnTo>
                    <a:pt x="307" y="45"/>
                  </a:lnTo>
                  <a:lnTo>
                    <a:pt x="328" y="45"/>
                  </a:lnTo>
                  <a:lnTo>
                    <a:pt x="335" y="43"/>
                  </a:lnTo>
                  <a:lnTo>
                    <a:pt x="359" y="43"/>
                  </a:lnTo>
                  <a:lnTo>
                    <a:pt x="371" y="41"/>
                  </a:lnTo>
                  <a:lnTo>
                    <a:pt x="398" y="40"/>
                  </a:lnTo>
                  <a:lnTo>
                    <a:pt x="398" y="40"/>
                  </a:lnTo>
                  <a:lnTo>
                    <a:pt x="413" y="40"/>
                  </a:lnTo>
                  <a:lnTo>
                    <a:pt x="454" y="36"/>
                  </a:lnTo>
                  <a:lnTo>
                    <a:pt x="465" y="36"/>
                  </a:lnTo>
                  <a:lnTo>
                    <a:pt x="477" y="35"/>
                  </a:lnTo>
                  <a:lnTo>
                    <a:pt x="480" y="35"/>
                  </a:lnTo>
                  <a:lnTo>
                    <a:pt x="499" y="33"/>
                  </a:lnTo>
                  <a:lnTo>
                    <a:pt x="497" y="38"/>
                  </a:lnTo>
                  <a:lnTo>
                    <a:pt x="499" y="40"/>
                  </a:lnTo>
                  <a:lnTo>
                    <a:pt x="502" y="41"/>
                  </a:lnTo>
                  <a:lnTo>
                    <a:pt x="502" y="48"/>
                  </a:lnTo>
                  <a:lnTo>
                    <a:pt x="506" y="53"/>
                  </a:lnTo>
                  <a:lnTo>
                    <a:pt x="507" y="53"/>
                  </a:lnTo>
                  <a:lnTo>
                    <a:pt x="516" y="52"/>
                  </a:lnTo>
                  <a:lnTo>
                    <a:pt x="518" y="50"/>
                  </a:lnTo>
                  <a:lnTo>
                    <a:pt x="516" y="45"/>
                  </a:lnTo>
                  <a:lnTo>
                    <a:pt x="518" y="43"/>
                  </a:lnTo>
                  <a:lnTo>
                    <a:pt x="518" y="40"/>
                  </a:lnTo>
                  <a:lnTo>
                    <a:pt x="518" y="29"/>
                  </a:lnTo>
                  <a:lnTo>
                    <a:pt x="516" y="28"/>
                  </a:lnTo>
                  <a:lnTo>
                    <a:pt x="512" y="23"/>
                  </a:lnTo>
                  <a:lnTo>
                    <a:pt x="512" y="11"/>
                  </a:lnTo>
                  <a:lnTo>
                    <a:pt x="514" y="9"/>
                  </a:lnTo>
                  <a:lnTo>
                    <a:pt x="514" y="7"/>
                  </a:lnTo>
                  <a:lnTo>
                    <a:pt x="516" y="7"/>
                  </a:lnTo>
                  <a:lnTo>
                    <a:pt x="518" y="5"/>
                  </a:lnTo>
                  <a:lnTo>
                    <a:pt x="519" y="2"/>
                  </a:lnTo>
                  <a:lnTo>
                    <a:pt x="519" y="2"/>
                  </a:lnTo>
                  <a:lnTo>
                    <a:pt x="523" y="2"/>
                  </a:lnTo>
                  <a:lnTo>
                    <a:pt x="523" y="0"/>
                  </a:lnTo>
                  <a:lnTo>
                    <a:pt x="526" y="4"/>
                  </a:lnTo>
                  <a:lnTo>
                    <a:pt x="533" y="4"/>
                  </a:lnTo>
                  <a:lnTo>
                    <a:pt x="536" y="7"/>
                  </a:lnTo>
                  <a:lnTo>
                    <a:pt x="536" y="5"/>
                  </a:lnTo>
                  <a:lnTo>
                    <a:pt x="540" y="5"/>
                  </a:lnTo>
                  <a:lnTo>
                    <a:pt x="542" y="7"/>
                  </a:lnTo>
                  <a:lnTo>
                    <a:pt x="548" y="9"/>
                  </a:lnTo>
                  <a:lnTo>
                    <a:pt x="550" y="7"/>
                  </a:lnTo>
                  <a:lnTo>
                    <a:pt x="552" y="9"/>
                  </a:lnTo>
                  <a:lnTo>
                    <a:pt x="552" y="7"/>
                  </a:lnTo>
                  <a:lnTo>
                    <a:pt x="559" y="9"/>
                  </a:lnTo>
                  <a:lnTo>
                    <a:pt x="559" y="7"/>
                  </a:lnTo>
                  <a:lnTo>
                    <a:pt x="564" y="19"/>
                  </a:lnTo>
                  <a:lnTo>
                    <a:pt x="562" y="24"/>
                  </a:lnTo>
                  <a:lnTo>
                    <a:pt x="569" y="35"/>
                  </a:lnTo>
                  <a:lnTo>
                    <a:pt x="569" y="43"/>
                  </a:lnTo>
                  <a:lnTo>
                    <a:pt x="572" y="45"/>
                  </a:lnTo>
                  <a:lnTo>
                    <a:pt x="576" y="57"/>
                  </a:lnTo>
                  <a:lnTo>
                    <a:pt x="593" y="89"/>
                  </a:lnTo>
                  <a:lnTo>
                    <a:pt x="593" y="99"/>
                  </a:lnTo>
                  <a:lnTo>
                    <a:pt x="601" y="108"/>
                  </a:lnTo>
                  <a:lnTo>
                    <a:pt x="603" y="115"/>
                  </a:lnTo>
                  <a:lnTo>
                    <a:pt x="618" y="137"/>
                  </a:lnTo>
                  <a:lnTo>
                    <a:pt x="622" y="146"/>
                  </a:lnTo>
                  <a:lnTo>
                    <a:pt x="659" y="200"/>
                  </a:lnTo>
                  <a:close/>
                  <a:moveTo>
                    <a:pt x="77" y="103"/>
                  </a:moveTo>
                  <a:lnTo>
                    <a:pt x="82" y="101"/>
                  </a:lnTo>
                  <a:lnTo>
                    <a:pt x="97" y="99"/>
                  </a:lnTo>
                  <a:lnTo>
                    <a:pt x="104" y="99"/>
                  </a:lnTo>
                  <a:lnTo>
                    <a:pt x="106" y="99"/>
                  </a:lnTo>
                  <a:lnTo>
                    <a:pt x="106" y="99"/>
                  </a:lnTo>
                  <a:lnTo>
                    <a:pt x="85" y="101"/>
                  </a:lnTo>
                  <a:lnTo>
                    <a:pt x="82" y="103"/>
                  </a:lnTo>
                  <a:lnTo>
                    <a:pt x="77" y="103"/>
                  </a:lnTo>
                  <a:lnTo>
                    <a:pt x="41" y="115"/>
                  </a:lnTo>
                  <a:lnTo>
                    <a:pt x="37" y="115"/>
                  </a:lnTo>
                  <a:lnTo>
                    <a:pt x="36" y="113"/>
                  </a:lnTo>
                  <a:lnTo>
                    <a:pt x="36" y="113"/>
                  </a:lnTo>
                  <a:lnTo>
                    <a:pt x="44" y="113"/>
                  </a:lnTo>
                  <a:lnTo>
                    <a:pt x="49" y="110"/>
                  </a:lnTo>
                  <a:lnTo>
                    <a:pt x="58" y="108"/>
                  </a:lnTo>
                  <a:lnTo>
                    <a:pt x="68" y="105"/>
                  </a:lnTo>
                  <a:lnTo>
                    <a:pt x="77" y="103"/>
                  </a:lnTo>
                  <a:close/>
                  <a:moveTo>
                    <a:pt x="665" y="200"/>
                  </a:moveTo>
                  <a:lnTo>
                    <a:pt x="661" y="197"/>
                  </a:lnTo>
                  <a:lnTo>
                    <a:pt x="654" y="190"/>
                  </a:lnTo>
                  <a:lnTo>
                    <a:pt x="646" y="178"/>
                  </a:lnTo>
                  <a:lnTo>
                    <a:pt x="642" y="173"/>
                  </a:lnTo>
                  <a:lnTo>
                    <a:pt x="644" y="173"/>
                  </a:lnTo>
                  <a:lnTo>
                    <a:pt x="649" y="180"/>
                  </a:lnTo>
                  <a:lnTo>
                    <a:pt x="665" y="200"/>
                  </a:lnTo>
                  <a:close/>
                  <a:moveTo>
                    <a:pt x="665" y="200"/>
                  </a:moveTo>
                  <a:lnTo>
                    <a:pt x="682" y="219"/>
                  </a:lnTo>
                  <a:lnTo>
                    <a:pt x="689" y="231"/>
                  </a:lnTo>
                  <a:lnTo>
                    <a:pt x="685" y="238"/>
                  </a:lnTo>
                  <a:lnTo>
                    <a:pt x="682" y="238"/>
                  </a:lnTo>
                  <a:lnTo>
                    <a:pt x="683" y="223"/>
                  </a:lnTo>
                  <a:lnTo>
                    <a:pt x="680" y="217"/>
                  </a:lnTo>
                  <a:lnTo>
                    <a:pt x="675" y="217"/>
                  </a:lnTo>
                  <a:lnTo>
                    <a:pt x="671" y="221"/>
                  </a:lnTo>
                  <a:lnTo>
                    <a:pt x="663" y="219"/>
                  </a:lnTo>
                  <a:lnTo>
                    <a:pt x="661" y="211"/>
                  </a:lnTo>
                  <a:lnTo>
                    <a:pt x="666" y="209"/>
                  </a:lnTo>
                  <a:lnTo>
                    <a:pt x="663" y="205"/>
                  </a:lnTo>
                  <a:lnTo>
                    <a:pt x="675" y="212"/>
                  </a:lnTo>
                  <a:lnTo>
                    <a:pt x="665" y="200"/>
                  </a:lnTo>
                  <a:close/>
                  <a:moveTo>
                    <a:pt x="671" y="221"/>
                  </a:moveTo>
                  <a:lnTo>
                    <a:pt x="675" y="219"/>
                  </a:lnTo>
                  <a:lnTo>
                    <a:pt x="680" y="221"/>
                  </a:lnTo>
                  <a:lnTo>
                    <a:pt x="677" y="236"/>
                  </a:lnTo>
                  <a:lnTo>
                    <a:pt x="678" y="250"/>
                  </a:lnTo>
                  <a:lnTo>
                    <a:pt x="687" y="265"/>
                  </a:lnTo>
                  <a:lnTo>
                    <a:pt x="673" y="241"/>
                  </a:lnTo>
                  <a:lnTo>
                    <a:pt x="671" y="221"/>
                  </a:lnTo>
                  <a:close/>
                  <a:moveTo>
                    <a:pt x="571" y="452"/>
                  </a:moveTo>
                  <a:lnTo>
                    <a:pt x="576" y="460"/>
                  </a:lnTo>
                  <a:lnTo>
                    <a:pt x="572" y="462"/>
                  </a:lnTo>
                  <a:lnTo>
                    <a:pt x="567" y="446"/>
                  </a:lnTo>
                  <a:lnTo>
                    <a:pt x="562" y="443"/>
                  </a:lnTo>
                  <a:lnTo>
                    <a:pt x="567" y="441"/>
                  </a:lnTo>
                  <a:lnTo>
                    <a:pt x="571" y="452"/>
                  </a:lnTo>
                  <a:close/>
                  <a:moveTo>
                    <a:pt x="769" y="552"/>
                  </a:moveTo>
                  <a:lnTo>
                    <a:pt x="762" y="575"/>
                  </a:lnTo>
                  <a:lnTo>
                    <a:pt x="743" y="598"/>
                  </a:lnTo>
                  <a:lnTo>
                    <a:pt x="762" y="569"/>
                  </a:lnTo>
                  <a:lnTo>
                    <a:pt x="764" y="563"/>
                  </a:lnTo>
                  <a:lnTo>
                    <a:pt x="760" y="559"/>
                  </a:lnTo>
                  <a:lnTo>
                    <a:pt x="769" y="55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6" name="Freeform 175"/>
            <p:cNvSpPr>
              <a:spLocks noEditPoints="1"/>
            </p:cNvSpPr>
            <p:nvPr/>
          </p:nvSpPr>
          <p:spPr bwMode="gray">
            <a:xfrm>
              <a:off x="5933272" y="2137845"/>
              <a:ext cx="1037008" cy="1085317"/>
            </a:xfrm>
            <a:custGeom>
              <a:avLst/>
              <a:gdLst/>
              <a:ahLst/>
              <a:cxnLst>
                <a:cxn ang="0">
                  <a:pos x="80" y="40"/>
                </a:cxn>
                <a:cxn ang="0">
                  <a:pos x="154" y="76"/>
                </a:cxn>
                <a:cxn ang="0">
                  <a:pos x="144" y="125"/>
                </a:cxn>
                <a:cxn ang="0">
                  <a:pos x="338" y="217"/>
                </a:cxn>
                <a:cxn ang="0">
                  <a:pos x="301" y="243"/>
                </a:cxn>
                <a:cxn ang="0">
                  <a:pos x="284" y="252"/>
                </a:cxn>
                <a:cxn ang="0">
                  <a:pos x="238" y="286"/>
                </a:cxn>
                <a:cxn ang="0">
                  <a:pos x="210" y="311"/>
                </a:cxn>
                <a:cxn ang="0">
                  <a:pos x="212" y="291"/>
                </a:cxn>
                <a:cxn ang="0">
                  <a:pos x="198" y="296"/>
                </a:cxn>
                <a:cxn ang="0">
                  <a:pos x="202" y="276"/>
                </a:cxn>
                <a:cxn ang="0">
                  <a:pos x="200" y="264"/>
                </a:cxn>
                <a:cxn ang="0">
                  <a:pos x="195" y="253"/>
                </a:cxn>
                <a:cxn ang="0">
                  <a:pos x="174" y="246"/>
                </a:cxn>
                <a:cxn ang="0">
                  <a:pos x="169" y="235"/>
                </a:cxn>
                <a:cxn ang="0">
                  <a:pos x="152" y="233"/>
                </a:cxn>
                <a:cxn ang="0">
                  <a:pos x="140" y="231"/>
                </a:cxn>
                <a:cxn ang="0">
                  <a:pos x="128" y="229"/>
                </a:cxn>
                <a:cxn ang="0">
                  <a:pos x="108" y="223"/>
                </a:cxn>
                <a:cxn ang="0">
                  <a:pos x="19" y="194"/>
                </a:cxn>
                <a:cxn ang="0">
                  <a:pos x="7" y="182"/>
                </a:cxn>
                <a:cxn ang="0">
                  <a:pos x="73" y="146"/>
                </a:cxn>
                <a:cxn ang="0">
                  <a:pos x="125" y="101"/>
                </a:cxn>
                <a:cxn ang="0">
                  <a:pos x="140" y="141"/>
                </a:cxn>
                <a:cxn ang="0">
                  <a:pos x="200" y="137"/>
                </a:cxn>
                <a:cxn ang="0">
                  <a:pos x="280" y="175"/>
                </a:cxn>
                <a:cxn ang="0">
                  <a:pos x="379" y="127"/>
                </a:cxn>
                <a:cxn ang="0">
                  <a:pos x="405" y="154"/>
                </a:cxn>
                <a:cxn ang="0">
                  <a:pos x="463" y="173"/>
                </a:cxn>
                <a:cxn ang="0">
                  <a:pos x="480" y="194"/>
                </a:cxn>
                <a:cxn ang="0">
                  <a:pos x="434" y="199"/>
                </a:cxn>
                <a:cxn ang="0">
                  <a:pos x="367" y="199"/>
                </a:cxn>
                <a:cxn ang="0">
                  <a:pos x="504" y="190"/>
                </a:cxn>
                <a:cxn ang="0">
                  <a:pos x="520" y="194"/>
                </a:cxn>
                <a:cxn ang="0">
                  <a:pos x="489" y="199"/>
                </a:cxn>
                <a:cxn ang="0">
                  <a:pos x="350" y="599"/>
                </a:cxn>
                <a:cxn ang="0">
                  <a:pos x="326" y="455"/>
                </a:cxn>
                <a:cxn ang="0">
                  <a:pos x="323" y="411"/>
                </a:cxn>
                <a:cxn ang="0">
                  <a:pos x="337" y="337"/>
                </a:cxn>
                <a:cxn ang="0">
                  <a:pos x="373" y="342"/>
                </a:cxn>
                <a:cxn ang="0">
                  <a:pos x="391" y="281"/>
                </a:cxn>
                <a:cxn ang="0">
                  <a:pos x="405" y="246"/>
                </a:cxn>
                <a:cxn ang="0">
                  <a:pos x="470" y="238"/>
                </a:cxn>
                <a:cxn ang="0">
                  <a:pos x="520" y="262"/>
                </a:cxn>
                <a:cxn ang="0">
                  <a:pos x="543" y="286"/>
                </a:cxn>
                <a:cxn ang="0">
                  <a:pos x="552" y="327"/>
                </a:cxn>
                <a:cxn ang="0">
                  <a:pos x="530" y="407"/>
                </a:cxn>
                <a:cxn ang="0">
                  <a:pos x="547" y="434"/>
                </a:cxn>
                <a:cxn ang="0">
                  <a:pos x="598" y="393"/>
                </a:cxn>
                <a:cxn ang="0">
                  <a:pos x="641" y="511"/>
                </a:cxn>
                <a:cxn ang="0">
                  <a:pos x="617" y="544"/>
                </a:cxn>
                <a:cxn ang="0">
                  <a:pos x="596" y="602"/>
                </a:cxn>
                <a:cxn ang="0">
                  <a:pos x="508" y="658"/>
                </a:cxn>
                <a:cxn ang="0">
                  <a:pos x="407" y="663"/>
                </a:cxn>
              </a:cxnLst>
              <a:rect l="0" t="0" r="r" b="b"/>
              <a:pathLst>
                <a:path w="644" h="674">
                  <a:moveTo>
                    <a:pt x="126" y="0"/>
                  </a:moveTo>
                  <a:lnTo>
                    <a:pt x="120" y="16"/>
                  </a:lnTo>
                  <a:lnTo>
                    <a:pt x="99" y="24"/>
                  </a:lnTo>
                  <a:lnTo>
                    <a:pt x="91" y="38"/>
                  </a:lnTo>
                  <a:lnTo>
                    <a:pt x="84" y="41"/>
                  </a:lnTo>
                  <a:lnTo>
                    <a:pt x="80" y="40"/>
                  </a:lnTo>
                  <a:lnTo>
                    <a:pt x="79" y="35"/>
                  </a:lnTo>
                  <a:lnTo>
                    <a:pt x="82" y="29"/>
                  </a:lnTo>
                  <a:lnTo>
                    <a:pt x="126" y="0"/>
                  </a:lnTo>
                  <a:close/>
                  <a:moveTo>
                    <a:pt x="135" y="94"/>
                  </a:moveTo>
                  <a:lnTo>
                    <a:pt x="138" y="86"/>
                  </a:lnTo>
                  <a:lnTo>
                    <a:pt x="154" y="76"/>
                  </a:lnTo>
                  <a:lnTo>
                    <a:pt x="185" y="70"/>
                  </a:lnTo>
                  <a:lnTo>
                    <a:pt x="191" y="76"/>
                  </a:lnTo>
                  <a:lnTo>
                    <a:pt x="190" y="79"/>
                  </a:lnTo>
                  <a:lnTo>
                    <a:pt x="176" y="82"/>
                  </a:lnTo>
                  <a:lnTo>
                    <a:pt x="156" y="101"/>
                  </a:lnTo>
                  <a:lnTo>
                    <a:pt x="144" y="125"/>
                  </a:lnTo>
                  <a:lnTo>
                    <a:pt x="138" y="113"/>
                  </a:lnTo>
                  <a:lnTo>
                    <a:pt x="128" y="111"/>
                  </a:lnTo>
                  <a:lnTo>
                    <a:pt x="128" y="100"/>
                  </a:lnTo>
                  <a:lnTo>
                    <a:pt x="135" y="94"/>
                  </a:lnTo>
                  <a:close/>
                  <a:moveTo>
                    <a:pt x="342" y="216"/>
                  </a:moveTo>
                  <a:lnTo>
                    <a:pt x="338" y="217"/>
                  </a:lnTo>
                  <a:lnTo>
                    <a:pt x="338" y="223"/>
                  </a:lnTo>
                  <a:lnTo>
                    <a:pt x="326" y="219"/>
                  </a:lnTo>
                  <a:lnTo>
                    <a:pt x="313" y="223"/>
                  </a:lnTo>
                  <a:lnTo>
                    <a:pt x="309" y="226"/>
                  </a:lnTo>
                  <a:lnTo>
                    <a:pt x="308" y="235"/>
                  </a:lnTo>
                  <a:lnTo>
                    <a:pt x="301" y="243"/>
                  </a:lnTo>
                  <a:lnTo>
                    <a:pt x="294" y="245"/>
                  </a:lnTo>
                  <a:lnTo>
                    <a:pt x="296" y="248"/>
                  </a:lnTo>
                  <a:lnTo>
                    <a:pt x="292" y="250"/>
                  </a:lnTo>
                  <a:lnTo>
                    <a:pt x="289" y="258"/>
                  </a:lnTo>
                  <a:lnTo>
                    <a:pt x="284" y="257"/>
                  </a:lnTo>
                  <a:lnTo>
                    <a:pt x="284" y="252"/>
                  </a:lnTo>
                  <a:lnTo>
                    <a:pt x="291" y="238"/>
                  </a:lnTo>
                  <a:lnTo>
                    <a:pt x="277" y="238"/>
                  </a:lnTo>
                  <a:lnTo>
                    <a:pt x="267" y="252"/>
                  </a:lnTo>
                  <a:lnTo>
                    <a:pt x="251" y="255"/>
                  </a:lnTo>
                  <a:lnTo>
                    <a:pt x="243" y="270"/>
                  </a:lnTo>
                  <a:lnTo>
                    <a:pt x="238" y="286"/>
                  </a:lnTo>
                  <a:lnTo>
                    <a:pt x="222" y="315"/>
                  </a:lnTo>
                  <a:lnTo>
                    <a:pt x="222" y="320"/>
                  </a:lnTo>
                  <a:lnTo>
                    <a:pt x="215" y="318"/>
                  </a:lnTo>
                  <a:lnTo>
                    <a:pt x="210" y="315"/>
                  </a:lnTo>
                  <a:lnTo>
                    <a:pt x="210" y="311"/>
                  </a:lnTo>
                  <a:lnTo>
                    <a:pt x="210" y="311"/>
                  </a:lnTo>
                  <a:lnTo>
                    <a:pt x="210" y="308"/>
                  </a:lnTo>
                  <a:lnTo>
                    <a:pt x="212" y="306"/>
                  </a:lnTo>
                  <a:lnTo>
                    <a:pt x="212" y="305"/>
                  </a:lnTo>
                  <a:lnTo>
                    <a:pt x="215" y="296"/>
                  </a:lnTo>
                  <a:lnTo>
                    <a:pt x="215" y="294"/>
                  </a:lnTo>
                  <a:lnTo>
                    <a:pt x="212" y="291"/>
                  </a:lnTo>
                  <a:lnTo>
                    <a:pt x="207" y="296"/>
                  </a:lnTo>
                  <a:lnTo>
                    <a:pt x="202" y="296"/>
                  </a:lnTo>
                  <a:lnTo>
                    <a:pt x="200" y="298"/>
                  </a:lnTo>
                  <a:lnTo>
                    <a:pt x="198" y="294"/>
                  </a:lnTo>
                  <a:lnTo>
                    <a:pt x="198" y="294"/>
                  </a:lnTo>
                  <a:lnTo>
                    <a:pt x="198" y="296"/>
                  </a:lnTo>
                  <a:lnTo>
                    <a:pt x="197" y="296"/>
                  </a:lnTo>
                  <a:lnTo>
                    <a:pt x="200" y="291"/>
                  </a:lnTo>
                  <a:lnTo>
                    <a:pt x="198" y="286"/>
                  </a:lnTo>
                  <a:lnTo>
                    <a:pt x="202" y="284"/>
                  </a:lnTo>
                  <a:lnTo>
                    <a:pt x="203" y="281"/>
                  </a:lnTo>
                  <a:lnTo>
                    <a:pt x="202" y="276"/>
                  </a:lnTo>
                  <a:lnTo>
                    <a:pt x="200" y="274"/>
                  </a:lnTo>
                  <a:lnTo>
                    <a:pt x="202" y="272"/>
                  </a:lnTo>
                  <a:lnTo>
                    <a:pt x="203" y="269"/>
                  </a:lnTo>
                  <a:lnTo>
                    <a:pt x="203" y="269"/>
                  </a:lnTo>
                  <a:lnTo>
                    <a:pt x="200" y="264"/>
                  </a:lnTo>
                  <a:lnTo>
                    <a:pt x="200" y="264"/>
                  </a:lnTo>
                  <a:lnTo>
                    <a:pt x="202" y="262"/>
                  </a:lnTo>
                  <a:lnTo>
                    <a:pt x="202" y="260"/>
                  </a:lnTo>
                  <a:lnTo>
                    <a:pt x="200" y="258"/>
                  </a:lnTo>
                  <a:lnTo>
                    <a:pt x="200" y="258"/>
                  </a:lnTo>
                  <a:lnTo>
                    <a:pt x="197" y="257"/>
                  </a:lnTo>
                  <a:lnTo>
                    <a:pt x="195" y="253"/>
                  </a:lnTo>
                  <a:lnTo>
                    <a:pt x="186" y="253"/>
                  </a:lnTo>
                  <a:lnTo>
                    <a:pt x="185" y="250"/>
                  </a:lnTo>
                  <a:lnTo>
                    <a:pt x="181" y="252"/>
                  </a:lnTo>
                  <a:lnTo>
                    <a:pt x="178" y="252"/>
                  </a:lnTo>
                  <a:lnTo>
                    <a:pt x="174" y="248"/>
                  </a:lnTo>
                  <a:lnTo>
                    <a:pt x="174" y="246"/>
                  </a:lnTo>
                  <a:lnTo>
                    <a:pt x="179" y="241"/>
                  </a:lnTo>
                  <a:lnTo>
                    <a:pt x="176" y="240"/>
                  </a:lnTo>
                  <a:lnTo>
                    <a:pt x="176" y="238"/>
                  </a:lnTo>
                  <a:lnTo>
                    <a:pt x="174" y="236"/>
                  </a:lnTo>
                  <a:lnTo>
                    <a:pt x="173" y="236"/>
                  </a:lnTo>
                  <a:lnTo>
                    <a:pt x="169" y="235"/>
                  </a:lnTo>
                  <a:lnTo>
                    <a:pt x="167" y="235"/>
                  </a:lnTo>
                  <a:lnTo>
                    <a:pt x="164" y="233"/>
                  </a:lnTo>
                  <a:lnTo>
                    <a:pt x="161" y="235"/>
                  </a:lnTo>
                  <a:lnTo>
                    <a:pt x="159" y="235"/>
                  </a:lnTo>
                  <a:lnTo>
                    <a:pt x="156" y="231"/>
                  </a:lnTo>
                  <a:lnTo>
                    <a:pt x="152" y="233"/>
                  </a:lnTo>
                  <a:lnTo>
                    <a:pt x="149" y="231"/>
                  </a:lnTo>
                  <a:lnTo>
                    <a:pt x="147" y="231"/>
                  </a:lnTo>
                  <a:lnTo>
                    <a:pt x="145" y="229"/>
                  </a:lnTo>
                  <a:lnTo>
                    <a:pt x="144" y="229"/>
                  </a:lnTo>
                  <a:lnTo>
                    <a:pt x="142" y="229"/>
                  </a:lnTo>
                  <a:lnTo>
                    <a:pt x="140" y="231"/>
                  </a:lnTo>
                  <a:lnTo>
                    <a:pt x="138" y="229"/>
                  </a:lnTo>
                  <a:lnTo>
                    <a:pt x="137" y="233"/>
                  </a:lnTo>
                  <a:lnTo>
                    <a:pt x="135" y="233"/>
                  </a:lnTo>
                  <a:lnTo>
                    <a:pt x="132" y="229"/>
                  </a:lnTo>
                  <a:lnTo>
                    <a:pt x="130" y="231"/>
                  </a:lnTo>
                  <a:lnTo>
                    <a:pt x="128" y="229"/>
                  </a:lnTo>
                  <a:lnTo>
                    <a:pt x="125" y="231"/>
                  </a:lnTo>
                  <a:lnTo>
                    <a:pt x="125" y="229"/>
                  </a:lnTo>
                  <a:lnTo>
                    <a:pt x="123" y="229"/>
                  </a:lnTo>
                  <a:lnTo>
                    <a:pt x="123" y="229"/>
                  </a:lnTo>
                  <a:lnTo>
                    <a:pt x="113" y="226"/>
                  </a:lnTo>
                  <a:lnTo>
                    <a:pt x="108" y="223"/>
                  </a:lnTo>
                  <a:lnTo>
                    <a:pt x="99" y="219"/>
                  </a:lnTo>
                  <a:lnTo>
                    <a:pt x="38" y="207"/>
                  </a:lnTo>
                  <a:lnTo>
                    <a:pt x="22" y="204"/>
                  </a:lnTo>
                  <a:lnTo>
                    <a:pt x="22" y="200"/>
                  </a:lnTo>
                  <a:lnTo>
                    <a:pt x="20" y="199"/>
                  </a:lnTo>
                  <a:lnTo>
                    <a:pt x="19" y="194"/>
                  </a:lnTo>
                  <a:lnTo>
                    <a:pt x="14" y="187"/>
                  </a:lnTo>
                  <a:lnTo>
                    <a:pt x="10" y="187"/>
                  </a:lnTo>
                  <a:lnTo>
                    <a:pt x="10" y="185"/>
                  </a:lnTo>
                  <a:lnTo>
                    <a:pt x="7" y="185"/>
                  </a:lnTo>
                  <a:lnTo>
                    <a:pt x="7" y="183"/>
                  </a:lnTo>
                  <a:lnTo>
                    <a:pt x="7" y="182"/>
                  </a:lnTo>
                  <a:lnTo>
                    <a:pt x="2" y="183"/>
                  </a:lnTo>
                  <a:lnTo>
                    <a:pt x="0" y="180"/>
                  </a:lnTo>
                  <a:lnTo>
                    <a:pt x="27" y="166"/>
                  </a:lnTo>
                  <a:lnTo>
                    <a:pt x="36" y="156"/>
                  </a:lnTo>
                  <a:lnTo>
                    <a:pt x="43" y="151"/>
                  </a:lnTo>
                  <a:lnTo>
                    <a:pt x="73" y="146"/>
                  </a:lnTo>
                  <a:lnTo>
                    <a:pt x="85" y="137"/>
                  </a:lnTo>
                  <a:lnTo>
                    <a:pt x="91" y="129"/>
                  </a:lnTo>
                  <a:lnTo>
                    <a:pt x="101" y="129"/>
                  </a:lnTo>
                  <a:lnTo>
                    <a:pt x="104" y="123"/>
                  </a:lnTo>
                  <a:lnTo>
                    <a:pt x="108" y="117"/>
                  </a:lnTo>
                  <a:lnTo>
                    <a:pt x="125" y="101"/>
                  </a:lnTo>
                  <a:lnTo>
                    <a:pt x="126" y="111"/>
                  </a:lnTo>
                  <a:lnTo>
                    <a:pt x="135" y="113"/>
                  </a:lnTo>
                  <a:lnTo>
                    <a:pt x="135" y="122"/>
                  </a:lnTo>
                  <a:lnTo>
                    <a:pt x="142" y="125"/>
                  </a:lnTo>
                  <a:lnTo>
                    <a:pt x="142" y="132"/>
                  </a:lnTo>
                  <a:lnTo>
                    <a:pt x="140" y="141"/>
                  </a:lnTo>
                  <a:lnTo>
                    <a:pt x="142" y="146"/>
                  </a:lnTo>
                  <a:lnTo>
                    <a:pt x="161" y="129"/>
                  </a:lnTo>
                  <a:lnTo>
                    <a:pt x="161" y="134"/>
                  </a:lnTo>
                  <a:lnTo>
                    <a:pt x="171" y="132"/>
                  </a:lnTo>
                  <a:lnTo>
                    <a:pt x="181" y="130"/>
                  </a:lnTo>
                  <a:lnTo>
                    <a:pt x="200" y="137"/>
                  </a:lnTo>
                  <a:lnTo>
                    <a:pt x="224" y="170"/>
                  </a:lnTo>
                  <a:lnTo>
                    <a:pt x="244" y="170"/>
                  </a:lnTo>
                  <a:lnTo>
                    <a:pt x="251" y="164"/>
                  </a:lnTo>
                  <a:lnTo>
                    <a:pt x="261" y="173"/>
                  </a:lnTo>
                  <a:lnTo>
                    <a:pt x="270" y="168"/>
                  </a:lnTo>
                  <a:lnTo>
                    <a:pt x="280" y="175"/>
                  </a:lnTo>
                  <a:lnTo>
                    <a:pt x="291" y="158"/>
                  </a:lnTo>
                  <a:lnTo>
                    <a:pt x="313" y="144"/>
                  </a:lnTo>
                  <a:lnTo>
                    <a:pt x="318" y="146"/>
                  </a:lnTo>
                  <a:lnTo>
                    <a:pt x="335" y="139"/>
                  </a:lnTo>
                  <a:lnTo>
                    <a:pt x="361" y="139"/>
                  </a:lnTo>
                  <a:lnTo>
                    <a:pt x="379" y="127"/>
                  </a:lnTo>
                  <a:lnTo>
                    <a:pt x="400" y="123"/>
                  </a:lnTo>
                  <a:lnTo>
                    <a:pt x="395" y="132"/>
                  </a:lnTo>
                  <a:lnTo>
                    <a:pt x="398" y="147"/>
                  </a:lnTo>
                  <a:lnTo>
                    <a:pt x="396" y="152"/>
                  </a:lnTo>
                  <a:lnTo>
                    <a:pt x="398" y="156"/>
                  </a:lnTo>
                  <a:lnTo>
                    <a:pt x="405" y="154"/>
                  </a:lnTo>
                  <a:lnTo>
                    <a:pt x="415" y="158"/>
                  </a:lnTo>
                  <a:lnTo>
                    <a:pt x="427" y="151"/>
                  </a:lnTo>
                  <a:lnTo>
                    <a:pt x="432" y="159"/>
                  </a:lnTo>
                  <a:lnTo>
                    <a:pt x="443" y="149"/>
                  </a:lnTo>
                  <a:lnTo>
                    <a:pt x="451" y="147"/>
                  </a:lnTo>
                  <a:lnTo>
                    <a:pt x="463" y="173"/>
                  </a:lnTo>
                  <a:lnTo>
                    <a:pt x="456" y="178"/>
                  </a:lnTo>
                  <a:lnTo>
                    <a:pt x="460" y="182"/>
                  </a:lnTo>
                  <a:lnTo>
                    <a:pt x="468" y="180"/>
                  </a:lnTo>
                  <a:lnTo>
                    <a:pt x="477" y="183"/>
                  </a:lnTo>
                  <a:lnTo>
                    <a:pt x="473" y="187"/>
                  </a:lnTo>
                  <a:lnTo>
                    <a:pt x="480" y="194"/>
                  </a:lnTo>
                  <a:lnTo>
                    <a:pt x="487" y="195"/>
                  </a:lnTo>
                  <a:lnTo>
                    <a:pt x="487" y="200"/>
                  </a:lnTo>
                  <a:lnTo>
                    <a:pt x="472" y="200"/>
                  </a:lnTo>
                  <a:lnTo>
                    <a:pt x="455" y="200"/>
                  </a:lnTo>
                  <a:lnTo>
                    <a:pt x="443" y="204"/>
                  </a:lnTo>
                  <a:lnTo>
                    <a:pt x="434" y="199"/>
                  </a:lnTo>
                  <a:lnTo>
                    <a:pt x="429" y="199"/>
                  </a:lnTo>
                  <a:lnTo>
                    <a:pt x="427" y="219"/>
                  </a:lnTo>
                  <a:lnTo>
                    <a:pt x="419" y="216"/>
                  </a:lnTo>
                  <a:lnTo>
                    <a:pt x="402" y="204"/>
                  </a:lnTo>
                  <a:lnTo>
                    <a:pt x="376" y="199"/>
                  </a:lnTo>
                  <a:lnTo>
                    <a:pt x="367" y="199"/>
                  </a:lnTo>
                  <a:lnTo>
                    <a:pt x="357" y="214"/>
                  </a:lnTo>
                  <a:lnTo>
                    <a:pt x="342" y="216"/>
                  </a:lnTo>
                  <a:close/>
                  <a:moveTo>
                    <a:pt x="490" y="194"/>
                  </a:moveTo>
                  <a:lnTo>
                    <a:pt x="496" y="197"/>
                  </a:lnTo>
                  <a:lnTo>
                    <a:pt x="497" y="192"/>
                  </a:lnTo>
                  <a:lnTo>
                    <a:pt x="504" y="190"/>
                  </a:lnTo>
                  <a:lnTo>
                    <a:pt x="502" y="187"/>
                  </a:lnTo>
                  <a:lnTo>
                    <a:pt x="499" y="185"/>
                  </a:lnTo>
                  <a:lnTo>
                    <a:pt x="504" y="183"/>
                  </a:lnTo>
                  <a:lnTo>
                    <a:pt x="509" y="183"/>
                  </a:lnTo>
                  <a:lnTo>
                    <a:pt x="514" y="192"/>
                  </a:lnTo>
                  <a:lnTo>
                    <a:pt x="520" y="194"/>
                  </a:lnTo>
                  <a:lnTo>
                    <a:pt x="518" y="200"/>
                  </a:lnTo>
                  <a:lnTo>
                    <a:pt x="513" y="202"/>
                  </a:lnTo>
                  <a:lnTo>
                    <a:pt x="508" y="199"/>
                  </a:lnTo>
                  <a:lnTo>
                    <a:pt x="496" y="202"/>
                  </a:lnTo>
                  <a:lnTo>
                    <a:pt x="490" y="195"/>
                  </a:lnTo>
                  <a:lnTo>
                    <a:pt x="489" y="199"/>
                  </a:lnTo>
                  <a:lnTo>
                    <a:pt x="490" y="194"/>
                  </a:lnTo>
                  <a:close/>
                  <a:moveTo>
                    <a:pt x="313" y="674"/>
                  </a:moveTo>
                  <a:lnTo>
                    <a:pt x="328" y="657"/>
                  </a:lnTo>
                  <a:lnTo>
                    <a:pt x="337" y="633"/>
                  </a:lnTo>
                  <a:lnTo>
                    <a:pt x="345" y="617"/>
                  </a:lnTo>
                  <a:lnTo>
                    <a:pt x="350" y="599"/>
                  </a:lnTo>
                  <a:lnTo>
                    <a:pt x="350" y="561"/>
                  </a:lnTo>
                  <a:lnTo>
                    <a:pt x="344" y="523"/>
                  </a:lnTo>
                  <a:lnTo>
                    <a:pt x="325" y="487"/>
                  </a:lnTo>
                  <a:lnTo>
                    <a:pt x="316" y="469"/>
                  </a:lnTo>
                  <a:lnTo>
                    <a:pt x="323" y="455"/>
                  </a:lnTo>
                  <a:lnTo>
                    <a:pt x="326" y="455"/>
                  </a:lnTo>
                  <a:lnTo>
                    <a:pt x="323" y="455"/>
                  </a:lnTo>
                  <a:lnTo>
                    <a:pt x="323" y="450"/>
                  </a:lnTo>
                  <a:lnTo>
                    <a:pt x="320" y="436"/>
                  </a:lnTo>
                  <a:lnTo>
                    <a:pt x="321" y="436"/>
                  </a:lnTo>
                  <a:lnTo>
                    <a:pt x="314" y="426"/>
                  </a:lnTo>
                  <a:lnTo>
                    <a:pt x="323" y="411"/>
                  </a:lnTo>
                  <a:lnTo>
                    <a:pt x="330" y="392"/>
                  </a:lnTo>
                  <a:lnTo>
                    <a:pt x="330" y="373"/>
                  </a:lnTo>
                  <a:lnTo>
                    <a:pt x="326" y="354"/>
                  </a:lnTo>
                  <a:lnTo>
                    <a:pt x="338" y="351"/>
                  </a:lnTo>
                  <a:lnTo>
                    <a:pt x="338" y="346"/>
                  </a:lnTo>
                  <a:lnTo>
                    <a:pt x="337" y="337"/>
                  </a:lnTo>
                  <a:lnTo>
                    <a:pt x="338" y="332"/>
                  </a:lnTo>
                  <a:lnTo>
                    <a:pt x="359" y="320"/>
                  </a:lnTo>
                  <a:lnTo>
                    <a:pt x="369" y="296"/>
                  </a:lnTo>
                  <a:lnTo>
                    <a:pt x="374" y="298"/>
                  </a:lnTo>
                  <a:lnTo>
                    <a:pt x="369" y="322"/>
                  </a:lnTo>
                  <a:lnTo>
                    <a:pt x="373" y="342"/>
                  </a:lnTo>
                  <a:lnTo>
                    <a:pt x="381" y="342"/>
                  </a:lnTo>
                  <a:lnTo>
                    <a:pt x="386" y="332"/>
                  </a:lnTo>
                  <a:lnTo>
                    <a:pt x="390" y="315"/>
                  </a:lnTo>
                  <a:lnTo>
                    <a:pt x="386" y="293"/>
                  </a:lnTo>
                  <a:lnTo>
                    <a:pt x="386" y="286"/>
                  </a:lnTo>
                  <a:lnTo>
                    <a:pt x="391" y="281"/>
                  </a:lnTo>
                  <a:lnTo>
                    <a:pt x="407" y="274"/>
                  </a:lnTo>
                  <a:lnTo>
                    <a:pt x="415" y="272"/>
                  </a:lnTo>
                  <a:lnTo>
                    <a:pt x="419" y="269"/>
                  </a:lnTo>
                  <a:lnTo>
                    <a:pt x="407" y="264"/>
                  </a:lnTo>
                  <a:lnTo>
                    <a:pt x="402" y="253"/>
                  </a:lnTo>
                  <a:lnTo>
                    <a:pt x="405" y="246"/>
                  </a:lnTo>
                  <a:lnTo>
                    <a:pt x="410" y="240"/>
                  </a:lnTo>
                  <a:lnTo>
                    <a:pt x="412" y="233"/>
                  </a:lnTo>
                  <a:lnTo>
                    <a:pt x="429" y="226"/>
                  </a:lnTo>
                  <a:lnTo>
                    <a:pt x="449" y="238"/>
                  </a:lnTo>
                  <a:lnTo>
                    <a:pt x="461" y="236"/>
                  </a:lnTo>
                  <a:lnTo>
                    <a:pt x="470" y="238"/>
                  </a:lnTo>
                  <a:lnTo>
                    <a:pt x="475" y="243"/>
                  </a:lnTo>
                  <a:lnTo>
                    <a:pt x="479" y="252"/>
                  </a:lnTo>
                  <a:lnTo>
                    <a:pt x="492" y="250"/>
                  </a:lnTo>
                  <a:lnTo>
                    <a:pt x="504" y="257"/>
                  </a:lnTo>
                  <a:lnTo>
                    <a:pt x="509" y="257"/>
                  </a:lnTo>
                  <a:lnTo>
                    <a:pt x="520" y="262"/>
                  </a:lnTo>
                  <a:lnTo>
                    <a:pt x="526" y="260"/>
                  </a:lnTo>
                  <a:lnTo>
                    <a:pt x="528" y="264"/>
                  </a:lnTo>
                  <a:lnTo>
                    <a:pt x="535" y="269"/>
                  </a:lnTo>
                  <a:lnTo>
                    <a:pt x="533" y="270"/>
                  </a:lnTo>
                  <a:lnTo>
                    <a:pt x="537" y="274"/>
                  </a:lnTo>
                  <a:lnTo>
                    <a:pt x="543" y="286"/>
                  </a:lnTo>
                  <a:lnTo>
                    <a:pt x="535" y="293"/>
                  </a:lnTo>
                  <a:lnTo>
                    <a:pt x="537" y="296"/>
                  </a:lnTo>
                  <a:lnTo>
                    <a:pt x="533" y="298"/>
                  </a:lnTo>
                  <a:lnTo>
                    <a:pt x="538" y="305"/>
                  </a:lnTo>
                  <a:lnTo>
                    <a:pt x="547" y="311"/>
                  </a:lnTo>
                  <a:lnTo>
                    <a:pt x="552" y="327"/>
                  </a:lnTo>
                  <a:lnTo>
                    <a:pt x="552" y="347"/>
                  </a:lnTo>
                  <a:lnTo>
                    <a:pt x="552" y="368"/>
                  </a:lnTo>
                  <a:lnTo>
                    <a:pt x="540" y="376"/>
                  </a:lnTo>
                  <a:lnTo>
                    <a:pt x="538" y="387"/>
                  </a:lnTo>
                  <a:lnTo>
                    <a:pt x="537" y="399"/>
                  </a:lnTo>
                  <a:lnTo>
                    <a:pt x="530" y="407"/>
                  </a:lnTo>
                  <a:lnTo>
                    <a:pt x="518" y="412"/>
                  </a:lnTo>
                  <a:lnTo>
                    <a:pt x="514" y="417"/>
                  </a:lnTo>
                  <a:lnTo>
                    <a:pt x="516" y="441"/>
                  </a:lnTo>
                  <a:lnTo>
                    <a:pt x="535" y="450"/>
                  </a:lnTo>
                  <a:lnTo>
                    <a:pt x="538" y="448"/>
                  </a:lnTo>
                  <a:lnTo>
                    <a:pt x="547" y="434"/>
                  </a:lnTo>
                  <a:lnTo>
                    <a:pt x="550" y="436"/>
                  </a:lnTo>
                  <a:lnTo>
                    <a:pt x="552" y="431"/>
                  </a:lnTo>
                  <a:lnTo>
                    <a:pt x="557" y="421"/>
                  </a:lnTo>
                  <a:lnTo>
                    <a:pt x="559" y="409"/>
                  </a:lnTo>
                  <a:lnTo>
                    <a:pt x="588" y="392"/>
                  </a:lnTo>
                  <a:lnTo>
                    <a:pt x="598" y="393"/>
                  </a:lnTo>
                  <a:lnTo>
                    <a:pt x="605" y="400"/>
                  </a:lnTo>
                  <a:lnTo>
                    <a:pt x="615" y="417"/>
                  </a:lnTo>
                  <a:lnTo>
                    <a:pt x="619" y="428"/>
                  </a:lnTo>
                  <a:lnTo>
                    <a:pt x="634" y="482"/>
                  </a:lnTo>
                  <a:lnTo>
                    <a:pt x="644" y="503"/>
                  </a:lnTo>
                  <a:lnTo>
                    <a:pt x="641" y="511"/>
                  </a:lnTo>
                  <a:lnTo>
                    <a:pt x="643" y="525"/>
                  </a:lnTo>
                  <a:lnTo>
                    <a:pt x="641" y="540"/>
                  </a:lnTo>
                  <a:lnTo>
                    <a:pt x="631" y="542"/>
                  </a:lnTo>
                  <a:lnTo>
                    <a:pt x="632" y="537"/>
                  </a:lnTo>
                  <a:lnTo>
                    <a:pt x="624" y="537"/>
                  </a:lnTo>
                  <a:lnTo>
                    <a:pt x="617" y="544"/>
                  </a:lnTo>
                  <a:lnTo>
                    <a:pt x="619" y="546"/>
                  </a:lnTo>
                  <a:lnTo>
                    <a:pt x="614" y="559"/>
                  </a:lnTo>
                  <a:lnTo>
                    <a:pt x="615" y="563"/>
                  </a:lnTo>
                  <a:lnTo>
                    <a:pt x="614" y="573"/>
                  </a:lnTo>
                  <a:lnTo>
                    <a:pt x="600" y="583"/>
                  </a:lnTo>
                  <a:lnTo>
                    <a:pt x="596" y="602"/>
                  </a:lnTo>
                  <a:lnTo>
                    <a:pt x="598" y="612"/>
                  </a:lnTo>
                  <a:lnTo>
                    <a:pt x="579" y="648"/>
                  </a:lnTo>
                  <a:lnTo>
                    <a:pt x="557" y="652"/>
                  </a:lnTo>
                  <a:lnTo>
                    <a:pt x="549" y="653"/>
                  </a:lnTo>
                  <a:lnTo>
                    <a:pt x="509" y="658"/>
                  </a:lnTo>
                  <a:lnTo>
                    <a:pt x="508" y="658"/>
                  </a:lnTo>
                  <a:lnTo>
                    <a:pt x="475" y="663"/>
                  </a:lnTo>
                  <a:lnTo>
                    <a:pt x="475" y="657"/>
                  </a:lnTo>
                  <a:lnTo>
                    <a:pt x="472" y="657"/>
                  </a:lnTo>
                  <a:lnTo>
                    <a:pt x="443" y="660"/>
                  </a:lnTo>
                  <a:lnTo>
                    <a:pt x="436" y="662"/>
                  </a:lnTo>
                  <a:lnTo>
                    <a:pt x="407" y="663"/>
                  </a:lnTo>
                  <a:lnTo>
                    <a:pt x="395" y="665"/>
                  </a:lnTo>
                  <a:lnTo>
                    <a:pt x="374" y="667"/>
                  </a:lnTo>
                  <a:lnTo>
                    <a:pt x="361" y="669"/>
                  </a:lnTo>
                  <a:lnTo>
                    <a:pt x="338" y="670"/>
                  </a:lnTo>
                  <a:lnTo>
                    <a:pt x="313" y="674"/>
                  </a:lnTo>
                  <a:close/>
                </a:path>
              </a:pathLst>
            </a:custGeom>
            <a:grpFill/>
            <a:ln w="28575" cap="flat" cmpd="sng">
              <a:solidFill>
                <a:sysClr val="window" lastClr="FFFFFF"/>
              </a:solidFill>
              <a:prstDash val="solid"/>
              <a:round/>
              <a:headEnd type="none" w="med" len="med"/>
              <a:tailEnd type="none" w="med" len="me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7" name="Freeform 180"/>
            <p:cNvSpPr>
              <a:spLocks noEditPoints="1"/>
            </p:cNvSpPr>
            <p:nvPr/>
          </p:nvSpPr>
          <p:spPr bwMode="gray">
            <a:xfrm>
              <a:off x="1794901" y="4783504"/>
              <a:ext cx="1413809" cy="1331687"/>
            </a:xfrm>
            <a:custGeom>
              <a:avLst/>
              <a:gdLst/>
              <a:ahLst/>
              <a:cxnLst>
                <a:cxn ang="0">
                  <a:pos x="318" y="268"/>
                </a:cxn>
                <a:cxn ang="0">
                  <a:pos x="280" y="220"/>
                </a:cxn>
                <a:cxn ang="0">
                  <a:pos x="285" y="208"/>
                </a:cxn>
                <a:cxn ang="0">
                  <a:pos x="294" y="177"/>
                </a:cxn>
                <a:cxn ang="0">
                  <a:pos x="374" y="187"/>
                </a:cxn>
                <a:cxn ang="0">
                  <a:pos x="396" y="148"/>
                </a:cxn>
                <a:cxn ang="0">
                  <a:pos x="349" y="51"/>
                </a:cxn>
                <a:cxn ang="0">
                  <a:pos x="434" y="111"/>
                </a:cxn>
                <a:cxn ang="0">
                  <a:pos x="484" y="133"/>
                </a:cxn>
                <a:cxn ang="0">
                  <a:pos x="441" y="0"/>
                </a:cxn>
                <a:cxn ang="0">
                  <a:pos x="567" y="42"/>
                </a:cxn>
                <a:cxn ang="0">
                  <a:pos x="636" y="82"/>
                </a:cxn>
                <a:cxn ang="0">
                  <a:pos x="711" y="146"/>
                </a:cxn>
                <a:cxn ang="0">
                  <a:pos x="719" y="541"/>
                </a:cxn>
                <a:cxn ang="0">
                  <a:pos x="839" y="685"/>
                </a:cxn>
                <a:cxn ang="0">
                  <a:pos x="858" y="808"/>
                </a:cxn>
                <a:cxn ang="0">
                  <a:pos x="834" y="772"/>
                </a:cxn>
                <a:cxn ang="0">
                  <a:pos x="822" y="707"/>
                </a:cxn>
                <a:cxn ang="0">
                  <a:pos x="808" y="651"/>
                </a:cxn>
                <a:cxn ang="0">
                  <a:pos x="793" y="635"/>
                </a:cxn>
                <a:cxn ang="0">
                  <a:pos x="779" y="637"/>
                </a:cxn>
                <a:cxn ang="0">
                  <a:pos x="738" y="599"/>
                </a:cxn>
                <a:cxn ang="0">
                  <a:pos x="646" y="516"/>
                </a:cxn>
                <a:cxn ang="0">
                  <a:pos x="605" y="463"/>
                </a:cxn>
                <a:cxn ang="0">
                  <a:pos x="593" y="442"/>
                </a:cxn>
                <a:cxn ang="0">
                  <a:pos x="576" y="442"/>
                </a:cxn>
                <a:cxn ang="0">
                  <a:pos x="554" y="464"/>
                </a:cxn>
                <a:cxn ang="0">
                  <a:pos x="506" y="451"/>
                </a:cxn>
                <a:cxn ang="0">
                  <a:pos x="516" y="406"/>
                </a:cxn>
                <a:cxn ang="0">
                  <a:pos x="478" y="401"/>
                </a:cxn>
                <a:cxn ang="0">
                  <a:pos x="441" y="439"/>
                </a:cxn>
                <a:cxn ang="0">
                  <a:pos x="374" y="440"/>
                </a:cxn>
                <a:cxn ang="0">
                  <a:pos x="313" y="451"/>
                </a:cxn>
                <a:cxn ang="0">
                  <a:pos x="277" y="451"/>
                </a:cxn>
                <a:cxn ang="0">
                  <a:pos x="222" y="432"/>
                </a:cxn>
                <a:cxn ang="0">
                  <a:pos x="167" y="408"/>
                </a:cxn>
                <a:cxn ang="0">
                  <a:pos x="237" y="430"/>
                </a:cxn>
                <a:cxn ang="0">
                  <a:pos x="352" y="403"/>
                </a:cxn>
                <a:cxn ang="0">
                  <a:pos x="342" y="360"/>
                </a:cxn>
                <a:cxn ang="0">
                  <a:pos x="149" y="116"/>
                </a:cxn>
                <a:cxn ang="0">
                  <a:pos x="160" y="405"/>
                </a:cxn>
                <a:cxn ang="0">
                  <a:pos x="65" y="389"/>
                </a:cxn>
                <a:cxn ang="0">
                  <a:pos x="25" y="377"/>
                </a:cxn>
                <a:cxn ang="0">
                  <a:pos x="278" y="100"/>
                </a:cxn>
                <a:cxn ang="0">
                  <a:pos x="454" y="469"/>
                </a:cxn>
                <a:cxn ang="0">
                  <a:pos x="805" y="702"/>
                </a:cxn>
                <a:cxn ang="0">
                  <a:pos x="813" y="678"/>
                </a:cxn>
                <a:cxn ang="0">
                  <a:pos x="776" y="678"/>
                </a:cxn>
                <a:cxn ang="0">
                  <a:pos x="783" y="666"/>
                </a:cxn>
                <a:cxn ang="0">
                  <a:pos x="388" y="485"/>
                </a:cxn>
                <a:cxn ang="0">
                  <a:pos x="400" y="476"/>
                </a:cxn>
                <a:cxn ang="0">
                  <a:pos x="432" y="490"/>
                </a:cxn>
                <a:cxn ang="0">
                  <a:pos x="774" y="700"/>
                </a:cxn>
                <a:cxn ang="0">
                  <a:pos x="767" y="688"/>
                </a:cxn>
                <a:cxn ang="0">
                  <a:pos x="824" y="726"/>
                </a:cxn>
                <a:cxn ang="0">
                  <a:pos x="801" y="721"/>
                </a:cxn>
                <a:cxn ang="0">
                  <a:pos x="837" y="758"/>
                </a:cxn>
                <a:cxn ang="0">
                  <a:pos x="817" y="815"/>
                </a:cxn>
                <a:cxn ang="0">
                  <a:pos x="803" y="780"/>
                </a:cxn>
                <a:cxn ang="0">
                  <a:pos x="810" y="784"/>
                </a:cxn>
                <a:cxn ang="0">
                  <a:pos x="834" y="786"/>
                </a:cxn>
                <a:cxn ang="0">
                  <a:pos x="825" y="799"/>
                </a:cxn>
              </a:cxnLst>
              <a:rect l="0" t="0" r="r" b="b"/>
              <a:pathLst>
                <a:path w="878" h="827">
                  <a:moveTo>
                    <a:pt x="290" y="331"/>
                  </a:moveTo>
                  <a:lnTo>
                    <a:pt x="289" y="331"/>
                  </a:lnTo>
                  <a:lnTo>
                    <a:pt x="289" y="333"/>
                  </a:lnTo>
                  <a:lnTo>
                    <a:pt x="278" y="331"/>
                  </a:lnTo>
                  <a:lnTo>
                    <a:pt x="282" y="329"/>
                  </a:lnTo>
                  <a:lnTo>
                    <a:pt x="282" y="328"/>
                  </a:lnTo>
                  <a:lnTo>
                    <a:pt x="280" y="329"/>
                  </a:lnTo>
                  <a:lnTo>
                    <a:pt x="273" y="321"/>
                  </a:lnTo>
                  <a:lnTo>
                    <a:pt x="278" y="326"/>
                  </a:lnTo>
                  <a:lnTo>
                    <a:pt x="287" y="324"/>
                  </a:lnTo>
                  <a:lnTo>
                    <a:pt x="284" y="324"/>
                  </a:lnTo>
                  <a:lnTo>
                    <a:pt x="289" y="317"/>
                  </a:lnTo>
                  <a:lnTo>
                    <a:pt x="289" y="316"/>
                  </a:lnTo>
                  <a:lnTo>
                    <a:pt x="296" y="317"/>
                  </a:lnTo>
                  <a:lnTo>
                    <a:pt x="290" y="312"/>
                  </a:lnTo>
                  <a:lnTo>
                    <a:pt x="289" y="314"/>
                  </a:lnTo>
                  <a:lnTo>
                    <a:pt x="289" y="311"/>
                  </a:lnTo>
                  <a:lnTo>
                    <a:pt x="290" y="305"/>
                  </a:lnTo>
                  <a:lnTo>
                    <a:pt x="292" y="305"/>
                  </a:lnTo>
                  <a:lnTo>
                    <a:pt x="292" y="307"/>
                  </a:lnTo>
                  <a:lnTo>
                    <a:pt x="296" y="304"/>
                  </a:lnTo>
                  <a:lnTo>
                    <a:pt x="302" y="304"/>
                  </a:lnTo>
                  <a:lnTo>
                    <a:pt x="306" y="280"/>
                  </a:lnTo>
                  <a:lnTo>
                    <a:pt x="309" y="278"/>
                  </a:lnTo>
                  <a:lnTo>
                    <a:pt x="309" y="276"/>
                  </a:lnTo>
                  <a:lnTo>
                    <a:pt x="313" y="276"/>
                  </a:lnTo>
                  <a:lnTo>
                    <a:pt x="309" y="275"/>
                  </a:lnTo>
                  <a:lnTo>
                    <a:pt x="307" y="276"/>
                  </a:lnTo>
                  <a:lnTo>
                    <a:pt x="306" y="276"/>
                  </a:lnTo>
                  <a:lnTo>
                    <a:pt x="307" y="275"/>
                  </a:lnTo>
                  <a:lnTo>
                    <a:pt x="307" y="271"/>
                  </a:lnTo>
                  <a:lnTo>
                    <a:pt x="318" y="268"/>
                  </a:lnTo>
                  <a:lnTo>
                    <a:pt x="319" y="266"/>
                  </a:lnTo>
                  <a:lnTo>
                    <a:pt x="328" y="268"/>
                  </a:lnTo>
                  <a:lnTo>
                    <a:pt x="323" y="266"/>
                  </a:lnTo>
                  <a:lnTo>
                    <a:pt x="323" y="263"/>
                  </a:lnTo>
                  <a:lnTo>
                    <a:pt x="323" y="266"/>
                  </a:lnTo>
                  <a:lnTo>
                    <a:pt x="319" y="264"/>
                  </a:lnTo>
                  <a:lnTo>
                    <a:pt x="311" y="268"/>
                  </a:lnTo>
                  <a:lnTo>
                    <a:pt x="311" y="270"/>
                  </a:lnTo>
                  <a:lnTo>
                    <a:pt x="306" y="268"/>
                  </a:lnTo>
                  <a:lnTo>
                    <a:pt x="306" y="271"/>
                  </a:lnTo>
                  <a:lnTo>
                    <a:pt x="302" y="268"/>
                  </a:lnTo>
                  <a:lnTo>
                    <a:pt x="306" y="275"/>
                  </a:lnTo>
                  <a:lnTo>
                    <a:pt x="301" y="278"/>
                  </a:lnTo>
                  <a:lnTo>
                    <a:pt x="296" y="275"/>
                  </a:lnTo>
                  <a:lnTo>
                    <a:pt x="294" y="276"/>
                  </a:lnTo>
                  <a:lnTo>
                    <a:pt x="282" y="271"/>
                  </a:lnTo>
                  <a:lnTo>
                    <a:pt x="268" y="259"/>
                  </a:lnTo>
                  <a:lnTo>
                    <a:pt x="270" y="254"/>
                  </a:lnTo>
                  <a:lnTo>
                    <a:pt x="273" y="254"/>
                  </a:lnTo>
                  <a:lnTo>
                    <a:pt x="270" y="247"/>
                  </a:lnTo>
                  <a:lnTo>
                    <a:pt x="270" y="239"/>
                  </a:lnTo>
                  <a:lnTo>
                    <a:pt x="272" y="237"/>
                  </a:lnTo>
                  <a:lnTo>
                    <a:pt x="268" y="237"/>
                  </a:lnTo>
                  <a:lnTo>
                    <a:pt x="266" y="230"/>
                  </a:lnTo>
                  <a:lnTo>
                    <a:pt x="266" y="227"/>
                  </a:lnTo>
                  <a:lnTo>
                    <a:pt x="268" y="229"/>
                  </a:lnTo>
                  <a:lnTo>
                    <a:pt x="272" y="227"/>
                  </a:lnTo>
                  <a:lnTo>
                    <a:pt x="266" y="225"/>
                  </a:lnTo>
                  <a:lnTo>
                    <a:pt x="265" y="220"/>
                  </a:lnTo>
                  <a:lnTo>
                    <a:pt x="275" y="222"/>
                  </a:lnTo>
                  <a:lnTo>
                    <a:pt x="277" y="220"/>
                  </a:lnTo>
                  <a:lnTo>
                    <a:pt x="280" y="220"/>
                  </a:lnTo>
                  <a:lnTo>
                    <a:pt x="282" y="217"/>
                  </a:lnTo>
                  <a:lnTo>
                    <a:pt x="282" y="220"/>
                  </a:lnTo>
                  <a:lnTo>
                    <a:pt x="285" y="222"/>
                  </a:lnTo>
                  <a:lnTo>
                    <a:pt x="284" y="223"/>
                  </a:lnTo>
                  <a:lnTo>
                    <a:pt x="289" y="230"/>
                  </a:lnTo>
                  <a:lnTo>
                    <a:pt x="287" y="234"/>
                  </a:lnTo>
                  <a:lnTo>
                    <a:pt x="280" y="235"/>
                  </a:lnTo>
                  <a:lnTo>
                    <a:pt x="294" y="235"/>
                  </a:lnTo>
                  <a:lnTo>
                    <a:pt x="296" y="239"/>
                  </a:lnTo>
                  <a:lnTo>
                    <a:pt x="292" y="244"/>
                  </a:lnTo>
                  <a:lnTo>
                    <a:pt x="301" y="246"/>
                  </a:lnTo>
                  <a:lnTo>
                    <a:pt x="302" y="244"/>
                  </a:lnTo>
                  <a:lnTo>
                    <a:pt x="296" y="234"/>
                  </a:lnTo>
                  <a:lnTo>
                    <a:pt x="304" y="239"/>
                  </a:lnTo>
                  <a:lnTo>
                    <a:pt x="301" y="234"/>
                  </a:lnTo>
                  <a:lnTo>
                    <a:pt x="304" y="234"/>
                  </a:lnTo>
                  <a:lnTo>
                    <a:pt x="296" y="234"/>
                  </a:lnTo>
                  <a:lnTo>
                    <a:pt x="285" y="225"/>
                  </a:lnTo>
                  <a:lnTo>
                    <a:pt x="287" y="222"/>
                  </a:lnTo>
                  <a:lnTo>
                    <a:pt x="284" y="218"/>
                  </a:lnTo>
                  <a:lnTo>
                    <a:pt x="282" y="217"/>
                  </a:lnTo>
                  <a:lnTo>
                    <a:pt x="280" y="217"/>
                  </a:lnTo>
                  <a:lnTo>
                    <a:pt x="278" y="217"/>
                  </a:lnTo>
                  <a:lnTo>
                    <a:pt x="278" y="215"/>
                  </a:lnTo>
                  <a:lnTo>
                    <a:pt x="278" y="213"/>
                  </a:lnTo>
                  <a:lnTo>
                    <a:pt x="289" y="215"/>
                  </a:lnTo>
                  <a:lnTo>
                    <a:pt x="285" y="211"/>
                  </a:lnTo>
                  <a:lnTo>
                    <a:pt x="282" y="211"/>
                  </a:lnTo>
                  <a:lnTo>
                    <a:pt x="282" y="208"/>
                  </a:lnTo>
                  <a:lnTo>
                    <a:pt x="285" y="208"/>
                  </a:lnTo>
                  <a:lnTo>
                    <a:pt x="285" y="205"/>
                  </a:lnTo>
                  <a:lnTo>
                    <a:pt x="285" y="208"/>
                  </a:lnTo>
                  <a:lnTo>
                    <a:pt x="284" y="208"/>
                  </a:lnTo>
                  <a:lnTo>
                    <a:pt x="280" y="203"/>
                  </a:lnTo>
                  <a:lnTo>
                    <a:pt x="285" y="205"/>
                  </a:lnTo>
                  <a:lnTo>
                    <a:pt x="287" y="203"/>
                  </a:lnTo>
                  <a:lnTo>
                    <a:pt x="285" y="201"/>
                  </a:lnTo>
                  <a:lnTo>
                    <a:pt x="289" y="203"/>
                  </a:lnTo>
                  <a:lnTo>
                    <a:pt x="289" y="201"/>
                  </a:lnTo>
                  <a:lnTo>
                    <a:pt x="296" y="203"/>
                  </a:lnTo>
                  <a:lnTo>
                    <a:pt x="302" y="201"/>
                  </a:lnTo>
                  <a:lnTo>
                    <a:pt x="290" y="199"/>
                  </a:lnTo>
                  <a:lnTo>
                    <a:pt x="285" y="201"/>
                  </a:lnTo>
                  <a:lnTo>
                    <a:pt x="285" y="203"/>
                  </a:lnTo>
                  <a:lnTo>
                    <a:pt x="280" y="203"/>
                  </a:lnTo>
                  <a:lnTo>
                    <a:pt x="280" y="205"/>
                  </a:lnTo>
                  <a:lnTo>
                    <a:pt x="277" y="206"/>
                  </a:lnTo>
                  <a:lnTo>
                    <a:pt x="275" y="203"/>
                  </a:lnTo>
                  <a:lnTo>
                    <a:pt x="277" y="198"/>
                  </a:lnTo>
                  <a:lnTo>
                    <a:pt x="278" y="198"/>
                  </a:lnTo>
                  <a:lnTo>
                    <a:pt x="275" y="193"/>
                  </a:lnTo>
                  <a:lnTo>
                    <a:pt x="277" y="189"/>
                  </a:lnTo>
                  <a:lnTo>
                    <a:pt x="280" y="191"/>
                  </a:lnTo>
                  <a:lnTo>
                    <a:pt x="282" y="189"/>
                  </a:lnTo>
                  <a:lnTo>
                    <a:pt x="280" y="186"/>
                  </a:lnTo>
                  <a:lnTo>
                    <a:pt x="275" y="184"/>
                  </a:lnTo>
                  <a:lnTo>
                    <a:pt x="277" y="181"/>
                  </a:lnTo>
                  <a:lnTo>
                    <a:pt x="280" y="177"/>
                  </a:lnTo>
                  <a:lnTo>
                    <a:pt x="278" y="181"/>
                  </a:lnTo>
                  <a:lnTo>
                    <a:pt x="285" y="184"/>
                  </a:lnTo>
                  <a:lnTo>
                    <a:pt x="284" y="181"/>
                  </a:lnTo>
                  <a:lnTo>
                    <a:pt x="284" y="176"/>
                  </a:lnTo>
                  <a:lnTo>
                    <a:pt x="292" y="182"/>
                  </a:lnTo>
                  <a:lnTo>
                    <a:pt x="294" y="177"/>
                  </a:lnTo>
                  <a:lnTo>
                    <a:pt x="297" y="174"/>
                  </a:lnTo>
                  <a:lnTo>
                    <a:pt x="318" y="172"/>
                  </a:lnTo>
                  <a:lnTo>
                    <a:pt x="321" y="176"/>
                  </a:lnTo>
                  <a:lnTo>
                    <a:pt x="319" y="177"/>
                  </a:lnTo>
                  <a:lnTo>
                    <a:pt x="323" y="181"/>
                  </a:lnTo>
                  <a:lnTo>
                    <a:pt x="319" y="181"/>
                  </a:lnTo>
                  <a:lnTo>
                    <a:pt x="323" y="182"/>
                  </a:lnTo>
                  <a:lnTo>
                    <a:pt x="321" y="179"/>
                  </a:lnTo>
                  <a:lnTo>
                    <a:pt x="325" y="179"/>
                  </a:lnTo>
                  <a:lnTo>
                    <a:pt x="319" y="177"/>
                  </a:lnTo>
                  <a:lnTo>
                    <a:pt x="321" y="176"/>
                  </a:lnTo>
                  <a:lnTo>
                    <a:pt x="321" y="174"/>
                  </a:lnTo>
                  <a:lnTo>
                    <a:pt x="331" y="176"/>
                  </a:lnTo>
                  <a:lnTo>
                    <a:pt x="323" y="174"/>
                  </a:lnTo>
                  <a:lnTo>
                    <a:pt x="326" y="169"/>
                  </a:lnTo>
                  <a:lnTo>
                    <a:pt x="328" y="170"/>
                  </a:lnTo>
                  <a:lnTo>
                    <a:pt x="328" y="167"/>
                  </a:lnTo>
                  <a:lnTo>
                    <a:pt x="335" y="165"/>
                  </a:lnTo>
                  <a:lnTo>
                    <a:pt x="340" y="170"/>
                  </a:lnTo>
                  <a:lnTo>
                    <a:pt x="338" y="164"/>
                  </a:lnTo>
                  <a:lnTo>
                    <a:pt x="345" y="164"/>
                  </a:lnTo>
                  <a:lnTo>
                    <a:pt x="349" y="167"/>
                  </a:lnTo>
                  <a:lnTo>
                    <a:pt x="355" y="174"/>
                  </a:lnTo>
                  <a:lnTo>
                    <a:pt x="355" y="177"/>
                  </a:lnTo>
                  <a:lnTo>
                    <a:pt x="354" y="177"/>
                  </a:lnTo>
                  <a:lnTo>
                    <a:pt x="355" y="179"/>
                  </a:lnTo>
                  <a:lnTo>
                    <a:pt x="349" y="179"/>
                  </a:lnTo>
                  <a:lnTo>
                    <a:pt x="355" y="179"/>
                  </a:lnTo>
                  <a:lnTo>
                    <a:pt x="357" y="184"/>
                  </a:lnTo>
                  <a:lnTo>
                    <a:pt x="362" y="186"/>
                  </a:lnTo>
                  <a:lnTo>
                    <a:pt x="372" y="187"/>
                  </a:lnTo>
                  <a:lnTo>
                    <a:pt x="374" y="187"/>
                  </a:lnTo>
                  <a:lnTo>
                    <a:pt x="384" y="186"/>
                  </a:lnTo>
                  <a:lnTo>
                    <a:pt x="384" y="184"/>
                  </a:lnTo>
                  <a:lnTo>
                    <a:pt x="388" y="189"/>
                  </a:lnTo>
                  <a:lnTo>
                    <a:pt x="384" y="189"/>
                  </a:lnTo>
                  <a:lnTo>
                    <a:pt x="403" y="201"/>
                  </a:lnTo>
                  <a:lnTo>
                    <a:pt x="415" y="199"/>
                  </a:lnTo>
                  <a:lnTo>
                    <a:pt x="417" y="196"/>
                  </a:lnTo>
                  <a:lnTo>
                    <a:pt x="419" y="189"/>
                  </a:lnTo>
                  <a:lnTo>
                    <a:pt x="422" y="184"/>
                  </a:lnTo>
                  <a:lnTo>
                    <a:pt x="420" y="176"/>
                  </a:lnTo>
                  <a:lnTo>
                    <a:pt x="422" y="176"/>
                  </a:lnTo>
                  <a:lnTo>
                    <a:pt x="417" y="172"/>
                  </a:lnTo>
                  <a:lnTo>
                    <a:pt x="422" y="170"/>
                  </a:lnTo>
                  <a:lnTo>
                    <a:pt x="427" y="176"/>
                  </a:lnTo>
                  <a:lnTo>
                    <a:pt x="427" y="174"/>
                  </a:lnTo>
                  <a:lnTo>
                    <a:pt x="432" y="176"/>
                  </a:lnTo>
                  <a:lnTo>
                    <a:pt x="436" y="174"/>
                  </a:lnTo>
                  <a:lnTo>
                    <a:pt x="434" y="164"/>
                  </a:lnTo>
                  <a:lnTo>
                    <a:pt x="437" y="165"/>
                  </a:lnTo>
                  <a:lnTo>
                    <a:pt x="434" y="162"/>
                  </a:lnTo>
                  <a:lnTo>
                    <a:pt x="427" y="164"/>
                  </a:lnTo>
                  <a:lnTo>
                    <a:pt x="424" y="162"/>
                  </a:lnTo>
                  <a:lnTo>
                    <a:pt x="422" y="157"/>
                  </a:lnTo>
                  <a:lnTo>
                    <a:pt x="422" y="158"/>
                  </a:lnTo>
                  <a:lnTo>
                    <a:pt x="419" y="158"/>
                  </a:lnTo>
                  <a:lnTo>
                    <a:pt x="413" y="155"/>
                  </a:lnTo>
                  <a:lnTo>
                    <a:pt x="403" y="155"/>
                  </a:lnTo>
                  <a:lnTo>
                    <a:pt x="398" y="157"/>
                  </a:lnTo>
                  <a:lnTo>
                    <a:pt x="395" y="157"/>
                  </a:lnTo>
                  <a:lnTo>
                    <a:pt x="396" y="152"/>
                  </a:lnTo>
                  <a:lnTo>
                    <a:pt x="398" y="152"/>
                  </a:lnTo>
                  <a:lnTo>
                    <a:pt x="396" y="148"/>
                  </a:lnTo>
                  <a:lnTo>
                    <a:pt x="396" y="143"/>
                  </a:lnTo>
                  <a:lnTo>
                    <a:pt x="391" y="141"/>
                  </a:lnTo>
                  <a:lnTo>
                    <a:pt x="395" y="148"/>
                  </a:lnTo>
                  <a:lnTo>
                    <a:pt x="391" y="150"/>
                  </a:lnTo>
                  <a:lnTo>
                    <a:pt x="388" y="140"/>
                  </a:lnTo>
                  <a:lnTo>
                    <a:pt x="376" y="129"/>
                  </a:lnTo>
                  <a:lnTo>
                    <a:pt x="367" y="126"/>
                  </a:lnTo>
                  <a:lnTo>
                    <a:pt x="369" y="126"/>
                  </a:lnTo>
                  <a:lnTo>
                    <a:pt x="366" y="124"/>
                  </a:lnTo>
                  <a:lnTo>
                    <a:pt x="366" y="123"/>
                  </a:lnTo>
                  <a:lnTo>
                    <a:pt x="364" y="124"/>
                  </a:lnTo>
                  <a:lnTo>
                    <a:pt x="367" y="126"/>
                  </a:lnTo>
                  <a:lnTo>
                    <a:pt x="362" y="123"/>
                  </a:lnTo>
                  <a:lnTo>
                    <a:pt x="347" y="102"/>
                  </a:lnTo>
                  <a:lnTo>
                    <a:pt x="347" y="95"/>
                  </a:lnTo>
                  <a:lnTo>
                    <a:pt x="352" y="93"/>
                  </a:lnTo>
                  <a:lnTo>
                    <a:pt x="349" y="87"/>
                  </a:lnTo>
                  <a:lnTo>
                    <a:pt x="349" y="80"/>
                  </a:lnTo>
                  <a:lnTo>
                    <a:pt x="350" y="76"/>
                  </a:lnTo>
                  <a:lnTo>
                    <a:pt x="354" y="76"/>
                  </a:lnTo>
                  <a:lnTo>
                    <a:pt x="349" y="78"/>
                  </a:lnTo>
                  <a:lnTo>
                    <a:pt x="352" y="83"/>
                  </a:lnTo>
                  <a:lnTo>
                    <a:pt x="354" y="85"/>
                  </a:lnTo>
                  <a:lnTo>
                    <a:pt x="357" y="85"/>
                  </a:lnTo>
                  <a:lnTo>
                    <a:pt x="357" y="83"/>
                  </a:lnTo>
                  <a:lnTo>
                    <a:pt x="360" y="83"/>
                  </a:lnTo>
                  <a:lnTo>
                    <a:pt x="364" y="88"/>
                  </a:lnTo>
                  <a:lnTo>
                    <a:pt x="359" y="78"/>
                  </a:lnTo>
                  <a:lnTo>
                    <a:pt x="347" y="64"/>
                  </a:lnTo>
                  <a:lnTo>
                    <a:pt x="342" y="52"/>
                  </a:lnTo>
                  <a:lnTo>
                    <a:pt x="343" y="49"/>
                  </a:lnTo>
                  <a:lnTo>
                    <a:pt x="349" y="51"/>
                  </a:lnTo>
                  <a:lnTo>
                    <a:pt x="345" y="51"/>
                  </a:lnTo>
                  <a:lnTo>
                    <a:pt x="343" y="51"/>
                  </a:lnTo>
                  <a:lnTo>
                    <a:pt x="349" y="52"/>
                  </a:lnTo>
                  <a:lnTo>
                    <a:pt x="354" y="56"/>
                  </a:lnTo>
                  <a:lnTo>
                    <a:pt x="354" y="54"/>
                  </a:lnTo>
                  <a:lnTo>
                    <a:pt x="359" y="54"/>
                  </a:lnTo>
                  <a:lnTo>
                    <a:pt x="364" y="59"/>
                  </a:lnTo>
                  <a:lnTo>
                    <a:pt x="367" y="61"/>
                  </a:lnTo>
                  <a:lnTo>
                    <a:pt x="367" y="58"/>
                  </a:lnTo>
                  <a:lnTo>
                    <a:pt x="371" y="61"/>
                  </a:lnTo>
                  <a:lnTo>
                    <a:pt x="372" y="59"/>
                  </a:lnTo>
                  <a:lnTo>
                    <a:pt x="383" y="63"/>
                  </a:lnTo>
                  <a:lnTo>
                    <a:pt x="388" y="71"/>
                  </a:lnTo>
                  <a:lnTo>
                    <a:pt x="393" y="75"/>
                  </a:lnTo>
                  <a:lnTo>
                    <a:pt x="390" y="66"/>
                  </a:lnTo>
                  <a:lnTo>
                    <a:pt x="393" y="66"/>
                  </a:lnTo>
                  <a:lnTo>
                    <a:pt x="405" y="71"/>
                  </a:lnTo>
                  <a:lnTo>
                    <a:pt x="405" y="75"/>
                  </a:lnTo>
                  <a:lnTo>
                    <a:pt x="413" y="75"/>
                  </a:lnTo>
                  <a:lnTo>
                    <a:pt x="419" y="78"/>
                  </a:lnTo>
                  <a:lnTo>
                    <a:pt x="420" y="78"/>
                  </a:lnTo>
                  <a:lnTo>
                    <a:pt x="427" y="83"/>
                  </a:lnTo>
                  <a:lnTo>
                    <a:pt x="431" y="88"/>
                  </a:lnTo>
                  <a:lnTo>
                    <a:pt x="425" y="83"/>
                  </a:lnTo>
                  <a:lnTo>
                    <a:pt x="427" y="88"/>
                  </a:lnTo>
                  <a:lnTo>
                    <a:pt x="422" y="90"/>
                  </a:lnTo>
                  <a:lnTo>
                    <a:pt x="420" y="93"/>
                  </a:lnTo>
                  <a:lnTo>
                    <a:pt x="413" y="90"/>
                  </a:lnTo>
                  <a:lnTo>
                    <a:pt x="419" y="93"/>
                  </a:lnTo>
                  <a:lnTo>
                    <a:pt x="417" y="97"/>
                  </a:lnTo>
                  <a:lnTo>
                    <a:pt x="420" y="100"/>
                  </a:lnTo>
                  <a:lnTo>
                    <a:pt x="434" y="111"/>
                  </a:lnTo>
                  <a:lnTo>
                    <a:pt x="434" y="116"/>
                  </a:lnTo>
                  <a:lnTo>
                    <a:pt x="443" y="121"/>
                  </a:lnTo>
                  <a:lnTo>
                    <a:pt x="446" y="128"/>
                  </a:lnTo>
                  <a:lnTo>
                    <a:pt x="446" y="126"/>
                  </a:lnTo>
                  <a:lnTo>
                    <a:pt x="449" y="126"/>
                  </a:lnTo>
                  <a:lnTo>
                    <a:pt x="449" y="124"/>
                  </a:lnTo>
                  <a:lnTo>
                    <a:pt x="456" y="123"/>
                  </a:lnTo>
                  <a:lnTo>
                    <a:pt x="463" y="129"/>
                  </a:lnTo>
                  <a:lnTo>
                    <a:pt x="461" y="133"/>
                  </a:lnTo>
                  <a:lnTo>
                    <a:pt x="460" y="131"/>
                  </a:lnTo>
                  <a:lnTo>
                    <a:pt x="461" y="133"/>
                  </a:lnTo>
                  <a:lnTo>
                    <a:pt x="465" y="131"/>
                  </a:lnTo>
                  <a:lnTo>
                    <a:pt x="465" y="126"/>
                  </a:lnTo>
                  <a:lnTo>
                    <a:pt x="456" y="117"/>
                  </a:lnTo>
                  <a:lnTo>
                    <a:pt x="453" y="116"/>
                  </a:lnTo>
                  <a:lnTo>
                    <a:pt x="451" y="119"/>
                  </a:lnTo>
                  <a:lnTo>
                    <a:pt x="451" y="117"/>
                  </a:lnTo>
                  <a:lnTo>
                    <a:pt x="451" y="116"/>
                  </a:lnTo>
                  <a:lnTo>
                    <a:pt x="454" y="114"/>
                  </a:lnTo>
                  <a:lnTo>
                    <a:pt x="456" y="112"/>
                  </a:lnTo>
                  <a:lnTo>
                    <a:pt x="454" y="104"/>
                  </a:lnTo>
                  <a:lnTo>
                    <a:pt x="451" y="99"/>
                  </a:lnTo>
                  <a:lnTo>
                    <a:pt x="453" y="93"/>
                  </a:lnTo>
                  <a:lnTo>
                    <a:pt x="456" y="93"/>
                  </a:lnTo>
                  <a:lnTo>
                    <a:pt x="460" y="95"/>
                  </a:lnTo>
                  <a:lnTo>
                    <a:pt x="460" y="104"/>
                  </a:lnTo>
                  <a:lnTo>
                    <a:pt x="456" y="107"/>
                  </a:lnTo>
                  <a:lnTo>
                    <a:pt x="460" y="117"/>
                  </a:lnTo>
                  <a:lnTo>
                    <a:pt x="468" y="121"/>
                  </a:lnTo>
                  <a:lnTo>
                    <a:pt x="470" y="129"/>
                  </a:lnTo>
                  <a:lnTo>
                    <a:pt x="480" y="136"/>
                  </a:lnTo>
                  <a:lnTo>
                    <a:pt x="484" y="133"/>
                  </a:lnTo>
                  <a:lnTo>
                    <a:pt x="482" y="129"/>
                  </a:lnTo>
                  <a:lnTo>
                    <a:pt x="485" y="129"/>
                  </a:lnTo>
                  <a:lnTo>
                    <a:pt x="478" y="128"/>
                  </a:lnTo>
                  <a:lnTo>
                    <a:pt x="475" y="123"/>
                  </a:lnTo>
                  <a:lnTo>
                    <a:pt x="470" y="119"/>
                  </a:lnTo>
                  <a:lnTo>
                    <a:pt x="466" y="119"/>
                  </a:lnTo>
                  <a:lnTo>
                    <a:pt x="463" y="117"/>
                  </a:lnTo>
                  <a:lnTo>
                    <a:pt x="461" y="107"/>
                  </a:lnTo>
                  <a:lnTo>
                    <a:pt x="466" y="104"/>
                  </a:lnTo>
                  <a:lnTo>
                    <a:pt x="472" y="105"/>
                  </a:lnTo>
                  <a:lnTo>
                    <a:pt x="468" y="99"/>
                  </a:lnTo>
                  <a:lnTo>
                    <a:pt x="461" y="95"/>
                  </a:lnTo>
                  <a:lnTo>
                    <a:pt x="461" y="93"/>
                  </a:lnTo>
                  <a:lnTo>
                    <a:pt x="460" y="95"/>
                  </a:lnTo>
                  <a:lnTo>
                    <a:pt x="458" y="93"/>
                  </a:lnTo>
                  <a:lnTo>
                    <a:pt x="463" y="92"/>
                  </a:lnTo>
                  <a:lnTo>
                    <a:pt x="463" y="90"/>
                  </a:lnTo>
                  <a:lnTo>
                    <a:pt x="456" y="92"/>
                  </a:lnTo>
                  <a:lnTo>
                    <a:pt x="441" y="75"/>
                  </a:lnTo>
                  <a:lnTo>
                    <a:pt x="444" y="66"/>
                  </a:lnTo>
                  <a:lnTo>
                    <a:pt x="446" y="59"/>
                  </a:lnTo>
                  <a:lnTo>
                    <a:pt x="441" y="44"/>
                  </a:lnTo>
                  <a:lnTo>
                    <a:pt x="436" y="32"/>
                  </a:lnTo>
                  <a:lnTo>
                    <a:pt x="436" y="30"/>
                  </a:lnTo>
                  <a:lnTo>
                    <a:pt x="431" y="20"/>
                  </a:lnTo>
                  <a:lnTo>
                    <a:pt x="427" y="11"/>
                  </a:lnTo>
                  <a:lnTo>
                    <a:pt x="422" y="3"/>
                  </a:lnTo>
                  <a:lnTo>
                    <a:pt x="429" y="10"/>
                  </a:lnTo>
                  <a:lnTo>
                    <a:pt x="431" y="8"/>
                  </a:lnTo>
                  <a:lnTo>
                    <a:pt x="434" y="6"/>
                  </a:lnTo>
                  <a:lnTo>
                    <a:pt x="437" y="5"/>
                  </a:lnTo>
                  <a:lnTo>
                    <a:pt x="441" y="0"/>
                  </a:lnTo>
                  <a:lnTo>
                    <a:pt x="470" y="23"/>
                  </a:lnTo>
                  <a:lnTo>
                    <a:pt x="485" y="27"/>
                  </a:lnTo>
                  <a:lnTo>
                    <a:pt x="495" y="25"/>
                  </a:lnTo>
                  <a:lnTo>
                    <a:pt x="492" y="27"/>
                  </a:lnTo>
                  <a:lnTo>
                    <a:pt x="495" y="27"/>
                  </a:lnTo>
                  <a:lnTo>
                    <a:pt x="501" y="23"/>
                  </a:lnTo>
                  <a:lnTo>
                    <a:pt x="501" y="22"/>
                  </a:lnTo>
                  <a:lnTo>
                    <a:pt x="504" y="22"/>
                  </a:lnTo>
                  <a:lnTo>
                    <a:pt x="504" y="20"/>
                  </a:lnTo>
                  <a:lnTo>
                    <a:pt x="506" y="20"/>
                  </a:lnTo>
                  <a:lnTo>
                    <a:pt x="531" y="20"/>
                  </a:lnTo>
                  <a:lnTo>
                    <a:pt x="533" y="25"/>
                  </a:lnTo>
                  <a:lnTo>
                    <a:pt x="531" y="22"/>
                  </a:lnTo>
                  <a:lnTo>
                    <a:pt x="531" y="25"/>
                  </a:lnTo>
                  <a:lnTo>
                    <a:pt x="528" y="22"/>
                  </a:lnTo>
                  <a:lnTo>
                    <a:pt x="526" y="22"/>
                  </a:lnTo>
                  <a:lnTo>
                    <a:pt x="533" y="27"/>
                  </a:lnTo>
                  <a:lnTo>
                    <a:pt x="535" y="25"/>
                  </a:lnTo>
                  <a:lnTo>
                    <a:pt x="545" y="34"/>
                  </a:lnTo>
                  <a:lnTo>
                    <a:pt x="545" y="32"/>
                  </a:lnTo>
                  <a:lnTo>
                    <a:pt x="562" y="35"/>
                  </a:lnTo>
                  <a:lnTo>
                    <a:pt x="566" y="39"/>
                  </a:lnTo>
                  <a:lnTo>
                    <a:pt x="560" y="37"/>
                  </a:lnTo>
                  <a:lnTo>
                    <a:pt x="564" y="41"/>
                  </a:lnTo>
                  <a:lnTo>
                    <a:pt x="559" y="42"/>
                  </a:lnTo>
                  <a:lnTo>
                    <a:pt x="562" y="44"/>
                  </a:lnTo>
                  <a:lnTo>
                    <a:pt x="560" y="49"/>
                  </a:lnTo>
                  <a:lnTo>
                    <a:pt x="562" y="44"/>
                  </a:lnTo>
                  <a:lnTo>
                    <a:pt x="566" y="42"/>
                  </a:lnTo>
                  <a:lnTo>
                    <a:pt x="567" y="44"/>
                  </a:lnTo>
                  <a:lnTo>
                    <a:pt x="574" y="47"/>
                  </a:lnTo>
                  <a:lnTo>
                    <a:pt x="567" y="42"/>
                  </a:lnTo>
                  <a:lnTo>
                    <a:pt x="567" y="37"/>
                  </a:lnTo>
                  <a:lnTo>
                    <a:pt x="564" y="35"/>
                  </a:lnTo>
                  <a:lnTo>
                    <a:pt x="574" y="37"/>
                  </a:lnTo>
                  <a:lnTo>
                    <a:pt x="583" y="41"/>
                  </a:lnTo>
                  <a:lnTo>
                    <a:pt x="579" y="39"/>
                  </a:lnTo>
                  <a:lnTo>
                    <a:pt x="581" y="42"/>
                  </a:lnTo>
                  <a:lnTo>
                    <a:pt x="576" y="39"/>
                  </a:lnTo>
                  <a:lnTo>
                    <a:pt x="578" y="44"/>
                  </a:lnTo>
                  <a:lnTo>
                    <a:pt x="579" y="42"/>
                  </a:lnTo>
                  <a:lnTo>
                    <a:pt x="583" y="46"/>
                  </a:lnTo>
                  <a:lnTo>
                    <a:pt x="583" y="42"/>
                  </a:lnTo>
                  <a:lnTo>
                    <a:pt x="588" y="49"/>
                  </a:lnTo>
                  <a:lnTo>
                    <a:pt x="593" y="51"/>
                  </a:lnTo>
                  <a:lnTo>
                    <a:pt x="591" y="49"/>
                  </a:lnTo>
                  <a:lnTo>
                    <a:pt x="601" y="56"/>
                  </a:lnTo>
                  <a:lnTo>
                    <a:pt x="613" y="58"/>
                  </a:lnTo>
                  <a:lnTo>
                    <a:pt x="625" y="58"/>
                  </a:lnTo>
                  <a:lnTo>
                    <a:pt x="632" y="59"/>
                  </a:lnTo>
                  <a:lnTo>
                    <a:pt x="632" y="61"/>
                  </a:lnTo>
                  <a:lnTo>
                    <a:pt x="629" y="59"/>
                  </a:lnTo>
                  <a:lnTo>
                    <a:pt x="629" y="63"/>
                  </a:lnTo>
                  <a:lnTo>
                    <a:pt x="634" y="66"/>
                  </a:lnTo>
                  <a:lnTo>
                    <a:pt x="634" y="68"/>
                  </a:lnTo>
                  <a:lnTo>
                    <a:pt x="636" y="70"/>
                  </a:lnTo>
                  <a:lnTo>
                    <a:pt x="641" y="73"/>
                  </a:lnTo>
                  <a:lnTo>
                    <a:pt x="641" y="76"/>
                  </a:lnTo>
                  <a:lnTo>
                    <a:pt x="636" y="76"/>
                  </a:lnTo>
                  <a:lnTo>
                    <a:pt x="627" y="73"/>
                  </a:lnTo>
                  <a:lnTo>
                    <a:pt x="631" y="76"/>
                  </a:lnTo>
                  <a:lnTo>
                    <a:pt x="629" y="80"/>
                  </a:lnTo>
                  <a:lnTo>
                    <a:pt x="631" y="78"/>
                  </a:lnTo>
                  <a:lnTo>
                    <a:pt x="636" y="82"/>
                  </a:lnTo>
                  <a:lnTo>
                    <a:pt x="637" y="80"/>
                  </a:lnTo>
                  <a:lnTo>
                    <a:pt x="641" y="80"/>
                  </a:lnTo>
                  <a:lnTo>
                    <a:pt x="644" y="83"/>
                  </a:lnTo>
                  <a:lnTo>
                    <a:pt x="644" y="80"/>
                  </a:lnTo>
                  <a:lnTo>
                    <a:pt x="648" y="82"/>
                  </a:lnTo>
                  <a:lnTo>
                    <a:pt x="648" y="80"/>
                  </a:lnTo>
                  <a:lnTo>
                    <a:pt x="649" y="82"/>
                  </a:lnTo>
                  <a:lnTo>
                    <a:pt x="646" y="83"/>
                  </a:lnTo>
                  <a:lnTo>
                    <a:pt x="648" y="83"/>
                  </a:lnTo>
                  <a:lnTo>
                    <a:pt x="649" y="82"/>
                  </a:lnTo>
                  <a:lnTo>
                    <a:pt x="653" y="88"/>
                  </a:lnTo>
                  <a:lnTo>
                    <a:pt x="651" y="90"/>
                  </a:lnTo>
                  <a:lnTo>
                    <a:pt x="648" y="90"/>
                  </a:lnTo>
                  <a:lnTo>
                    <a:pt x="656" y="99"/>
                  </a:lnTo>
                  <a:lnTo>
                    <a:pt x="661" y="99"/>
                  </a:lnTo>
                  <a:lnTo>
                    <a:pt x="673" y="105"/>
                  </a:lnTo>
                  <a:lnTo>
                    <a:pt x="678" y="111"/>
                  </a:lnTo>
                  <a:lnTo>
                    <a:pt x="678" y="114"/>
                  </a:lnTo>
                  <a:lnTo>
                    <a:pt x="680" y="112"/>
                  </a:lnTo>
                  <a:lnTo>
                    <a:pt x="683" y="116"/>
                  </a:lnTo>
                  <a:lnTo>
                    <a:pt x="687" y="119"/>
                  </a:lnTo>
                  <a:lnTo>
                    <a:pt x="680" y="119"/>
                  </a:lnTo>
                  <a:lnTo>
                    <a:pt x="685" y="126"/>
                  </a:lnTo>
                  <a:lnTo>
                    <a:pt x="677" y="121"/>
                  </a:lnTo>
                  <a:lnTo>
                    <a:pt x="690" y="129"/>
                  </a:lnTo>
                  <a:lnTo>
                    <a:pt x="687" y="129"/>
                  </a:lnTo>
                  <a:lnTo>
                    <a:pt x="689" y="131"/>
                  </a:lnTo>
                  <a:lnTo>
                    <a:pt x="685" y="131"/>
                  </a:lnTo>
                  <a:lnTo>
                    <a:pt x="695" y="140"/>
                  </a:lnTo>
                  <a:lnTo>
                    <a:pt x="697" y="138"/>
                  </a:lnTo>
                  <a:lnTo>
                    <a:pt x="704" y="141"/>
                  </a:lnTo>
                  <a:lnTo>
                    <a:pt x="711" y="146"/>
                  </a:lnTo>
                  <a:lnTo>
                    <a:pt x="709" y="148"/>
                  </a:lnTo>
                  <a:lnTo>
                    <a:pt x="719" y="150"/>
                  </a:lnTo>
                  <a:lnTo>
                    <a:pt x="725" y="153"/>
                  </a:lnTo>
                  <a:lnTo>
                    <a:pt x="738" y="165"/>
                  </a:lnTo>
                  <a:lnTo>
                    <a:pt x="738" y="169"/>
                  </a:lnTo>
                  <a:lnTo>
                    <a:pt x="743" y="170"/>
                  </a:lnTo>
                  <a:lnTo>
                    <a:pt x="748" y="176"/>
                  </a:lnTo>
                  <a:lnTo>
                    <a:pt x="750" y="179"/>
                  </a:lnTo>
                  <a:lnTo>
                    <a:pt x="779" y="198"/>
                  </a:lnTo>
                  <a:lnTo>
                    <a:pt x="781" y="203"/>
                  </a:lnTo>
                  <a:lnTo>
                    <a:pt x="791" y="211"/>
                  </a:lnTo>
                  <a:lnTo>
                    <a:pt x="807" y="217"/>
                  </a:lnTo>
                  <a:lnTo>
                    <a:pt x="805" y="220"/>
                  </a:lnTo>
                  <a:lnTo>
                    <a:pt x="807" y="218"/>
                  </a:lnTo>
                  <a:lnTo>
                    <a:pt x="812" y="220"/>
                  </a:lnTo>
                  <a:lnTo>
                    <a:pt x="819" y="223"/>
                  </a:lnTo>
                  <a:lnTo>
                    <a:pt x="819" y="225"/>
                  </a:lnTo>
                  <a:lnTo>
                    <a:pt x="820" y="223"/>
                  </a:lnTo>
                  <a:lnTo>
                    <a:pt x="830" y="232"/>
                  </a:lnTo>
                  <a:lnTo>
                    <a:pt x="834" y="240"/>
                  </a:lnTo>
                  <a:lnTo>
                    <a:pt x="842" y="247"/>
                  </a:lnTo>
                  <a:lnTo>
                    <a:pt x="846" y="252"/>
                  </a:lnTo>
                  <a:lnTo>
                    <a:pt x="848" y="254"/>
                  </a:lnTo>
                  <a:lnTo>
                    <a:pt x="849" y="254"/>
                  </a:lnTo>
                  <a:lnTo>
                    <a:pt x="848" y="252"/>
                  </a:lnTo>
                  <a:lnTo>
                    <a:pt x="853" y="256"/>
                  </a:lnTo>
                  <a:lnTo>
                    <a:pt x="836" y="290"/>
                  </a:lnTo>
                  <a:lnTo>
                    <a:pt x="798" y="364"/>
                  </a:lnTo>
                  <a:lnTo>
                    <a:pt x="735" y="485"/>
                  </a:lnTo>
                  <a:lnTo>
                    <a:pt x="709" y="536"/>
                  </a:lnTo>
                  <a:lnTo>
                    <a:pt x="718" y="545"/>
                  </a:lnTo>
                  <a:lnTo>
                    <a:pt x="719" y="541"/>
                  </a:lnTo>
                  <a:lnTo>
                    <a:pt x="728" y="551"/>
                  </a:lnTo>
                  <a:lnTo>
                    <a:pt x="736" y="548"/>
                  </a:lnTo>
                  <a:lnTo>
                    <a:pt x="748" y="555"/>
                  </a:lnTo>
                  <a:lnTo>
                    <a:pt x="742" y="562"/>
                  </a:lnTo>
                  <a:lnTo>
                    <a:pt x="748" y="572"/>
                  </a:lnTo>
                  <a:lnTo>
                    <a:pt x="748" y="577"/>
                  </a:lnTo>
                  <a:lnTo>
                    <a:pt x="760" y="606"/>
                  </a:lnTo>
                  <a:lnTo>
                    <a:pt x="759" y="618"/>
                  </a:lnTo>
                  <a:lnTo>
                    <a:pt x="776" y="616"/>
                  </a:lnTo>
                  <a:lnTo>
                    <a:pt x="781" y="618"/>
                  </a:lnTo>
                  <a:lnTo>
                    <a:pt x="784" y="615"/>
                  </a:lnTo>
                  <a:lnTo>
                    <a:pt x="788" y="610"/>
                  </a:lnTo>
                  <a:lnTo>
                    <a:pt x="793" y="610"/>
                  </a:lnTo>
                  <a:lnTo>
                    <a:pt x="793" y="606"/>
                  </a:lnTo>
                  <a:lnTo>
                    <a:pt x="807" y="606"/>
                  </a:lnTo>
                  <a:lnTo>
                    <a:pt x="813" y="606"/>
                  </a:lnTo>
                  <a:lnTo>
                    <a:pt x="820" y="618"/>
                  </a:lnTo>
                  <a:lnTo>
                    <a:pt x="819" y="622"/>
                  </a:lnTo>
                  <a:lnTo>
                    <a:pt x="815" y="623"/>
                  </a:lnTo>
                  <a:lnTo>
                    <a:pt x="817" y="625"/>
                  </a:lnTo>
                  <a:lnTo>
                    <a:pt x="817" y="627"/>
                  </a:lnTo>
                  <a:lnTo>
                    <a:pt x="817" y="628"/>
                  </a:lnTo>
                  <a:lnTo>
                    <a:pt x="822" y="634"/>
                  </a:lnTo>
                  <a:lnTo>
                    <a:pt x="822" y="639"/>
                  </a:lnTo>
                  <a:lnTo>
                    <a:pt x="825" y="639"/>
                  </a:lnTo>
                  <a:lnTo>
                    <a:pt x="825" y="645"/>
                  </a:lnTo>
                  <a:lnTo>
                    <a:pt x="825" y="651"/>
                  </a:lnTo>
                  <a:lnTo>
                    <a:pt x="832" y="657"/>
                  </a:lnTo>
                  <a:lnTo>
                    <a:pt x="837" y="671"/>
                  </a:lnTo>
                  <a:lnTo>
                    <a:pt x="836" y="678"/>
                  </a:lnTo>
                  <a:lnTo>
                    <a:pt x="837" y="683"/>
                  </a:lnTo>
                  <a:lnTo>
                    <a:pt x="839" y="685"/>
                  </a:lnTo>
                  <a:lnTo>
                    <a:pt x="844" y="719"/>
                  </a:lnTo>
                  <a:lnTo>
                    <a:pt x="846" y="726"/>
                  </a:lnTo>
                  <a:lnTo>
                    <a:pt x="841" y="729"/>
                  </a:lnTo>
                  <a:lnTo>
                    <a:pt x="848" y="733"/>
                  </a:lnTo>
                  <a:lnTo>
                    <a:pt x="842" y="738"/>
                  </a:lnTo>
                  <a:lnTo>
                    <a:pt x="848" y="743"/>
                  </a:lnTo>
                  <a:lnTo>
                    <a:pt x="846" y="750"/>
                  </a:lnTo>
                  <a:lnTo>
                    <a:pt x="851" y="753"/>
                  </a:lnTo>
                  <a:lnTo>
                    <a:pt x="860" y="763"/>
                  </a:lnTo>
                  <a:lnTo>
                    <a:pt x="866" y="769"/>
                  </a:lnTo>
                  <a:lnTo>
                    <a:pt x="868" y="774"/>
                  </a:lnTo>
                  <a:lnTo>
                    <a:pt x="871" y="775"/>
                  </a:lnTo>
                  <a:lnTo>
                    <a:pt x="870" y="779"/>
                  </a:lnTo>
                  <a:lnTo>
                    <a:pt x="878" y="782"/>
                  </a:lnTo>
                  <a:lnTo>
                    <a:pt x="877" y="791"/>
                  </a:lnTo>
                  <a:lnTo>
                    <a:pt x="871" y="794"/>
                  </a:lnTo>
                  <a:lnTo>
                    <a:pt x="868" y="803"/>
                  </a:lnTo>
                  <a:lnTo>
                    <a:pt x="868" y="813"/>
                  </a:lnTo>
                  <a:lnTo>
                    <a:pt x="865" y="815"/>
                  </a:lnTo>
                  <a:lnTo>
                    <a:pt x="854" y="823"/>
                  </a:lnTo>
                  <a:lnTo>
                    <a:pt x="848" y="827"/>
                  </a:lnTo>
                  <a:lnTo>
                    <a:pt x="849" y="823"/>
                  </a:lnTo>
                  <a:lnTo>
                    <a:pt x="846" y="827"/>
                  </a:lnTo>
                  <a:lnTo>
                    <a:pt x="848" y="818"/>
                  </a:lnTo>
                  <a:lnTo>
                    <a:pt x="846" y="823"/>
                  </a:lnTo>
                  <a:lnTo>
                    <a:pt x="842" y="825"/>
                  </a:lnTo>
                  <a:lnTo>
                    <a:pt x="841" y="821"/>
                  </a:lnTo>
                  <a:lnTo>
                    <a:pt x="842" y="816"/>
                  </a:lnTo>
                  <a:lnTo>
                    <a:pt x="841" y="815"/>
                  </a:lnTo>
                  <a:lnTo>
                    <a:pt x="848" y="813"/>
                  </a:lnTo>
                  <a:lnTo>
                    <a:pt x="849" y="815"/>
                  </a:lnTo>
                  <a:lnTo>
                    <a:pt x="858" y="808"/>
                  </a:lnTo>
                  <a:lnTo>
                    <a:pt x="849" y="813"/>
                  </a:lnTo>
                  <a:lnTo>
                    <a:pt x="848" y="811"/>
                  </a:lnTo>
                  <a:lnTo>
                    <a:pt x="844" y="813"/>
                  </a:lnTo>
                  <a:lnTo>
                    <a:pt x="842" y="810"/>
                  </a:lnTo>
                  <a:lnTo>
                    <a:pt x="842" y="808"/>
                  </a:lnTo>
                  <a:lnTo>
                    <a:pt x="848" y="804"/>
                  </a:lnTo>
                  <a:lnTo>
                    <a:pt x="854" y="808"/>
                  </a:lnTo>
                  <a:lnTo>
                    <a:pt x="854" y="806"/>
                  </a:lnTo>
                  <a:lnTo>
                    <a:pt x="849" y="804"/>
                  </a:lnTo>
                  <a:lnTo>
                    <a:pt x="854" y="791"/>
                  </a:lnTo>
                  <a:lnTo>
                    <a:pt x="853" y="787"/>
                  </a:lnTo>
                  <a:lnTo>
                    <a:pt x="854" y="786"/>
                  </a:lnTo>
                  <a:lnTo>
                    <a:pt x="853" y="786"/>
                  </a:lnTo>
                  <a:lnTo>
                    <a:pt x="851" y="779"/>
                  </a:lnTo>
                  <a:lnTo>
                    <a:pt x="856" y="775"/>
                  </a:lnTo>
                  <a:lnTo>
                    <a:pt x="848" y="777"/>
                  </a:lnTo>
                  <a:lnTo>
                    <a:pt x="846" y="775"/>
                  </a:lnTo>
                  <a:lnTo>
                    <a:pt x="832" y="775"/>
                  </a:lnTo>
                  <a:lnTo>
                    <a:pt x="836" y="779"/>
                  </a:lnTo>
                  <a:lnTo>
                    <a:pt x="832" y="780"/>
                  </a:lnTo>
                  <a:lnTo>
                    <a:pt x="832" y="784"/>
                  </a:lnTo>
                  <a:lnTo>
                    <a:pt x="830" y="786"/>
                  </a:lnTo>
                  <a:lnTo>
                    <a:pt x="829" y="782"/>
                  </a:lnTo>
                  <a:lnTo>
                    <a:pt x="829" y="786"/>
                  </a:lnTo>
                  <a:lnTo>
                    <a:pt x="827" y="789"/>
                  </a:lnTo>
                  <a:lnTo>
                    <a:pt x="824" y="784"/>
                  </a:lnTo>
                  <a:lnTo>
                    <a:pt x="824" y="777"/>
                  </a:lnTo>
                  <a:lnTo>
                    <a:pt x="825" y="779"/>
                  </a:lnTo>
                  <a:lnTo>
                    <a:pt x="827" y="775"/>
                  </a:lnTo>
                  <a:lnTo>
                    <a:pt x="829" y="777"/>
                  </a:lnTo>
                  <a:lnTo>
                    <a:pt x="830" y="772"/>
                  </a:lnTo>
                  <a:lnTo>
                    <a:pt x="834" y="772"/>
                  </a:lnTo>
                  <a:lnTo>
                    <a:pt x="836" y="765"/>
                  </a:lnTo>
                  <a:lnTo>
                    <a:pt x="848" y="767"/>
                  </a:lnTo>
                  <a:lnTo>
                    <a:pt x="839" y="763"/>
                  </a:lnTo>
                  <a:lnTo>
                    <a:pt x="839" y="758"/>
                  </a:lnTo>
                  <a:lnTo>
                    <a:pt x="836" y="755"/>
                  </a:lnTo>
                  <a:lnTo>
                    <a:pt x="836" y="751"/>
                  </a:lnTo>
                  <a:lnTo>
                    <a:pt x="832" y="748"/>
                  </a:lnTo>
                  <a:lnTo>
                    <a:pt x="836" y="745"/>
                  </a:lnTo>
                  <a:lnTo>
                    <a:pt x="830" y="743"/>
                  </a:lnTo>
                  <a:lnTo>
                    <a:pt x="832" y="743"/>
                  </a:lnTo>
                  <a:lnTo>
                    <a:pt x="832" y="739"/>
                  </a:lnTo>
                  <a:lnTo>
                    <a:pt x="837" y="738"/>
                  </a:lnTo>
                  <a:lnTo>
                    <a:pt x="832" y="739"/>
                  </a:lnTo>
                  <a:lnTo>
                    <a:pt x="829" y="733"/>
                  </a:lnTo>
                  <a:lnTo>
                    <a:pt x="827" y="728"/>
                  </a:lnTo>
                  <a:lnTo>
                    <a:pt x="830" y="729"/>
                  </a:lnTo>
                  <a:lnTo>
                    <a:pt x="830" y="724"/>
                  </a:lnTo>
                  <a:lnTo>
                    <a:pt x="829" y="726"/>
                  </a:lnTo>
                  <a:lnTo>
                    <a:pt x="824" y="721"/>
                  </a:lnTo>
                  <a:lnTo>
                    <a:pt x="825" y="719"/>
                  </a:lnTo>
                  <a:lnTo>
                    <a:pt x="824" y="719"/>
                  </a:lnTo>
                  <a:lnTo>
                    <a:pt x="822" y="717"/>
                  </a:lnTo>
                  <a:lnTo>
                    <a:pt x="820" y="719"/>
                  </a:lnTo>
                  <a:lnTo>
                    <a:pt x="817" y="716"/>
                  </a:lnTo>
                  <a:lnTo>
                    <a:pt x="815" y="714"/>
                  </a:lnTo>
                  <a:lnTo>
                    <a:pt x="819" y="712"/>
                  </a:lnTo>
                  <a:lnTo>
                    <a:pt x="824" y="714"/>
                  </a:lnTo>
                  <a:lnTo>
                    <a:pt x="829" y="712"/>
                  </a:lnTo>
                  <a:lnTo>
                    <a:pt x="825" y="712"/>
                  </a:lnTo>
                  <a:lnTo>
                    <a:pt x="820" y="710"/>
                  </a:lnTo>
                  <a:lnTo>
                    <a:pt x="824" y="707"/>
                  </a:lnTo>
                  <a:lnTo>
                    <a:pt x="822" y="707"/>
                  </a:lnTo>
                  <a:lnTo>
                    <a:pt x="822" y="702"/>
                  </a:lnTo>
                  <a:lnTo>
                    <a:pt x="827" y="702"/>
                  </a:lnTo>
                  <a:lnTo>
                    <a:pt x="820" y="700"/>
                  </a:lnTo>
                  <a:lnTo>
                    <a:pt x="820" y="697"/>
                  </a:lnTo>
                  <a:lnTo>
                    <a:pt x="822" y="695"/>
                  </a:lnTo>
                  <a:lnTo>
                    <a:pt x="832" y="707"/>
                  </a:lnTo>
                  <a:lnTo>
                    <a:pt x="824" y="693"/>
                  </a:lnTo>
                  <a:lnTo>
                    <a:pt x="827" y="688"/>
                  </a:lnTo>
                  <a:lnTo>
                    <a:pt x="836" y="695"/>
                  </a:lnTo>
                  <a:lnTo>
                    <a:pt x="827" y="688"/>
                  </a:lnTo>
                  <a:lnTo>
                    <a:pt x="825" y="688"/>
                  </a:lnTo>
                  <a:lnTo>
                    <a:pt x="822" y="692"/>
                  </a:lnTo>
                  <a:lnTo>
                    <a:pt x="820" y="685"/>
                  </a:lnTo>
                  <a:lnTo>
                    <a:pt x="822" y="685"/>
                  </a:lnTo>
                  <a:lnTo>
                    <a:pt x="824" y="686"/>
                  </a:lnTo>
                  <a:lnTo>
                    <a:pt x="825" y="685"/>
                  </a:lnTo>
                  <a:lnTo>
                    <a:pt x="824" y="681"/>
                  </a:lnTo>
                  <a:lnTo>
                    <a:pt x="827" y="680"/>
                  </a:lnTo>
                  <a:lnTo>
                    <a:pt x="820" y="683"/>
                  </a:lnTo>
                  <a:lnTo>
                    <a:pt x="819" y="678"/>
                  </a:lnTo>
                  <a:lnTo>
                    <a:pt x="820" y="671"/>
                  </a:lnTo>
                  <a:lnTo>
                    <a:pt x="824" y="671"/>
                  </a:lnTo>
                  <a:lnTo>
                    <a:pt x="824" y="668"/>
                  </a:lnTo>
                  <a:lnTo>
                    <a:pt x="827" y="666"/>
                  </a:lnTo>
                  <a:lnTo>
                    <a:pt x="830" y="666"/>
                  </a:lnTo>
                  <a:lnTo>
                    <a:pt x="825" y="664"/>
                  </a:lnTo>
                  <a:lnTo>
                    <a:pt x="817" y="673"/>
                  </a:lnTo>
                  <a:lnTo>
                    <a:pt x="812" y="664"/>
                  </a:lnTo>
                  <a:lnTo>
                    <a:pt x="807" y="661"/>
                  </a:lnTo>
                  <a:lnTo>
                    <a:pt x="808" y="657"/>
                  </a:lnTo>
                  <a:lnTo>
                    <a:pt x="807" y="649"/>
                  </a:lnTo>
                  <a:lnTo>
                    <a:pt x="808" y="651"/>
                  </a:lnTo>
                  <a:lnTo>
                    <a:pt x="810" y="645"/>
                  </a:lnTo>
                  <a:lnTo>
                    <a:pt x="807" y="647"/>
                  </a:lnTo>
                  <a:lnTo>
                    <a:pt x="807" y="642"/>
                  </a:lnTo>
                  <a:lnTo>
                    <a:pt x="808" y="637"/>
                  </a:lnTo>
                  <a:lnTo>
                    <a:pt x="808" y="625"/>
                  </a:lnTo>
                  <a:lnTo>
                    <a:pt x="808" y="623"/>
                  </a:lnTo>
                  <a:lnTo>
                    <a:pt x="812" y="620"/>
                  </a:lnTo>
                  <a:lnTo>
                    <a:pt x="808" y="623"/>
                  </a:lnTo>
                  <a:lnTo>
                    <a:pt x="808" y="625"/>
                  </a:lnTo>
                  <a:lnTo>
                    <a:pt x="805" y="622"/>
                  </a:lnTo>
                  <a:lnTo>
                    <a:pt x="807" y="628"/>
                  </a:lnTo>
                  <a:lnTo>
                    <a:pt x="807" y="632"/>
                  </a:lnTo>
                  <a:lnTo>
                    <a:pt x="805" y="628"/>
                  </a:lnTo>
                  <a:lnTo>
                    <a:pt x="803" y="625"/>
                  </a:lnTo>
                  <a:lnTo>
                    <a:pt x="805" y="632"/>
                  </a:lnTo>
                  <a:lnTo>
                    <a:pt x="803" y="637"/>
                  </a:lnTo>
                  <a:lnTo>
                    <a:pt x="803" y="649"/>
                  </a:lnTo>
                  <a:lnTo>
                    <a:pt x="801" y="651"/>
                  </a:lnTo>
                  <a:lnTo>
                    <a:pt x="801" y="657"/>
                  </a:lnTo>
                  <a:lnTo>
                    <a:pt x="798" y="664"/>
                  </a:lnTo>
                  <a:lnTo>
                    <a:pt x="793" y="661"/>
                  </a:lnTo>
                  <a:lnTo>
                    <a:pt x="793" y="652"/>
                  </a:lnTo>
                  <a:lnTo>
                    <a:pt x="793" y="656"/>
                  </a:lnTo>
                  <a:lnTo>
                    <a:pt x="789" y="652"/>
                  </a:lnTo>
                  <a:lnTo>
                    <a:pt x="783" y="651"/>
                  </a:lnTo>
                  <a:lnTo>
                    <a:pt x="784" y="649"/>
                  </a:lnTo>
                  <a:lnTo>
                    <a:pt x="783" y="647"/>
                  </a:lnTo>
                  <a:lnTo>
                    <a:pt x="786" y="649"/>
                  </a:lnTo>
                  <a:lnTo>
                    <a:pt x="786" y="644"/>
                  </a:lnTo>
                  <a:lnTo>
                    <a:pt x="788" y="644"/>
                  </a:lnTo>
                  <a:lnTo>
                    <a:pt x="786" y="635"/>
                  </a:lnTo>
                  <a:lnTo>
                    <a:pt x="793" y="635"/>
                  </a:lnTo>
                  <a:lnTo>
                    <a:pt x="789" y="632"/>
                  </a:lnTo>
                  <a:lnTo>
                    <a:pt x="788" y="634"/>
                  </a:lnTo>
                  <a:lnTo>
                    <a:pt x="788" y="632"/>
                  </a:lnTo>
                  <a:lnTo>
                    <a:pt x="788" y="627"/>
                  </a:lnTo>
                  <a:lnTo>
                    <a:pt x="786" y="630"/>
                  </a:lnTo>
                  <a:lnTo>
                    <a:pt x="784" y="630"/>
                  </a:lnTo>
                  <a:lnTo>
                    <a:pt x="788" y="630"/>
                  </a:lnTo>
                  <a:lnTo>
                    <a:pt x="786" y="634"/>
                  </a:lnTo>
                  <a:lnTo>
                    <a:pt x="783" y="635"/>
                  </a:lnTo>
                  <a:lnTo>
                    <a:pt x="779" y="632"/>
                  </a:lnTo>
                  <a:lnTo>
                    <a:pt x="783" y="632"/>
                  </a:lnTo>
                  <a:lnTo>
                    <a:pt x="777" y="630"/>
                  </a:lnTo>
                  <a:lnTo>
                    <a:pt x="779" y="625"/>
                  </a:lnTo>
                  <a:lnTo>
                    <a:pt x="777" y="627"/>
                  </a:lnTo>
                  <a:lnTo>
                    <a:pt x="776" y="622"/>
                  </a:lnTo>
                  <a:lnTo>
                    <a:pt x="776" y="627"/>
                  </a:lnTo>
                  <a:lnTo>
                    <a:pt x="774" y="627"/>
                  </a:lnTo>
                  <a:lnTo>
                    <a:pt x="769" y="616"/>
                  </a:lnTo>
                  <a:lnTo>
                    <a:pt x="771" y="623"/>
                  </a:lnTo>
                  <a:lnTo>
                    <a:pt x="767" y="622"/>
                  </a:lnTo>
                  <a:lnTo>
                    <a:pt x="764" y="625"/>
                  </a:lnTo>
                  <a:lnTo>
                    <a:pt x="769" y="623"/>
                  </a:lnTo>
                  <a:lnTo>
                    <a:pt x="776" y="628"/>
                  </a:lnTo>
                  <a:lnTo>
                    <a:pt x="777" y="632"/>
                  </a:lnTo>
                  <a:lnTo>
                    <a:pt x="774" y="628"/>
                  </a:lnTo>
                  <a:lnTo>
                    <a:pt x="774" y="634"/>
                  </a:lnTo>
                  <a:lnTo>
                    <a:pt x="776" y="637"/>
                  </a:lnTo>
                  <a:lnTo>
                    <a:pt x="776" y="634"/>
                  </a:lnTo>
                  <a:lnTo>
                    <a:pt x="779" y="637"/>
                  </a:lnTo>
                  <a:lnTo>
                    <a:pt x="774" y="637"/>
                  </a:lnTo>
                  <a:lnTo>
                    <a:pt x="777" y="640"/>
                  </a:lnTo>
                  <a:lnTo>
                    <a:pt x="779" y="637"/>
                  </a:lnTo>
                  <a:lnTo>
                    <a:pt x="781" y="644"/>
                  </a:lnTo>
                  <a:lnTo>
                    <a:pt x="779" y="644"/>
                  </a:lnTo>
                  <a:lnTo>
                    <a:pt x="781" y="645"/>
                  </a:lnTo>
                  <a:lnTo>
                    <a:pt x="781" y="649"/>
                  </a:lnTo>
                  <a:lnTo>
                    <a:pt x="779" y="651"/>
                  </a:lnTo>
                  <a:lnTo>
                    <a:pt x="774" y="651"/>
                  </a:lnTo>
                  <a:lnTo>
                    <a:pt x="774" y="647"/>
                  </a:lnTo>
                  <a:lnTo>
                    <a:pt x="771" y="644"/>
                  </a:lnTo>
                  <a:lnTo>
                    <a:pt x="771" y="645"/>
                  </a:lnTo>
                  <a:lnTo>
                    <a:pt x="769" y="645"/>
                  </a:lnTo>
                  <a:lnTo>
                    <a:pt x="771" y="647"/>
                  </a:lnTo>
                  <a:lnTo>
                    <a:pt x="772" y="647"/>
                  </a:lnTo>
                  <a:lnTo>
                    <a:pt x="772" y="649"/>
                  </a:lnTo>
                  <a:lnTo>
                    <a:pt x="767" y="645"/>
                  </a:lnTo>
                  <a:lnTo>
                    <a:pt x="767" y="649"/>
                  </a:lnTo>
                  <a:lnTo>
                    <a:pt x="764" y="649"/>
                  </a:lnTo>
                  <a:lnTo>
                    <a:pt x="764" y="647"/>
                  </a:lnTo>
                  <a:lnTo>
                    <a:pt x="766" y="647"/>
                  </a:lnTo>
                  <a:lnTo>
                    <a:pt x="762" y="644"/>
                  </a:lnTo>
                  <a:lnTo>
                    <a:pt x="762" y="642"/>
                  </a:lnTo>
                  <a:lnTo>
                    <a:pt x="760" y="640"/>
                  </a:lnTo>
                  <a:lnTo>
                    <a:pt x="759" y="640"/>
                  </a:lnTo>
                  <a:lnTo>
                    <a:pt x="750" y="627"/>
                  </a:lnTo>
                  <a:lnTo>
                    <a:pt x="755" y="627"/>
                  </a:lnTo>
                  <a:lnTo>
                    <a:pt x="750" y="625"/>
                  </a:lnTo>
                  <a:lnTo>
                    <a:pt x="747" y="618"/>
                  </a:lnTo>
                  <a:lnTo>
                    <a:pt x="748" y="613"/>
                  </a:lnTo>
                  <a:lnTo>
                    <a:pt x="743" y="604"/>
                  </a:lnTo>
                  <a:lnTo>
                    <a:pt x="738" y="599"/>
                  </a:lnTo>
                  <a:lnTo>
                    <a:pt x="740" y="601"/>
                  </a:lnTo>
                  <a:lnTo>
                    <a:pt x="743" y="599"/>
                  </a:lnTo>
                  <a:lnTo>
                    <a:pt x="738" y="599"/>
                  </a:lnTo>
                  <a:lnTo>
                    <a:pt x="730" y="587"/>
                  </a:lnTo>
                  <a:lnTo>
                    <a:pt x="731" y="589"/>
                  </a:lnTo>
                  <a:lnTo>
                    <a:pt x="730" y="586"/>
                  </a:lnTo>
                  <a:lnTo>
                    <a:pt x="728" y="586"/>
                  </a:lnTo>
                  <a:lnTo>
                    <a:pt x="719" y="574"/>
                  </a:lnTo>
                  <a:lnTo>
                    <a:pt x="726" y="574"/>
                  </a:lnTo>
                  <a:lnTo>
                    <a:pt x="730" y="572"/>
                  </a:lnTo>
                  <a:lnTo>
                    <a:pt x="730" y="565"/>
                  </a:lnTo>
                  <a:lnTo>
                    <a:pt x="735" y="562"/>
                  </a:lnTo>
                  <a:lnTo>
                    <a:pt x="736" y="569"/>
                  </a:lnTo>
                  <a:lnTo>
                    <a:pt x="733" y="572"/>
                  </a:lnTo>
                  <a:lnTo>
                    <a:pt x="733" y="577"/>
                  </a:lnTo>
                  <a:lnTo>
                    <a:pt x="731" y="577"/>
                  </a:lnTo>
                  <a:lnTo>
                    <a:pt x="731" y="579"/>
                  </a:lnTo>
                  <a:lnTo>
                    <a:pt x="733" y="577"/>
                  </a:lnTo>
                  <a:lnTo>
                    <a:pt x="736" y="570"/>
                  </a:lnTo>
                  <a:lnTo>
                    <a:pt x="743" y="574"/>
                  </a:lnTo>
                  <a:lnTo>
                    <a:pt x="738" y="569"/>
                  </a:lnTo>
                  <a:lnTo>
                    <a:pt x="735" y="560"/>
                  </a:lnTo>
                  <a:lnTo>
                    <a:pt x="731" y="562"/>
                  </a:lnTo>
                  <a:lnTo>
                    <a:pt x="725" y="563"/>
                  </a:lnTo>
                  <a:lnTo>
                    <a:pt x="711" y="562"/>
                  </a:lnTo>
                  <a:lnTo>
                    <a:pt x="701" y="553"/>
                  </a:lnTo>
                  <a:lnTo>
                    <a:pt x="692" y="546"/>
                  </a:lnTo>
                  <a:lnTo>
                    <a:pt x="699" y="545"/>
                  </a:lnTo>
                  <a:lnTo>
                    <a:pt x="699" y="541"/>
                  </a:lnTo>
                  <a:lnTo>
                    <a:pt x="699" y="538"/>
                  </a:lnTo>
                  <a:lnTo>
                    <a:pt x="695" y="538"/>
                  </a:lnTo>
                  <a:lnTo>
                    <a:pt x="697" y="541"/>
                  </a:lnTo>
                  <a:lnTo>
                    <a:pt x="689" y="541"/>
                  </a:lnTo>
                  <a:lnTo>
                    <a:pt x="672" y="524"/>
                  </a:lnTo>
                  <a:lnTo>
                    <a:pt x="646" y="516"/>
                  </a:lnTo>
                  <a:lnTo>
                    <a:pt x="642" y="512"/>
                  </a:lnTo>
                  <a:lnTo>
                    <a:pt x="644" y="514"/>
                  </a:lnTo>
                  <a:lnTo>
                    <a:pt x="641" y="507"/>
                  </a:lnTo>
                  <a:lnTo>
                    <a:pt x="644" y="505"/>
                  </a:lnTo>
                  <a:lnTo>
                    <a:pt x="636" y="502"/>
                  </a:lnTo>
                  <a:lnTo>
                    <a:pt x="636" y="499"/>
                  </a:lnTo>
                  <a:lnTo>
                    <a:pt x="631" y="495"/>
                  </a:lnTo>
                  <a:lnTo>
                    <a:pt x="636" y="492"/>
                  </a:lnTo>
                  <a:lnTo>
                    <a:pt x="637" y="490"/>
                  </a:lnTo>
                  <a:lnTo>
                    <a:pt x="636" y="490"/>
                  </a:lnTo>
                  <a:lnTo>
                    <a:pt x="641" y="485"/>
                  </a:lnTo>
                  <a:lnTo>
                    <a:pt x="644" y="485"/>
                  </a:lnTo>
                  <a:lnTo>
                    <a:pt x="641" y="485"/>
                  </a:lnTo>
                  <a:lnTo>
                    <a:pt x="639" y="487"/>
                  </a:lnTo>
                  <a:lnTo>
                    <a:pt x="627" y="490"/>
                  </a:lnTo>
                  <a:lnTo>
                    <a:pt x="624" y="488"/>
                  </a:lnTo>
                  <a:lnTo>
                    <a:pt x="620" y="481"/>
                  </a:lnTo>
                  <a:lnTo>
                    <a:pt x="615" y="478"/>
                  </a:lnTo>
                  <a:lnTo>
                    <a:pt x="624" y="475"/>
                  </a:lnTo>
                  <a:lnTo>
                    <a:pt x="619" y="475"/>
                  </a:lnTo>
                  <a:lnTo>
                    <a:pt x="620" y="475"/>
                  </a:lnTo>
                  <a:lnTo>
                    <a:pt x="619" y="473"/>
                  </a:lnTo>
                  <a:lnTo>
                    <a:pt x="620" y="473"/>
                  </a:lnTo>
                  <a:lnTo>
                    <a:pt x="617" y="473"/>
                  </a:lnTo>
                  <a:lnTo>
                    <a:pt x="619" y="471"/>
                  </a:lnTo>
                  <a:lnTo>
                    <a:pt x="612" y="469"/>
                  </a:lnTo>
                  <a:lnTo>
                    <a:pt x="619" y="469"/>
                  </a:lnTo>
                  <a:lnTo>
                    <a:pt x="619" y="466"/>
                  </a:lnTo>
                  <a:lnTo>
                    <a:pt x="613" y="466"/>
                  </a:lnTo>
                  <a:lnTo>
                    <a:pt x="613" y="464"/>
                  </a:lnTo>
                  <a:lnTo>
                    <a:pt x="608" y="466"/>
                  </a:lnTo>
                  <a:lnTo>
                    <a:pt x="605" y="463"/>
                  </a:lnTo>
                  <a:lnTo>
                    <a:pt x="605" y="461"/>
                  </a:lnTo>
                  <a:lnTo>
                    <a:pt x="619" y="464"/>
                  </a:lnTo>
                  <a:lnTo>
                    <a:pt x="617" y="461"/>
                  </a:lnTo>
                  <a:lnTo>
                    <a:pt x="613" y="463"/>
                  </a:lnTo>
                  <a:lnTo>
                    <a:pt x="608" y="459"/>
                  </a:lnTo>
                  <a:lnTo>
                    <a:pt x="608" y="457"/>
                  </a:lnTo>
                  <a:lnTo>
                    <a:pt x="608" y="454"/>
                  </a:lnTo>
                  <a:lnTo>
                    <a:pt x="610" y="456"/>
                  </a:lnTo>
                  <a:lnTo>
                    <a:pt x="608" y="454"/>
                  </a:lnTo>
                  <a:lnTo>
                    <a:pt x="612" y="452"/>
                  </a:lnTo>
                  <a:lnTo>
                    <a:pt x="613" y="454"/>
                  </a:lnTo>
                  <a:lnTo>
                    <a:pt x="612" y="452"/>
                  </a:lnTo>
                  <a:lnTo>
                    <a:pt x="620" y="456"/>
                  </a:lnTo>
                  <a:lnTo>
                    <a:pt x="620" y="454"/>
                  </a:lnTo>
                  <a:lnTo>
                    <a:pt x="613" y="451"/>
                  </a:lnTo>
                  <a:lnTo>
                    <a:pt x="603" y="452"/>
                  </a:lnTo>
                  <a:lnTo>
                    <a:pt x="603" y="451"/>
                  </a:lnTo>
                  <a:lnTo>
                    <a:pt x="605" y="449"/>
                  </a:lnTo>
                  <a:lnTo>
                    <a:pt x="601" y="449"/>
                  </a:lnTo>
                  <a:lnTo>
                    <a:pt x="600" y="449"/>
                  </a:lnTo>
                  <a:lnTo>
                    <a:pt x="600" y="447"/>
                  </a:lnTo>
                  <a:lnTo>
                    <a:pt x="598" y="447"/>
                  </a:lnTo>
                  <a:lnTo>
                    <a:pt x="598" y="449"/>
                  </a:lnTo>
                  <a:lnTo>
                    <a:pt x="595" y="449"/>
                  </a:lnTo>
                  <a:lnTo>
                    <a:pt x="593" y="447"/>
                  </a:lnTo>
                  <a:lnTo>
                    <a:pt x="596" y="446"/>
                  </a:lnTo>
                  <a:lnTo>
                    <a:pt x="595" y="446"/>
                  </a:lnTo>
                  <a:lnTo>
                    <a:pt x="596" y="444"/>
                  </a:lnTo>
                  <a:lnTo>
                    <a:pt x="591" y="446"/>
                  </a:lnTo>
                  <a:lnTo>
                    <a:pt x="596" y="442"/>
                  </a:lnTo>
                  <a:lnTo>
                    <a:pt x="596" y="439"/>
                  </a:lnTo>
                  <a:lnTo>
                    <a:pt x="593" y="442"/>
                  </a:lnTo>
                  <a:lnTo>
                    <a:pt x="591" y="442"/>
                  </a:lnTo>
                  <a:lnTo>
                    <a:pt x="593" y="442"/>
                  </a:lnTo>
                  <a:lnTo>
                    <a:pt x="589" y="447"/>
                  </a:lnTo>
                  <a:lnTo>
                    <a:pt x="588" y="446"/>
                  </a:lnTo>
                  <a:lnTo>
                    <a:pt x="589" y="444"/>
                  </a:lnTo>
                  <a:lnTo>
                    <a:pt x="586" y="444"/>
                  </a:lnTo>
                  <a:lnTo>
                    <a:pt x="586" y="446"/>
                  </a:lnTo>
                  <a:lnTo>
                    <a:pt x="584" y="446"/>
                  </a:lnTo>
                  <a:lnTo>
                    <a:pt x="583" y="439"/>
                  </a:lnTo>
                  <a:lnTo>
                    <a:pt x="595" y="435"/>
                  </a:lnTo>
                  <a:lnTo>
                    <a:pt x="593" y="434"/>
                  </a:lnTo>
                  <a:lnTo>
                    <a:pt x="595" y="434"/>
                  </a:lnTo>
                  <a:lnTo>
                    <a:pt x="584" y="437"/>
                  </a:lnTo>
                  <a:lnTo>
                    <a:pt x="584" y="434"/>
                  </a:lnTo>
                  <a:lnTo>
                    <a:pt x="578" y="432"/>
                  </a:lnTo>
                  <a:lnTo>
                    <a:pt x="579" y="432"/>
                  </a:lnTo>
                  <a:lnTo>
                    <a:pt x="576" y="434"/>
                  </a:lnTo>
                  <a:lnTo>
                    <a:pt x="583" y="435"/>
                  </a:lnTo>
                  <a:lnTo>
                    <a:pt x="579" y="437"/>
                  </a:lnTo>
                  <a:lnTo>
                    <a:pt x="578" y="435"/>
                  </a:lnTo>
                  <a:lnTo>
                    <a:pt x="578" y="437"/>
                  </a:lnTo>
                  <a:lnTo>
                    <a:pt x="576" y="439"/>
                  </a:lnTo>
                  <a:lnTo>
                    <a:pt x="574" y="439"/>
                  </a:lnTo>
                  <a:lnTo>
                    <a:pt x="574" y="440"/>
                  </a:lnTo>
                  <a:lnTo>
                    <a:pt x="567" y="437"/>
                  </a:lnTo>
                  <a:lnTo>
                    <a:pt x="572" y="439"/>
                  </a:lnTo>
                  <a:lnTo>
                    <a:pt x="569" y="439"/>
                  </a:lnTo>
                  <a:lnTo>
                    <a:pt x="567" y="439"/>
                  </a:lnTo>
                  <a:lnTo>
                    <a:pt x="566" y="440"/>
                  </a:lnTo>
                  <a:lnTo>
                    <a:pt x="574" y="440"/>
                  </a:lnTo>
                  <a:lnTo>
                    <a:pt x="569" y="446"/>
                  </a:lnTo>
                  <a:lnTo>
                    <a:pt x="576" y="442"/>
                  </a:lnTo>
                  <a:lnTo>
                    <a:pt x="574" y="447"/>
                  </a:lnTo>
                  <a:lnTo>
                    <a:pt x="569" y="449"/>
                  </a:lnTo>
                  <a:lnTo>
                    <a:pt x="567" y="446"/>
                  </a:lnTo>
                  <a:lnTo>
                    <a:pt x="562" y="447"/>
                  </a:lnTo>
                  <a:lnTo>
                    <a:pt x="567" y="447"/>
                  </a:lnTo>
                  <a:lnTo>
                    <a:pt x="569" y="452"/>
                  </a:lnTo>
                  <a:lnTo>
                    <a:pt x="571" y="451"/>
                  </a:lnTo>
                  <a:lnTo>
                    <a:pt x="572" y="451"/>
                  </a:lnTo>
                  <a:lnTo>
                    <a:pt x="572" y="452"/>
                  </a:lnTo>
                  <a:lnTo>
                    <a:pt x="576" y="449"/>
                  </a:lnTo>
                  <a:lnTo>
                    <a:pt x="576" y="456"/>
                  </a:lnTo>
                  <a:lnTo>
                    <a:pt x="572" y="456"/>
                  </a:lnTo>
                  <a:lnTo>
                    <a:pt x="571" y="454"/>
                  </a:lnTo>
                  <a:lnTo>
                    <a:pt x="571" y="457"/>
                  </a:lnTo>
                  <a:lnTo>
                    <a:pt x="569" y="454"/>
                  </a:lnTo>
                  <a:lnTo>
                    <a:pt x="569" y="456"/>
                  </a:lnTo>
                  <a:lnTo>
                    <a:pt x="564" y="457"/>
                  </a:lnTo>
                  <a:lnTo>
                    <a:pt x="564" y="456"/>
                  </a:lnTo>
                  <a:lnTo>
                    <a:pt x="564" y="457"/>
                  </a:lnTo>
                  <a:lnTo>
                    <a:pt x="560" y="459"/>
                  </a:lnTo>
                  <a:lnTo>
                    <a:pt x="567" y="459"/>
                  </a:lnTo>
                  <a:lnTo>
                    <a:pt x="566" y="459"/>
                  </a:lnTo>
                  <a:lnTo>
                    <a:pt x="566" y="461"/>
                  </a:lnTo>
                  <a:lnTo>
                    <a:pt x="566" y="463"/>
                  </a:lnTo>
                  <a:lnTo>
                    <a:pt x="567" y="461"/>
                  </a:lnTo>
                  <a:lnTo>
                    <a:pt x="564" y="463"/>
                  </a:lnTo>
                  <a:lnTo>
                    <a:pt x="562" y="459"/>
                  </a:lnTo>
                  <a:lnTo>
                    <a:pt x="559" y="463"/>
                  </a:lnTo>
                  <a:lnTo>
                    <a:pt x="557" y="466"/>
                  </a:lnTo>
                  <a:lnTo>
                    <a:pt x="555" y="463"/>
                  </a:lnTo>
                  <a:lnTo>
                    <a:pt x="555" y="464"/>
                  </a:lnTo>
                  <a:lnTo>
                    <a:pt x="554" y="464"/>
                  </a:lnTo>
                  <a:lnTo>
                    <a:pt x="552" y="464"/>
                  </a:lnTo>
                  <a:lnTo>
                    <a:pt x="545" y="457"/>
                  </a:lnTo>
                  <a:lnTo>
                    <a:pt x="543" y="456"/>
                  </a:lnTo>
                  <a:lnTo>
                    <a:pt x="547" y="456"/>
                  </a:lnTo>
                  <a:lnTo>
                    <a:pt x="545" y="454"/>
                  </a:lnTo>
                  <a:lnTo>
                    <a:pt x="538" y="457"/>
                  </a:lnTo>
                  <a:lnTo>
                    <a:pt x="542" y="454"/>
                  </a:lnTo>
                  <a:lnTo>
                    <a:pt x="542" y="449"/>
                  </a:lnTo>
                  <a:lnTo>
                    <a:pt x="540" y="452"/>
                  </a:lnTo>
                  <a:lnTo>
                    <a:pt x="531" y="456"/>
                  </a:lnTo>
                  <a:lnTo>
                    <a:pt x="531" y="459"/>
                  </a:lnTo>
                  <a:lnTo>
                    <a:pt x="530" y="457"/>
                  </a:lnTo>
                  <a:lnTo>
                    <a:pt x="533" y="452"/>
                  </a:lnTo>
                  <a:lnTo>
                    <a:pt x="531" y="451"/>
                  </a:lnTo>
                  <a:lnTo>
                    <a:pt x="530" y="454"/>
                  </a:lnTo>
                  <a:lnTo>
                    <a:pt x="528" y="452"/>
                  </a:lnTo>
                  <a:lnTo>
                    <a:pt x="528" y="456"/>
                  </a:lnTo>
                  <a:lnTo>
                    <a:pt x="526" y="459"/>
                  </a:lnTo>
                  <a:lnTo>
                    <a:pt x="523" y="451"/>
                  </a:lnTo>
                  <a:lnTo>
                    <a:pt x="523" y="456"/>
                  </a:lnTo>
                  <a:lnTo>
                    <a:pt x="521" y="456"/>
                  </a:lnTo>
                  <a:lnTo>
                    <a:pt x="519" y="457"/>
                  </a:lnTo>
                  <a:lnTo>
                    <a:pt x="519" y="454"/>
                  </a:lnTo>
                  <a:lnTo>
                    <a:pt x="518" y="457"/>
                  </a:lnTo>
                  <a:lnTo>
                    <a:pt x="516" y="456"/>
                  </a:lnTo>
                  <a:lnTo>
                    <a:pt x="514" y="457"/>
                  </a:lnTo>
                  <a:lnTo>
                    <a:pt x="509" y="457"/>
                  </a:lnTo>
                  <a:lnTo>
                    <a:pt x="518" y="451"/>
                  </a:lnTo>
                  <a:lnTo>
                    <a:pt x="507" y="456"/>
                  </a:lnTo>
                  <a:lnTo>
                    <a:pt x="507" y="454"/>
                  </a:lnTo>
                  <a:lnTo>
                    <a:pt x="511" y="452"/>
                  </a:lnTo>
                  <a:lnTo>
                    <a:pt x="506" y="451"/>
                  </a:lnTo>
                  <a:lnTo>
                    <a:pt x="506" y="454"/>
                  </a:lnTo>
                  <a:lnTo>
                    <a:pt x="504" y="454"/>
                  </a:lnTo>
                  <a:lnTo>
                    <a:pt x="504" y="456"/>
                  </a:lnTo>
                  <a:lnTo>
                    <a:pt x="497" y="456"/>
                  </a:lnTo>
                  <a:lnTo>
                    <a:pt x="495" y="457"/>
                  </a:lnTo>
                  <a:lnTo>
                    <a:pt x="494" y="459"/>
                  </a:lnTo>
                  <a:lnTo>
                    <a:pt x="494" y="454"/>
                  </a:lnTo>
                  <a:lnTo>
                    <a:pt x="490" y="451"/>
                  </a:lnTo>
                  <a:lnTo>
                    <a:pt x="490" y="456"/>
                  </a:lnTo>
                  <a:lnTo>
                    <a:pt x="485" y="451"/>
                  </a:lnTo>
                  <a:lnTo>
                    <a:pt x="478" y="451"/>
                  </a:lnTo>
                  <a:lnTo>
                    <a:pt x="478" y="447"/>
                  </a:lnTo>
                  <a:lnTo>
                    <a:pt x="475" y="444"/>
                  </a:lnTo>
                  <a:lnTo>
                    <a:pt x="477" y="442"/>
                  </a:lnTo>
                  <a:lnTo>
                    <a:pt x="480" y="442"/>
                  </a:lnTo>
                  <a:lnTo>
                    <a:pt x="480" y="440"/>
                  </a:lnTo>
                  <a:lnTo>
                    <a:pt x="485" y="440"/>
                  </a:lnTo>
                  <a:lnTo>
                    <a:pt x="490" y="446"/>
                  </a:lnTo>
                  <a:lnTo>
                    <a:pt x="490" y="442"/>
                  </a:lnTo>
                  <a:lnTo>
                    <a:pt x="497" y="444"/>
                  </a:lnTo>
                  <a:lnTo>
                    <a:pt x="497" y="442"/>
                  </a:lnTo>
                  <a:lnTo>
                    <a:pt x="504" y="440"/>
                  </a:lnTo>
                  <a:lnTo>
                    <a:pt x="494" y="439"/>
                  </a:lnTo>
                  <a:lnTo>
                    <a:pt x="492" y="439"/>
                  </a:lnTo>
                  <a:lnTo>
                    <a:pt x="492" y="440"/>
                  </a:lnTo>
                  <a:lnTo>
                    <a:pt x="487" y="430"/>
                  </a:lnTo>
                  <a:lnTo>
                    <a:pt x="495" y="423"/>
                  </a:lnTo>
                  <a:lnTo>
                    <a:pt x="504" y="422"/>
                  </a:lnTo>
                  <a:lnTo>
                    <a:pt x="509" y="416"/>
                  </a:lnTo>
                  <a:lnTo>
                    <a:pt x="511" y="418"/>
                  </a:lnTo>
                  <a:lnTo>
                    <a:pt x="514" y="413"/>
                  </a:lnTo>
                  <a:lnTo>
                    <a:pt x="516" y="406"/>
                  </a:lnTo>
                  <a:lnTo>
                    <a:pt x="523" y="408"/>
                  </a:lnTo>
                  <a:lnTo>
                    <a:pt x="540" y="408"/>
                  </a:lnTo>
                  <a:lnTo>
                    <a:pt x="545" y="416"/>
                  </a:lnTo>
                  <a:lnTo>
                    <a:pt x="550" y="418"/>
                  </a:lnTo>
                  <a:lnTo>
                    <a:pt x="562" y="430"/>
                  </a:lnTo>
                  <a:lnTo>
                    <a:pt x="562" y="427"/>
                  </a:lnTo>
                  <a:lnTo>
                    <a:pt x="559" y="425"/>
                  </a:lnTo>
                  <a:lnTo>
                    <a:pt x="548" y="410"/>
                  </a:lnTo>
                  <a:lnTo>
                    <a:pt x="560" y="406"/>
                  </a:lnTo>
                  <a:lnTo>
                    <a:pt x="571" y="408"/>
                  </a:lnTo>
                  <a:lnTo>
                    <a:pt x="562" y="405"/>
                  </a:lnTo>
                  <a:lnTo>
                    <a:pt x="557" y="405"/>
                  </a:lnTo>
                  <a:lnTo>
                    <a:pt x="552" y="408"/>
                  </a:lnTo>
                  <a:lnTo>
                    <a:pt x="543" y="401"/>
                  </a:lnTo>
                  <a:lnTo>
                    <a:pt x="543" y="396"/>
                  </a:lnTo>
                  <a:lnTo>
                    <a:pt x="542" y="399"/>
                  </a:lnTo>
                  <a:lnTo>
                    <a:pt x="533" y="398"/>
                  </a:lnTo>
                  <a:lnTo>
                    <a:pt x="526" y="399"/>
                  </a:lnTo>
                  <a:lnTo>
                    <a:pt x="513" y="396"/>
                  </a:lnTo>
                  <a:lnTo>
                    <a:pt x="511" y="398"/>
                  </a:lnTo>
                  <a:lnTo>
                    <a:pt x="509" y="403"/>
                  </a:lnTo>
                  <a:lnTo>
                    <a:pt x="507" y="399"/>
                  </a:lnTo>
                  <a:lnTo>
                    <a:pt x="502" y="399"/>
                  </a:lnTo>
                  <a:lnTo>
                    <a:pt x="494" y="401"/>
                  </a:lnTo>
                  <a:lnTo>
                    <a:pt x="492" y="403"/>
                  </a:lnTo>
                  <a:lnTo>
                    <a:pt x="494" y="406"/>
                  </a:lnTo>
                  <a:lnTo>
                    <a:pt x="489" y="406"/>
                  </a:lnTo>
                  <a:lnTo>
                    <a:pt x="482" y="406"/>
                  </a:lnTo>
                  <a:lnTo>
                    <a:pt x="478" y="403"/>
                  </a:lnTo>
                  <a:lnTo>
                    <a:pt x="478" y="399"/>
                  </a:lnTo>
                  <a:lnTo>
                    <a:pt x="475" y="398"/>
                  </a:lnTo>
                  <a:lnTo>
                    <a:pt x="478" y="401"/>
                  </a:lnTo>
                  <a:lnTo>
                    <a:pt x="477" y="403"/>
                  </a:lnTo>
                  <a:lnTo>
                    <a:pt x="480" y="411"/>
                  </a:lnTo>
                  <a:lnTo>
                    <a:pt x="475" y="415"/>
                  </a:lnTo>
                  <a:lnTo>
                    <a:pt x="465" y="410"/>
                  </a:lnTo>
                  <a:lnTo>
                    <a:pt x="463" y="410"/>
                  </a:lnTo>
                  <a:lnTo>
                    <a:pt x="468" y="413"/>
                  </a:lnTo>
                  <a:lnTo>
                    <a:pt x="465" y="416"/>
                  </a:lnTo>
                  <a:lnTo>
                    <a:pt x="460" y="416"/>
                  </a:lnTo>
                  <a:lnTo>
                    <a:pt x="456" y="413"/>
                  </a:lnTo>
                  <a:lnTo>
                    <a:pt x="460" y="413"/>
                  </a:lnTo>
                  <a:lnTo>
                    <a:pt x="458" y="408"/>
                  </a:lnTo>
                  <a:lnTo>
                    <a:pt x="454" y="413"/>
                  </a:lnTo>
                  <a:lnTo>
                    <a:pt x="453" y="413"/>
                  </a:lnTo>
                  <a:lnTo>
                    <a:pt x="454" y="410"/>
                  </a:lnTo>
                  <a:lnTo>
                    <a:pt x="451" y="410"/>
                  </a:lnTo>
                  <a:lnTo>
                    <a:pt x="453" y="413"/>
                  </a:lnTo>
                  <a:lnTo>
                    <a:pt x="451" y="415"/>
                  </a:lnTo>
                  <a:lnTo>
                    <a:pt x="446" y="411"/>
                  </a:lnTo>
                  <a:lnTo>
                    <a:pt x="446" y="413"/>
                  </a:lnTo>
                  <a:lnTo>
                    <a:pt x="446" y="415"/>
                  </a:lnTo>
                  <a:lnTo>
                    <a:pt x="437" y="413"/>
                  </a:lnTo>
                  <a:lnTo>
                    <a:pt x="441" y="415"/>
                  </a:lnTo>
                  <a:lnTo>
                    <a:pt x="436" y="415"/>
                  </a:lnTo>
                  <a:lnTo>
                    <a:pt x="434" y="418"/>
                  </a:lnTo>
                  <a:lnTo>
                    <a:pt x="429" y="418"/>
                  </a:lnTo>
                  <a:lnTo>
                    <a:pt x="431" y="420"/>
                  </a:lnTo>
                  <a:lnTo>
                    <a:pt x="429" y="423"/>
                  </a:lnTo>
                  <a:lnTo>
                    <a:pt x="432" y="423"/>
                  </a:lnTo>
                  <a:lnTo>
                    <a:pt x="439" y="427"/>
                  </a:lnTo>
                  <a:lnTo>
                    <a:pt x="443" y="434"/>
                  </a:lnTo>
                  <a:lnTo>
                    <a:pt x="443" y="439"/>
                  </a:lnTo>
                  <a:lnTo>
                    <a:pt x="441" y="439"/>
                  </a:lnTo>
                  <a:lnTo>
                    <a:pt x="443" y="440"/>
                  </a:lnTo>
                  <a:lnTo>
                    <a:pt x="443" y="439"/>
                  </a:lnTo>
                  <a:lnTo>
                    <a:pt x="441" y="439"/>
                  </a:lnTo>
                  <a:lnTo>
                    <a:pt x="436" y="442"/>
                  </a:lnTo>
                  <a:lnTo>
                    <a:pt x="431" y="442"/>
                  </a:lnTo>
                  <a:lnTo>
                    <a:pt x="425" y="439"/>
                  </a:lnTo>
                  <a:lnTo>
                    <a:pt x="422" y="440"/>
                  </a:lnTo>
                  <a:lnTo>
                    <a:pt x="422" y="442"/>
                  </a:lnTo>
                  <a:lnTo>
                    <a:pt x="419" y="440"/>
                  </a:lnTo>
                  <a:lnTo>
                    <a:pt x="419" y="444"/>
                  </a:lnTo>
                  <a:lnTo>
                    <a:pt x="410" y="442"/>
                  </a:lnTo>
                  <a:lnTo>
                    <a:pt x="413" y="446"/>
                  </a:lnTo>
                  <a:lnTo>
                    <a:pt x="410" y="446"/>
                  </a:lnTo>
                  <a:lnTo>
                    <a:pt x="412" y="447"/>
                  </a:lnTo>
                  <a:lnTo>
                    <a:pt x="410" y="447"/>
                  </a:lnTo>
                  <a:lnTo>
                    <a:pt x="408" y="446"/>
                  </a:lnTo>
                  <a:lnTo>
                    <a:pt x="408" y="449"/>
                  </a:lnTo>
                  <a:lnTo>
                    <a:pt x="407" y="447"/>
                  </a:lnTo>
                  <a:lnTo>
                    <a:pt x="405" y="449"/>
                  </a:lnTo>
                  <a:lnTo>
                    <a:pt x="405" y="444"/>
                  </a:lnTo>
                  <a:lnTo>
                    <a:pt x="403" y="447"/>
                  </a:lnTo>
                  <a:lnTo>
                    <a:pt x="401" y="444"/>
                  </a:lnTo>
                  <a:lnTo>
                    <a:pt x="401" y="447"/>
                  </a:lnTo>
                  <a:lnTo>
                    <a:pt x="400" y="447"/>
                  </a:lnTo>
                  <a:lnTo>
                    <a:pt x="398" y="446"/>
                  </a:lnTo>
                  <a:lnTo>
                    <a:pt x="395" y="446"/>
                  </a:lnTo>
                  <a:lnTo>
                    <a:pt x="391" y="442"/>
                  </a:lnTo>
                  <a:lnTo>
                    <a:pt x="388" y="442"/>
                  </a:lnTo>
                  <a:lnTo>
                    <a:pt x="386" y="446"/>
                  </a:lnTo>
                  <a:lnTo>
                    <a:pt x="381" y="444"/>
                  </a:lnTo>
                  <a:lnTo>
                    <a:pt x="379" y="447"/>
                  </a:lnTo>
                  <a:lnTo>
                    <a:pt x="374" y="440"/>
                  </a:lnTo>
                  <a:lnTo>
                    <a:pt x="372" y="442"/>
                  </a:lnTo>
                  <a:lnTo>
                    <a:pt x="372" y="446"/>
                  </a:lnTo>
                  <a:lnTo>
                    <a:pt x="369" y="444"/>
                  </a:lnTo>
                  <a:lnTo>
                    <a:pt x="367" y="446"/>
                  </a:lnTo>
                  <a:lnTo>
                    <a:pt x="362" y="442"/>
                  </a:lnTo>
                  <a:lnTo>
                    <a:pt x="360" y="444"/>
                  </a:lnTo>
                  <a:lnTo>
                    <a:pt x="359" y="442"/>
                  </a:lnTo>
                  <a:lnTo>
                    <a:pt x="359" y="446"/>
                  </a:lnTo>
                  <a:lnTo>
                    <a:pt x="357" y="442"/>
                  </a:lnTo>
                  <a:lnTo>
                    <a:pt x="347" y="442"/>
                  </a:lnTo>
                  <a:lnTo>
                    <a:pt x="345" y="444"/>
                  </a:lnTo>
                  <a:lnTo>
                    <a:pt x="350" y="446"/>
                  </a:lnTo>
                  <a:lnTo>
                    <a:pt x="347" y="446"/>
                  </a:lnTo>
                  <a:lnTo>
                    <a:pt x="347" y="449"/>
                  </a:lnTo>
                  <a:lnTo>
                    <a:pt x="345" y="451"/>
                  </a:lnTo>
                  <a:lnTo>
                    <a:pt x="343" y="449"/>
                  </a:lnTo>
                  <a:lnTo>
                    <a:pt x="342" y="451"/>
                  </a:lnTo>
                  <a:lnTo>
                    <a:pt x="338" y="449"/>
                  </a:lnTo>
                  <a:lnTo>
                    <a:pt x="338" y="452"/>
                  </a:lnTo>
                  <a:lnTo>
                    <a:pt x="337" y="447"/>
                  </a:lnTo>
                  <a:lnTo>
                    <a:pt x="331" y="451"/>
                  </a:lnTo>
                  <a:lnTo>
                    <a:pt x="331" y="447"/>
                  </a:lnTo>
                  <a:lnTo>
                    <a:pt x="330" y="449"/>
                  </a:lnTo>
                  <a:lnTo>
                    <a:pt x="325" y="449"/>
                  </a:lnTo>
                  <a:lnTo>
                    <a:pt x="323" y="447"/>
                  </a:lnTo>
                  <a:lnTo>
                    <a:pt x="323" y="449"/>
                  </a:lnTo>
                  <a:lnTo>
                    <a:pt x="321" y="449"/>
                  </a:lnTo>
                  <a:lnTo>
                    <a:pt x="318" y="444"/>
                  </a:lnTo>
                  <a:lnTo>
                    <a:pt x="318" y="447"/>
                  </a:lnTo>
                  <a:lnTo>
                    <a:pt x="313" y="446"/>
                  </a:lnTo>
                  <a:lnTo>
                    <a:pt x="314" y="449"/>
                  </a:lnTo>
                  <a:lnTo>
                    <a:pt x="313" y="451"/>
                  </a:lnTo>
                  <a:lnTo>
                    <a:pt x="309" y="447"/>
                  </a:lnTo>
                  <a:lnTo>
                    <a:pt x="307" y="444"/>
                  </a:lnTo>
                  <a:lnTo>
                    <a:pt x="299" y="442"/>
                  </a:lnTo>
                  <a:lnTo>
                    <a:pt x="299" y="444"/>
                  </a:lnTo>
                  <a:lnTo>
                    <a:pt x="304" y="447"/>
                  </a:lnTo>
                  <a:lnTo>
                    <a:pt x="302" y="449"/>
                  </a:lnTo>
                  <a:lnTo>
                    <a:pt x="297" y="444"/>
                  </a:lnTo>
                  <a:lnTo>
                    <a:pt x="296" y="446"/>
                  </a:lnTo>
                  <a:lnTo>
                    <a:pt x="290" y="442"/>
                  </a:lnTo>
                  <a:lnTo>
                    <a:pt x="282" y="444"/>
                  </a:lnTo>
                  <a:lnTo>
                    <a:pt x="284" y="446"/>
                  </a:lnTo>
                  <a:lnTo>
                    <a:pt x="285" y="444"/>
                  </a:lnTo>
                  <a:lnTo>
                    <a:pt x="287" y="444"/>
                  </a:lnTo>
                  <a:lnTo>
                    <a:pt x="290" y="449"/>
                  </a:lnTo>
                  <a:lnTo>
                    <a:pt x="287" y="449"/>
                  </a:lnTo>
                  <a:lnTo>
                    <a:pt x="285" y="451"/>
                  </a:lnTo>
                  <a:lnTo>
                    <a:pt x="292" y="452"/>
                  </a:lnTo>
                  <a:lnTo>
                    <a:pt x="285" y="452"/>
                  </a:lnTo>
                  <a:lnTo>
                    <a:pt x="285" y="451"/>
                  </a:lnTo>
                  <a:lnTo>
                    <a:pt x="282" y="454"/>
                  </a:lnTo>
                  <a:lnTo>
                    <a:pt x="282" y="451"/>
                  </a:lnTo>
                  <a:lnTo>
                    <a:pt x="280" y="456"/>
                  </a:lnTo>
                  <a:lnTo>
                    <a:pt x="278" y="452"/>
                  </a:lnTo>
                  <a:lnTo>
                    <a:pt x="280" y="452"/>
                  </a:lnTo>
                  <a:lnTo>
                    <a:pt x="278" y="452"/>
                  </a:lnTo>
                  <a:lnTo>
                    <a:pt x="278" y="449"/>
                  </a:lnTo>
                  <a:lnTo>
                    <a:pt x="284" y="449"/>
                  </a:lnTo>
                  <a:lnTo>
                    <a:pt x="282" y="446"/>
                  </a:lnTo>
                  <a:lnTo>
                    <a:pt x="282" y="449"/>
                  </a:lnTo>
                  <a:lnTo>
                    <a:pt x="278" y="449"/>
                  </a:lnTo>
                  <a:lnTo>
                    <a:pt x="278" y="447"/>
                  </a:lnTo>
                  <a:lnTo>
                    <a:pt x="277" y="451"/>
                  </a:lnTo>
                  <a:lnTo>
                    <a:pt x="275" y="449"/>
                  </a:lnTo>
                  <a:lnTo>
                    <a:pt x="277" y="451"/>
                  </a:lnTo>
                  <a:lnTo>
                    <a:pt x="275" y="452"/>
                  </a:lnTo>
                  <a:lnTo>
                    <a:pt x="272" y="449"/>
                  </a:lnTo>
                  <a:lnTo>
                    <a:pt x="268" y="451"/>
                  </a:lnTo>
                  <a:lnTo>
                    <a:pt x="260" y="446"/>
                  </a:lnTo>
                  <a:lnTo>
                    <a:pt x="256" y="447"/>
                  </a:lnTo>
                  <a:lnTo>
                    <a:pt x="258" y="442"/>
                  </a:lnTo>
                  <a:lnTo>
                    <a:pt x="256" y="442"/>
                  </a:lnTo>
                  <a:lnTo>
                    <a:pt x="254" y="446"/>
                  </a:lnTo>
                  <a:lnTo>
                    <a:pt x="251" y="449"/>
                  </a:lnTo>
                  <a:lnTo>
                    <a:pt x="248" y="451"/>
                  </a:lnTo>
                  <a:lnTo>
                    <a:pt x="246" y="447"/>
                  </a:lnTo>
                  <a:lnTo>
                    <a:pt x="249" y="449"/>
                  </a:lnTo>
                  <a:lnTo>
                    <a:pt x="248" y="446"/>
                  </a:lnTo>
                  <a:lnTo>
                    <a:pt x="249" y="447"/>
                  </a:lnTo>
                  <a:lnTo>
                    <a:pt x="249" y="444"/>
                  </a:lnTo>
                  <a:lnTo>
                    <a:pt x="253" y="442"/>
                  </a:lnTo>
                  <a:lnTo>
                    <a:pt x="249" y="439"/>
                  </a:lnTo>
                  <a:lnTo>
                    <a:pt x="248" y="440"/>
                  </a:lnTo>
                  <a:lnTo>
                    <a:pt x="244" y="437"/>
                  </a:lnTo>
                  <a:lnTo>
                    <a:pt x="243" y="440"/>
                  </a:lnTo>
                  <a:lnTo>
                    <a:pt x="241" y="437"/>
                  </a:lnTo>
                  <a:lnTo>
                    <a:pt x="239" y="440"/>
                  </a:lnTo>
                  <a:lnTo>
                    <a:pt x="234" y="435"/>
                  </a:lnTo>
                  <a:lnTo>
                    <a:pt x="234" y="439"/>
                  </a:lnTo>
                  <a:lnTo>
                    <a:pt x="229" y="440"/>
                  </a:lnTo>
                  <a:lnTo>
                    <a:pt x="229" y="435"/>
                  </a:lnTo>
                  <a:lnTo>
                    <a:pt x="225" y="434"/>
                  </a:lnTo>
                  <a:lnTo>
                    <a:pt x="225" y="437"/>
                  </a:lnTo>
                  <a:lnTo>
                    <a:pt x="222" y="435"/>
                  </a:lnTo>
                  <a:lnTo>
                    <a:pt x="222" y="432"/>
                  </a:lnTo>
                  <a:lnTo>
                    <a:pt x="212" y="432"/>
                  </a:lnTo>
                  <a:lnTo>
                    <a:pt x="207" y="428"/>
                  </a:lnTo>
                  <a:lnTo>
                    <a:pt x="210" y="425"/>
                  </a:lnTo>
                  <a:lnTo>
                    <a:pt x="213" y="423"/>
                  </a:lnTo>
                  <a:lnTo>
                    <a:pt x="217" y="428"/>
                  </a:lnTo>
                  <a:lnTo>
                    <a:pt x="212" y="420"/>
                  </a:lnTo>
                  <a:lnTo>
                    <a:pt x="207" y="420"/>
                  </a:lnTo>
                  <a:lnTo>
                    <a:pt x="203" y="423"/>
                  </a:lnTo>
                  <a:lnTo>
                    <a:pt x="195" y="427"/>
                  </a:lnTo>
                  <a:lnTo>
                    <a:pt x="193" y="423"/>
                  </a:lnTo>
                  <a:lnTo>
                    <a:pt x="191" y="428"/>
                  </a:lnTo>
                  <a:lnTo>
                    <a:pt x="188" y="427"/>
                  </a:lnTo>
                  <a:lnTo>
                    <a:pt x="188" y="425"/>
                  </a:lnTo>
                  <a:lnTo>
                    <a:pt x="191" y="425"/>
                  </a:lnTo>
                  <a:lnTo>
                    <a:pt x="186" y="423"/>
                  </a:lnTo>
                  <a:lnTo>
                    <a:pt x="184" y="427"/>
                  </a:lnTo>
                  <a:lnTo>
                    <a:pt x="181" y="423"/>
                  </a:lnTo>
                  <a:lnTo>
                    <a:pt x="181" y="420"/>
                  </a:lnTo>
                  <a:lnTo>
                    <a:pt x="184" y="422"/>
                  </a:lnTo>
                  <a:lnTo>
                    <a:pt x="184" y="413"/>
                  </a:lnTo>
                  <a:lnTo>
                    <a:pt x="183" y="411"/>
                  </a:lnTo>
                  <a:lnTo>
                    <a:pt x="179" y="413"/>
                  </a:lnTo>
                  <a:lnTo>
                    <a:pt x="181" y="416"/>
                  </a:lnTo>
                  <a:lnTo>
                    <a:pt x="178" y="418"/>
                  </a:lnTo>
                  <a:lnTo>
                    <a:pt x="176" y="423"/>
                  </a:lnTo>
                  <a:lnTo>
                    <a:pt x="178" y="418"/>
                  </a:lnTo>
                  <a:lnTo>
                    <a:pt x="172" y="420"/>
                  </a:lnTo>
                  <a:lnTo>
                    <a:pt x="171" y="418"/>
                  </a:lnTo>
                  <a:lnTo>
                    <a:pt x="169" y="415"/>
                  </a:lnTo>
                  <a:lnTo>
                    <a:pt x="171" y="416"/>
                  </a:lnTo>
                  <a:lnTo>
                    <a:pt x="169" y="408"/>
                  </a:lnTo>
                  <a:lnTo>
                    <a:pt x="167" y="408"/>
                  </a:lnTo>
                  <a:lnTo>
                    <a:pt x="166" y="411"/>
                  </a:lnTo>
                  <a:lnTo>
                    <a:pt x="167" y="416"/>
                  </a:lnTo>
                  <a:lnTo>
                    <a:pt x="159" y="415"/>
                  </a:lnTo>
                  <a:lnTo>
                    <a:pt x="159" y="413"/>
                  </a:lnTo>
                  <a:lnTo>
                    <a:pt x="162" y="413"/>
                  </a:lnTo>
                  <a:lnTo>
                    <a:pt x="160" y="411"/>
                  </a:lnTo>
                  <a:lnTo>
                    <a:pt x="162" y="411"/>
                  </a:lnTo>
                  <a:lnTo>
                    <a:pt x="164" y="413"/>
                  </a:lnTo>
                  <a:lnTo>
                    <a:pt x="166" y="406"/>
                  </a:lnTo>
                  <a:lnTo>
                    <a:pt x="176" y="408"/>
                  </a:lnTo>
                  <a:lnTo>
                    <a:pt x="172" y="408"/>
                  </a:lnTo>
                  <a:lnTo>
                    <a:pt x="176" y="411"/>
                  </a:lnTo>
                  <a:lnTo>
                    <a:pt x="178" y="411"/>
                  </a:lnTo>
                  <a:lnTo>
                    <a:pt x="178" y="410"/>
                  </a:lnTo>
                  <a:lnTo>
                    <a:pt x="188" y="411"/>
                  </a:lnTo>
                  <a:lnTo>
                    <a:pt x="190" y="410"/>
                  </a:lnTo>
                  <a:lnTo>
                    <a:pt x="188" y="408"/>
                  </a:lnTo>
                  <a:lnTo>
                    <a:pt x="213" y="408"/>
                  </a:lnTo>
                  <a:lnTo>
                    <a:pt x="227" y="413"/>
                  </a:lnTo>
                  <a:lnTo>
                    <a:pt x="224" y="413"/>
                  </a:lnTo>
                  <a:lnTo>
                    <a:pt x="225" y="415"/>
                  </a:lnTo>
                  <a:lnTo>
                    <a:pt x="234" y="418"/>
                  </a:lnTo>
                  <a:lnTo>
                    <a:pt x="232" y="420"/>
                  </a:lnTo>
                  <a:lnTo>
                    <a:pt x="229" y="420"/>
                  </a:lnTo>
                  <a:lnTo>
                    <a:pt x="231" y="422"/>
                  </a:lnTo>
                  <a:lnTo>
                    <a:pt x="229" y="423"/>
                  </a:lnTo>
                  <a:lnTo>
                    <a:pt x="229" y="428"/>
                  </a:lnTo>
                  <a:lnTo>
                    <a:pt x="231" y="430"/>
                  </a:lnTo>
                  <a:lnTo>
                    <a:pt x="231" y="427"/>
                  </a:lnTo>
                  <a:lnTo>
                    <a:pt x="232" y="423"/>
                  </a:lnTo>
                  <a:lnTo>
                    <a:pt x="237" y="428"/>
                  </a:lnTo>
                  <a:lnTo>
                    <a:pt x="237" y="430"/>
                  </a:lnTo>
                  <a:lnTo>
                    <a:pt x="241" y="435"/>
                  </a:lnTo>
                  <a:lnTo>
                    <a:pt x="241" y="432"/>
                  </a:lnTo>
                  <a:lnTo>
                    <a:pt x="243" y="432"/>
                  </a:lnTo>
                  <a:lnTo>
                    <a:pt x="237" y="425"/>
                  </a:lnTo>
                  <a:lnTo>
                    <a:pt x="249" y="418"/>
                  </a:lnTo>
                  <a:lnTo>
                    <a:pt x="266" y="418"/>
                  </a:lnTo>
                  <a:lnTo>
                    <a:pt x="282" y="423"/>
                  </a:lnTo>
                  <a:lnTo>
                    <a:pt x="280" y="422"/>
                  </a:lnTo>
                  <a:lnTo>
                    <a:pt x="282" y="422"/>
                  </a:lnTo>
                  <a:lnTo>
                    <a:pt x="292" y="422"/>
                  </a:lnTo>
                  <a:lnTo>
                    <a:pt x="287" y="422"/>
                  </a:lnTo>
                  <a:lnTo>
                    <a:pt x="290" y="422"/>
                  </a:lnTo>
                  <a:lnTo>
                    <a:pt x="292" y="425"/>
                  </a:lnTo>
                  <a:lnTo>
                    <a:pt x="294" y="428"/>
                  </a:lnTo>
                  <a:lnTo>
                    <a:pt x="297" y="422"/>
                  </a:lnTo>
                  <a:lnTo>
                    <a:pt x="301" y="420"/>
                  </a:lnTo>
                  <a:lnTo>
                    <a:pt x="314" y="416"/>
                  </a:lnTo>
                  <a:lnTo>
                    <a:pt x="319" y="420"/>
                  </a:lnTo>
                  <a:lnTo>
                    <a:pt x="325" y="416"/>
                  </a:lnTo>
                  <a:lnTo>
                    <a:pt x="331" y="418"/>
                  </a:lnTo>
                  <a:lnTo>
                    <a:pt x="330" y="422"/>
                  </a:lnTo>
                  <a:lnTo>
                    <a:pt x="335" y="425"/>
                  </a:lnTo>
                  <a:lnTo>
                    <a:pt x="337" y="423"/>
                  </a:lnTo>
                  <a:lnTo>
                    <a:pt x="335" y="423"/>
                  </a:lnTo>
                  <a:lnTo>
                    <a:pt x="333" y="425"/>
                  </a:lnTo>
                  <a:lnTo>
                    <a:pt x="330" y="422"/>
                  </a:lnTo>
                  <a:lnTo>
                    <a:pt x="333" y="418"/>
                  </a:lnTo>
                  <a:lnTo>
                    <a:pt x="331" y="416"/>
                  </a:lnTo>
                  <a:lnTo>
                    <a:pt x="343" y="405"/>
                  </a:lnTo>
                  <a:lnTo>
                    <a:pt x="350" y="403"/>
                  </a:lnTo>
                  <a:lnTo>
                    <a:pt x="354" y="408"/>
                  </a:lnTo>
                  <a:lnTo>
                    <a:pt x="352" y="403"/>
                  </a:lnTo>
                  <a:lnTo>
                    <a:pt x="349" y="403"/>
                  </a:lnTo>
                  <a:lnTo>
                    <a:pt x="350" y="398"/>
                  </a:lnTo>
                  <a:lnTo>
                    <a:pt x="352" y="396"/>
                  </a:lnTo>
                  <a:lnTo>
                    <a:pt x="362" y="393"/>
                  </a:lnTo>
                  <a:lnTo>
                    <a:pt x="364" y="393"/>
                  </a:lnTo>
                  <a:lnTo>
                    <a:pt x="371" y="394"/>
                  </a:lnTo>
                  <a:lnTo>
                    <a:pt x="369" y="391"/>
                  </a:lnTo>
                  <a:lnTo>
                    <a:pt x="374" y="389"/>
                  </a:lnTo>
                  <a:lnTo>
                    <a:pt x="378" y="387"/>
                  </a:lnTo>
                  <a:lnTo>
                    <a:pt x="383" y="384"/>
                  </a:lnTo>
                  <a:lnTo>
                    <a:pt x="381" y="384"/>
                  </a:lnTo>
                  <a:lnTo>
                    <a:pt x="378" y="386"/>
                  </a:lnTo>
                  <a:lnTo>
                    <a:pt x="371" y="387"/>
                  </a:lnTo>
                  <a:lnTo>
                    <a:pt x="369" y="387"/>
                  </a:lnTo>
                  <a:lnTo>
                    <a:pt x="345" y="381"/>
                  </a:lnTo>
                  <a:lnTo>
                    <a:pt x="343" y="377"/>
                  </a:lnTo>
                  <a:lnTo>
                    <a:pt x="345" y="374"/>
                  </a:lnTo>
                  <a:lnTo>
                    <a:pt x="343" y="369"/>
                  </a:lnTo>
                  <a:lnTo>
                    <a:pt x="347" y="365"/>
                  </a:lnTo>
                  <a:lnTo>
                    <a:pt x="349" y="367"/>
                  </a:lnTo>
                  <a:lnTo>
                    <a:pt x="349" y="365"/>
                  </a:lnTo>
                  <a:lnTo>
                    <a:pt x="354" y="369"/>
                  </a:lnTo>
                  <a:lnTo>
                    <a:pt x="354" y="375"/>
                  </a:lnTo>
                  <a:lnTo>
                    <a:pt x="355" y="374"/>
                  </a:lnTo>
                  <a:lnTo>
                    <a:pt x="355" y="369"/>
                  </a:lnTo>
                  <a:lnTo>
                    <a:pt x="352" y="364"/>
                  </a:lnTo>
                  <a:lnTo>
                    <a:pt x="352" y="358"/>
                  </a:lnTo>
                  <a:lnTo>
                    <a:pt x="350" y="364"/>
                  </a:lnTo>
                  <a:lnTo>
                    <a:pt x="342" y="365"/>
                  </a:lnTo>
                  <a:lnTo>
                    <a:pt x="342" y="362"/>
                  </a:lnTo>
                  <a:lnTo>
                    <a:pt x="343" y="362"/>
                  </a:lnTo>
                  <a:lnTo>
                    <a:pt x="342" y="360"/>
                  </a:lnTo>
                  <a:lnTo>
                    <a:pt x="342" y="364"/>
                  </a:lnTo>
                  <a:lnTo>
                    <a:pt x="338" y="367"/>
                  </a:lnTo>
                  <a:lnTo>
                    <a:pt x="335" y="367"/>
                  </a:lnTo>
                  <a:lnTo>
                    <a:pt x="338" y="367"/>
                  </a:lnTo>
                  <a:lnTo>
                    <a:pt x="338" y="365"/>
                  </a:lnTo>
                  <a:lnTo>
                    <a:pt x="335" y="365"/>
                  </a:lnTo>
                  <a:lnTo>
                    <a:pt x="333" y="377"/>
                  </a:lnTo>
                  <a:lnTo>
                    <a:pt x="328" y="377"/>
                  </a:lnTo>
                  <a:lnTo>
                    <a:pt x="325" y="374"/>
                  </a:lnTo>
                  <a:lnTo>
                    <a:pt x="326" y="358"/>
                  </a:lnTo>
                  <a:lnTo>
                    <a:pt x="323" y="353"/>
                  </a:lnTo>
                  <a:lnTo>
                    <a:pt x="326" y="350"/>
                  </a:lnTo>
                  <a:lnTo>
                    <a:pt x="323" y="348"/>
                  </a:lnTo>
                  <a:lnTo>
                    <a:pt x="321" y="352"/>
                  </a:lnTo>
                  <a:lnTo>
                    <a:pt x="318" y="352"/>
                  </a:lnTo>
                  <a:lnTo>
                    <a:pt x="318" y="346"/>
                  </a:lnTo>
                  <a:lnTo>
                    <a:pt x="314" y="343"/>
                  </a:lnTo>
                  <a:lnTo>
                    <a:pt x="314" y="340"/>
                  </a:lnTo>
                  <a:lnTo>
                    <a:pt x="316" y="340"/>
                  </a:lnTo>
                  <a:lnTo>
                    <a:pt x="316" y="336"/>
                  </a:lnTo>
                  <a:lnTo>
                    <a:pt x="302" y="336"/>
                  </a:lnTo>
                  <a:lnTo>
                    <a:pt x="302" y="333"/>
                  </a:lnTo>
                  <a:lnTo>
                    <a:pt x="294" y="329"/>
                  </a:lnTo>
                  <a:lnTo>
                    <a:pt x="294" y="331"/>
                  </a:lnTo>
                  <a:lnTo>
                    <a:pt x="290" y="331"/>
                  </a:lnTo>
                  <a:close/>
                  <a:moveTo>
                    <a:pt x="147" y="121"/>
                  </a:moveTo>
                  <a:lnTo>
                    <a:pt x="143" y="114"/>
                  </a:lnTo>
                  <a:lnTo>
                    <a:pt x="140" y="102"/>
                  </a:lnTo>
                  <a:lnTo>
                    <a:pt x="142" y="102"/>
                  </a:lnTo>
                  <a:lnTo>
                    <a:pt x="145" y="102"/>
                  </a:lnTo>
                  <a:lnTo>
                    <a:pt x="143" y="107"/>
                  </a:lnTo>
                  <a:lnTo>
                    <a:pt x="149" y="116"/>
                  </a:lnTo>
                  <a:lnTo>
                    <a:pt x="149" y="121"/>
                  </a:lnTo>
                  <a:lnTo>
                    <a:pt x="147" y="121"/>
                  </a:lnTo>
                  <a:close/>
                  <a:moveTo>
                    <a:pt x="249" y="213"/>
                  </a:moveTo>
                  <a:lnTo>
                    <a:pt x="248" y="217"/>
                  </a:lnTo>
                  <a:lnTo>
                    <a:pt x="253" y="223"/>
                  </a:lnTo>
                  <a:lnTo>
                    <a:pt x="249" y="227"/>
                  </a:lnTo>
                  <a:lnTo>
                    <a:pt x="249" y="229"/>
                  </a:lnTo>
                  <a:lnTo>
                    <a:pt x="248" y="229"/>
                  </a:lnTo>
                  <a:lnTo>
                    <a:pt x="248" y="234"/>
                  </a:lnTo>
                  <a:lnTo>
                    <a:pt x="244" y="235"/>
                  </a:lnTo>
                  <a:lnTo>
                    <a:pt x="232" y="227"/>
                  </a:lnTo>
                  <a:lnTo>
                    <a:pt x="234" y="230"/>
                  </a:lnTo>
                  <a:lnTo>
                    <a:pt x="234" y="232"/>
                  </a:lnTo>
                  <a:lnTo>
                    <a:pt x="222" y="210"/>
                  </a:lnTo>
                  <a:lnTo>
                    <a:pt x="220" y="205"/>
                  </a:lnTo>
                  <a:lnTo>
                    <a:pt x="222" y="199"/>
                  </a:lnTo>
                  <a:lnTo>
                    <a:pt x="232" y="208"/>
                  </a:lnTo>
                  <a:lnTo>
                    <a:pt x="234" y="206"/>
                  </a:lnTo>
                  <a:lnTo>
                    <a:pt x="243" y="208"/>
                  </a:lnTo>
                  <a:lnTo>
                    <a:pt x="243" y="211"/>
                  </a:lnTo>
                  <a:lnTo>
                    <a:pt x="249" y="213"/>
                  </a:lnTo>
                  <a:close/>
                  <a:moveTo>
                    <a:pt x="138" y="408"/>
                  </a:moveTo>
                  <a:lnTo>
                    <a:pt x="130" y="410"/>
                  </a:lnTo>
                  <a:lnTo>
                    <a:pt x="123" y="406"/>
                  </a:lnTo>
                  <a:lnTo>
                    <a:pt x="119" y="401"/>
                  </a:lnTo>
                  <a:lnTo>
                    <a:pt x="123" y="396"/>
                  </a:lnTo>
                  <a:lnTo>
                    <a:pt x="130" y="398"/>
                  </a:lnTo>
                  <a:lnTo>
                    <a:pt x="140" y="394"/>
                  </a:lnTo>
                  <a:lnTo>
                    <a:pt x="143" y="399"/>
                  </a:lnTo>
                  <a:lnTo>
                    <a:pt x="147" y="398"/>
                  </a:lnTo>
                  <a:lnTo>
                    <a:pt x="157" y="401"/>
                  </a:lnTo>
                  <a:lnTo>
                    <a:pt x="160" y="405"/>
                  </a:lnTo>
                  <a:lnTo>
                    <a:pt x="157" y="416"/>
                  </a:lnTo>
                  <a:lnTo>
                    <a:pt x="160" y="420"/>
                  </a:lnTo>
                  <a:lnTo>
                    <a:pt x="160" y="423"/>
                  </a:lnTo>
                  <a:lnTo>
                    <a:pt x="157" y="416"/>
                  </a:lnTo>
                  <a:lnTo>
                    <a:pt x="152" y="418"/>
                  </a:lnTo>
                  <a:lnTo>
                    <a:pt x="149" y="416"/>
                  </a:lnTo>
                  <a:lnTo>
                    <a:pt x="138" y="408"/>
                  </a:lnTo>
                  <a:close/>
                  <a:moveTo>
                    <a:pt x="63" y="398"/>
                  </a:moveTo>
                  <a:lnTo>
                    <a:pt x="63" y="396"/>
                  </a:lnTo>
                  <a:lnTo>
                    <a:pt x="61" y="399"/>
                  </a:lnTo>
                  <a:lnTo>
                    <a:pt x="61" y="394"/>
                  </a:lnTo>
                  <a:lnTo>
                    <a:pt x="60" y="398"/>
                  </a:lnTo>
                  <a:lnTo>
                    <a:pt x="58" y="396"/>
                  </a:lnTo>
                  <a:lnTo>
                    <a:pt x="51" y="393"/>
                  </a:lnTo>
                  <a:lnTo>
                    <a:pt x="41" y="391"/>
                  </a:lnTo>
                  <a:lnTo>
                    <a:pt x="37" y="389"/>
                  </a:lnTo>
                  <a:lnTo>
                    <a:pt x="36" y="384"/>
                  </a:lnTo>
                  <a:lnTo>
                    <a:pt x="41" y="384"/>
                  </a:lnTo>
                  <a:lnTo>
                    <a:pt x="44" y="387"/>
                  </a:lnTo>
                  <a:lnTo>
                    <a:pt x="46" y="386"/>
                  </a:lnTo>
                  <a:lnTo>
                    <a:pt x="48" y="389"/>
                  </a:lnTo>
                  <a:lnTo>
                    <a:pt x="49" y="387"/>
                  </a:lnTo>
                  <a:lnTo>
                    <a:pt x="53" y="391"/>
                  </a:lnTo>
                  <a:lnTo>
                    <a:pt x="53" y="389"/>
                  </a:lnTo>
                  <a:lnTo>
                    <a:pt x="58" y="393"/>
                  </a:lnTo>
                  <a:lnTo>
                    <a:pt x="56" y="387"/>
                  </a:lnTo>
                  <a:lnTo>
                    <a:pt x="60" y="389"/>
                  </a:lnTo>
                  <a:lnTo>
                    <a:pt x="60" y="387"/>
                  </a:lnTo>
                  <a:lnTo>
                    <a:pt x="61" y="386"/>
                  </a:lnTo>
                  <a:lnTo>
                    <a:pt x="63" y="387"/>
                  </a:lnTo>
                  <a:lnTo>
                    <a:pt x="63" y="393"/>
                  </a:lnTo>
                  <a:lnTo>
                    <a:pt x="65" y="389"/>
                  </a:lnTo>
                  <a:lnTo>
                    <a:pt x="68" y="391"/>
                  </a:lnTo>
                  <a:lnTo>
                    <a:pt x="63" y="384"/>
                  </a:lnTo>
                  <a:lnTo>
                    <a:pt x="63" y="379"/>
                  </a:lnTo>
                  <a:lnTo>
                    <a:pt x="75" y="382"/>
                  </a:lnTo>
                  <a:lnTo>
                    <a:pt x="77" y="386"/>
                  </a:lnTo>
                  <a:lnTo>
                    <a:pt x="73" y="387"/>
                  </a:lnTo>
                  <a:lnTo>
                    <a:pt x="72" y="389"/>
                  </a:lnTo>
                  <a:lnTo>
                    <a:pt x="77" y="391"/>
                  </a:lnTo>
                  <a:lnTo>
                    <a:pt x="82" y="389"/>
                  </a:lnTo>
                  <a:lnTo>
                    <a:pt x="80" y="391"/>
                  </a:lnTo>
                  <a:lnTo>
                    <a:pt x="82" y="391"/>
                  </a:lnTo>
                  <a:lnTo>
                    <a:pt x="80" y="393"/>
                  </a:lnTo>
                  <a:lnTo>
                    <a:pt x="82" y="394"/>
                  </a:lnTo>
                  <a:lnTo>
                    <a:pt x="72" y="393"/>
                  </a:lnTo>
                  <a:lnTo>
                    <a:pt x="73" y="393"/>
                  </a:lnTo>
                  <a:lnTo>
                    <a:pt x="70" y="394"/>
                  </a:lnTo>
                  <a:lnTo>
                    <a:pt x="72" y="396"/>
                  </a:lnTo>
                  <a:lnTo>
                    <a:pt x="73" y="394"/>
                  </a:lnTo>
                  <a:lnTo>
                    <a:pt x="73" y="398"/>
                  </a:lnTo>
                  <a:lnTo>
                    <a:pt x="77" y="396"/>
                  </a:lnTo>
                  <a:lnTo>
                    <a:pt x="75" y="399"/>
                  </a:lnTo>
                  <a:lnTo>
                    <a:pt x="68" y="396"/>
                  </a:lnTo>
                  <a:lnTo>
                    <a:pt x="65" y="398"/>
                  </a:lnTo>
                  <a:lnTo>
                    <a:pt x="65" y="396"/>
                  </a:lnTo>
                  <a:lnTo>
                    <a:pt x="63" y="398"/>
                  </a:lnTo>
                  <a:close/>
                  <a:moveTo>
                    <a:pt x="77" y="399"/>
                  </a:moveTo>
                  <a:lnTo>
                    <a:pt x="77" y="396"/>
                  </a:lnTo>
                  <a:lnTo>
                    <a:pt x="82" y="398"/>
                  </a:lnTo>
                  <a:lnTo>
                    <a:pt x="77" y="399"/>
                  </a:lnTo>
                  <a:close/>
                  <a:moveTo>
                    <a:pt x="41" y="379"/>
                  </a:moveTo>
                  <a:lnTo>
                    <a:pt x="37" y="381"/>
                  </a:lnTo>
                  <a:lnTo>
                    <a:pt x="25" y="377"/>
                  </a:lnTo>
                  <a:lnTo>
                    <a:pt x="17" y="381"/>
                  </a:lnTo>
                  <a:lnTo>
                    <a:pt x="0" y="375"/>
                  </a:lnTo>
                  <a:lnTo>
                    <a:pt x="7" y="375"/>
                  </a:lnTo>
                  <a:lnTo>
                    <a:pt x="12" y="374"/>
                  </a:lnTo>
                  <a:lnTo>
                    <a:pt x="14" y="372"/>
                  </a:lnTo>
                  <a:lnTo>
                    <a:pt x="20" y="370"/>
                  </a:lnTo>
                  <a:lnTo>
                    <a:pt x="25" y="375"/>
                  </a:lnTo>
                  <a:lnTo>
                    <a:pt x="25" y="372"/>
                  </a:lnTo>
                  <a:lnTo>
                    <a:pt x="31" y="370"/>
                  </a:lnTo>
                  <a:lnTo>
                    <a:pt x="39" y="374"/>
                  </a:lnTo>
                  <a:lnTo>
                    <a:pt x="41" y="379"/>
                  </a:lnTo>
                  <a:close/>
                  <a:moveTo>
                    <a:pt x="246" y="61"/>
                  </a:moveTo>
                  <a:lnTo>
                    <a:pt x="237" y="58"/>
                  </a:lnTo>
                  <a:lnTo>
                    <a:pt x="234" y="52"/>
                  </a:lnTo>
                  <a:lnTo>
                    <a:pt x="236" y="47"/>
                  </a:lnTo>
                  <a:lnTo>
                    <a:pt x="241" y="46"/>
                  </a:lnTo>
                  <a:lnTo>
                    <a:pt x="244" y="42"/>
                  </a:lnTo>
                  <a:lnTo>
                    <a:pt x="246" y="42"/>
                  </a:lnTo>
                  <a:lnTo>
                    <a:pt x="244" y="46"/>
                  </a:lnTo>
                  <a:lnTo>
                    <a:pt x="246" y="51"/>
                  </a:lnTo>
                  <a:lnTo>
                    <a:pt x="244" y="49"/>
                  </a:lnTo>
                  <a:lnTo>
                    <a:pt x="243" y="49"/>
                  </a:lnTo>
                  <a:lnTo>
                    <a:pt x="243" y="51"/>
                  </a:lnTo>
                  <a:lnTo>
                    <a:pt x="246" y="52"/>
                  </a:lnTo>
                  <a:lnTo>
                    <a:pt x="251" y="59"/>
                  </a:lnTo>
                  <a:lnTo>
                    <a:pt x="258" y="61"/>
                  </a:lnTo>
                  <a:lnTo>
                    <a:pt x="263" y="66"/>
                  </a:lnTo>
                  <a:lnTo>
                    <a:pt x="265" y="71"/>
                  </a:lnTo>
                  <a:lnTo>
                    <a:pt x="263" y="73"/>
                  </a:lnTo>
                  <a:lnTo>
                    <a:pt x="261" y="75"/>
                  </a:lnTo>
                  <a:lnTo>
                    <a:pt x="272" y="92"/>
                  </a:lnTo>
                  <a:lnTo>
                    <a:pt x="278" y="100"/>
                  </a:lnTo>
                  <a:lnTo>
                    <a:pt x="273" y="100"/>
                  </a:lnTo>
                  <a:lnTo>
                    <a:pt x="266" y="93"/>
                  </a:lnTo>
                  <a:lnTo>
                    <a:pt x="254" y="93"/>
                  </a:lnTo>
                  <a:lnTo>
                    <a:pt x="258" y="87"/>
                  </a:lnTo>
                  <a:lnTo>
                    <a:pt x="254" y="85"/>
                  </a:lnTo>
                  <a:lnTo>
                    <a:pt x="254" y="76"/>
                  </a:lnTo>
                  <a:lnTo>
                    <a:pt x="249" y="63"/>
                  </a:lnTo>
                  <a:lnTo>
                    <a:pt x="246" y="61"/>
                  </a:lnTo>
                  <a:close/>
                  <a:moveTo>
                    <a:pt x="610" y="480"/>
                  </a:moveTo>
                  <a:lnTo>
                    <a:pt x="598" y="478"/>
                  </a:lnTo>
                  <a:lnTo>
                    <a:pt x="596" y="476"/>
                  </a:lnTo>
                  <a:lnTo>
                    <a:pt x="601" y="475"/>
                  </a:lnTo>
                  <a:lnTo>
                    <a:pt x="598" y="473"/>
                  </a:lnTo>
                  <a:lnTo>
                    <a:pt x="603" y="471"/>
                  </a:lnTo>
                  <a:lnTo>
                    <a:pt x="610" y="480"/>
                  </a:lnTo>
                  <a:close/>
                  <a:moveTo>
                    <a:pt x="591" y="473"/>
                  </a:moveTo>
                  <a:lnTo>
                    <a:pt x="583" y="475"/>
                  </a:lnTo>
                  <a:lnTo>
                    <a:pt x="579" y="476"/>
                  </a:lnTo>
                  <a:lnTo>
                    <a:pt x="578" y="478"/>
                  </a:lnTo>
                  <a:lnTo>
                    <a:pt x="574" y="476"/>
                  </a:lnTo>
                  <a:lnTo>
                    <a:pt x="574" y="480"/>
                  </a:lnTo>
                  <a:lnTo>
                    <a:pt x="564" y="476"/>
                  </a:lnTo>
                  <a:lnTo>
                    <a:pt x="569" y="476"/>
                  </a:lnTo>
                  <a:lnTo>
                    <a:pt x="569" y="475"/>
                  </a:lnTo>
                  <a:lnTo>
                    <a:pt x="572" y="475"/>
                  </a:lnTo>
                  <a:lnTo>
                    <a:pt x="572" y="473"/>
                  </a:lnTo>
                  <a:lnTo>
                    <a:pt x="586" y="471"/>
                  </a:lnTo>
                  <a:lnTo>
                    <a:pt x="588" y="468"/>
                  </a:lnTo>
                  <a:lnTo>
                    <a:pt x="591" y="469"/>
                  </a:lnTo>
                  <a:lnTo>
                    <a:pt x="588" y="471"/>
                  </a:lnTo>
                  <a:lnTo>
                    <a:pt x="591" y="473"/>
                  </a:lnTo>
                  <a:close/>
                  <a:moveTo>
                    <a:pt x="454" y="469"/>
                  </a:moveTo>
                  <a:lnTo>
                    <a:pt x="451" y="473"/>
                  </a:lnTo>
                  <a:lnTo>
                    <a:pt x="456" y="471"/>
                  </a:lnTo>
                  <a:lnTo>
                    <a:pt x="454" y="475"/>
                  </a:lnTo>
                  <a:lnTo>
                    <a:pt x="449" y="476"/>
                  </a:lnTo>
                  <a:lnTo>
                    <a:pt x="448" y="475"/>
                  </a:lnTo>
                  <a:lnTo>
                    <a:pt x="449" y="471"/>
                  </a:lnTo>
                  <a:lnTo>
                    <a:pt x="448" y="471"/>
                  </a:lnTo>
                  <a:lnTo>
                    <a:pt x="446" y="473"/>
                  </a:lnTo>
                  <a:lnTo>
                    <a:pt x="446" y="471"/>
                  </a:lnTo>
                  <a:lnTo>
                    <a:pt x="446" y="475"/>
                  </a:lnTo>
                  <a:lnTo>
                    <a:pt x="439" y="473"/>
                  </a:lnTo>
                  <a:lnTo>
                    <a:pt x="443" y="469"/>
                  </a:lnTo>
                  <a:lnTo>
                    <a:pt x="437" y="471"/>
                  </a:lnTo>
                  <a:lnTo>
                    <a:pt x="436" y="469"/>
                  </a:lnTo>
                  <a:lnTo>
                    <a:pt x="432" y="473"/>
                  </a:lnTo>
                  <a:lnTo>
                    <a:pt x="429" y="461"/>
                  </a:lnTo>
                  <a:lnTo>
                    <a:pt x="431" y="461"/>
                  </a:lnTo>
                  <a:lnTo>
                    <a:pt x="434" y="466"/>
                  </a:lnTo>
                  <a:lnTo>
                    <a:pt x="432" y="459"/>
                  </a:lnTo>
                  <a:lnTo>
                    <a:pt x="436" y="459"/>
                  </a:lnTo>
                  <a:lnTo>
                    <a:pt x="439" y="464"/>
                  </a:lnTo>
                  <a:lnTo>
                    <a:pt x="441" y="461"/>
                  </a:lnTo>
                  <a:lnTo>
                    <a:pt x="441" y="459"/>
                  </a:lnTo>
                  <a:lnTo>
                    <a:pt x="444" y="461"/>
                  </a:lnTo>
                  <a:lnTo>
                    <a:pt x="446" y="459"/>
                  </a:lnTo>
                  <a:lnTo>
                    <a:pt x="449" y="461"/>
                  </a:lnTo>
                  <a:lnTo>
                    <a:pt x="448" y="463"/>
                  </a:lnTo>
                  <a:lnTo>
                    <a:pt x="448" y="468"/>
                  </a:lnTo>
                  <a:lnTo>
                    <a:pt x="451" y="464"/>
                  </a:lnTo>
                  <a:lnTo>
                    <a:pt x="454" y="469"/>
                  </a:lnTo>
                  <a:close/>
                  <a:moveTo>
                    <a:pt x="808" y="707"/>
                  </a:moveTo>
                  <a:lnTo>
                    <a:pt x="805" y="702"/>
                  </a:lnTo>
                  <a:lnTo>
                    <a:pt x="805" y="707"/>
                  </a:lnTo>
                  <a:lnTo>
                    <a:pt x="796" y="710"/>
                  </a:lnTo>
                  <a:lnTo>
                    <a:pt x="789" y="710"/>
                  </a:lnTo>
                  <a:lnTo>
                    <a:pt x="793" y="705"/>
                  </a:lnTo>
                  <a:lnTo>
                    <a:pt x="793" y="704"/>
                  </a:lnTo>
                  <a:lnTo>
                    <a:pt x="795" y="704"/>
                  </a:lnTo>
                  <a:lnTo>
                    <a:pt x="795" y="702"/>
                  </a:lnTo>
                  <a:lnTo>
                    <a:pt x="798" y="702"/>
                  </a:lnTo>
                  <a:lnTo>
                    <a:pt x="796" y="698"/>
                  </a:lnTo>
                  <a:lnTo>
                    <a:pt x="801" y="702"/>
                  </a:lnTo>
                  <a:lnTo>
                    <a:pt x="803" y="700"/>
                  </a:lnTo>
                  <a:lnTo>
                    <a:pt x="800" y="698"/>
                  </a:lnTo>
                  <a:lnTo>
                    <a:pt x="798" y="695"/>
                  </a:lnTo>
                  <a:lnTo>
                    <a:pt x="803" y="695"/>
                  </a:lnTo>
                  <a:lnTo>
                    <a:pt x="798" y="693"/>
                  </a:lnTo>
                  <a:lnTo>
                    <a:pt x="798" y="690"/>
                  </a:lnTo>
                  <a:lnTo>
                    <a:pt x="801" y="673"/>
                  </a:lnTo>
                  <a:lnTo>
                    <a:pt x="805" y="669"/>
                  </a:lnTo>
                  <a:lnTo>
                    <a:pt x="803" y="671"/>
                  </a:lnTo>
                  <a:lnTo>
                    <a:pt x="801" y="666"/>
                  </a:lnTo>
                  <a:lnTo>
                    <a:pt x="803" y="664"/>
                  </a:lnTo>
                  <a:lnTo>
                    <a:pt x="801" y="663"/>
                  </a:lnTo>
                  <a:lnTo>
                    <a:pt x="803" y="659"/>
                  </a:lnTo>
                  <a:lnTo>
                    <a:pt x="805" y="663"/>
                  </a:lnTo>
                  <a:lnTo>
                    <a:pt x="805" y="669"/>
                  </a:lnTo>
                  <a:lnTo>
                    <a:pt x="817" y="675"/>
                  </a:lnTo>
                  <a:lnTo>
                    <a:pt x="815" y="678"/>
                  </a:lnTo>
                  <a:lnTo>
                    <a:pt x="817" y="690"/>
                  </a:lnTo>
                  <a:lnTo>
                    <a:pt x="815" y="695"/>
                  </a:lnTo>
                  <a:lnTo>
                    <a:pt x="817" y="698"/>
                  </a:lnTo>
                  <a:lnTo>
                    <a:pt x="813" y="693"/>
                  </a:lnTo>
                  <a:lnTo>
                    <a:pt x="813" y="678"/>
                  </a:lnTo>
                  <a:lnTo>
                    <a:pt x="815" y="681"/>
                  </a:lnTo>
                  <a:lnTo>
                    <a:pt x="813" y="676"/>
                  </a:lnTo>
                  <a:lnTo>
                    <a:pt x="813" y="678"/>
                  </a:lnTo>
                  <a:lnTo>
                    <a:pt x="812" y="678"/>
                  </a:lnTo>
                  <a:lnTo>
                    <a:pt x="813" y="681"/>
                  </a:lnTo>
                  <a:lnTo>
                    <a:pt x="812" y="680"/>
                  </a:lnTo>
                  <a:lnTo>
                    <a:pt x="810" y="685"/>
                  </a:lnTo>
                  <a:lnTo>
                    <a:pt x="812" y="692"/>
                  </a:lnTo>
                  <a:lnTo>
                    <a:pt x="812" y="693"/>
                  </a:lnTo>
                  <a:lnTo>
                    <a:pt x="813" y="695"/>
                  </a:lnTo>
                  <a:lnTo>
                    <a:pt x="813" y="702"/>
                  </a:lnTo>
                  <a:lnTo>
                    <a:pt x="808" y="698"/>
                  </a:lnTo>
                  <a:lnTo>
                    <a:pt x="810" y="700"/>
                  </a:lnTo>
                  <a:lnTo>
                    <a:pt x="808" y="700"/>
                  </a:lnTo>
                  <a:lnTo>
                    <a:pt x="810" y="702"/>
                  </a:lnTo>
                  <a:lnTo>
                    <a:pt x="812" y="704"/>
                  </a:lnTo>
                  <a:lnTo>
                    <a:pt x="812" y="705"/>
                  </a:lnTo>
                  <a:lnTo>
                    <a:pt x="808" y="707"/>
                  </a:lnTo>
                  <a:close/>
                  <a:moveTo>
                    <a:pt x="812" y="666"/>
                  </a:moveTo>
                  <a:lnTo>
                    <a:pt x="815" y="673"/>
                  </a:lnTo>
                  <a:lnTo>
                    <a:pt x="808" y="668"/>
                  </a:lnTo>
                  <a:lnTo>
                    <a:pt x="808" y="664"/>
                  </a:lnTo>
                  <a:lnTo>
                    <a:pt x="812" y="666"/>
                  </a:lnTo>
                  <a:close/>
                  <a:moveTo>
                    <a:pt x="777" y="664"/>
                  </a:moveTo>
                  <a:lnTo>
                    <a:pt x="786" y="676"/>
                  </a:lnTo>
                  <a:lnTo>
                    <a:pt x="786" y="678"/>
                  </a:lnTo>
                  <a:lnTo>
                    <a:pt x="784" y="680"/>
                  </a:lnTo>
                  <a:lnTo>
                    <a:pt x="795" y="681"/>
                  </a:lnTo>
                  <a:lnTo>
                    <a:pt x="793" y="692"/>
                  </a:lnTo>
                  <a:lnTo>
                    <a:pt x="788" y="692"/>
                  </a:lnTo>
                  <a:lnTo>
                    <a:pt x="776" y="673"/>
                  </a:lnTo>
                  <a:lnTo>
                    <a:pt x="776" y="678"/>
                  </a:lnTo>
                  <a:lnTo>
                    <a:pt x="774" y="678"/>
                  </a:lnTo>
                  <a:lnTo>
                    <a:pt x="777" y="681"/>
                  </a:lnTo>
                  <a:lnTo>
                    <a:pt x="776" y="681"/>
                  </a:lnTo>
                  <a:lnTo>
                    <a:pt x="777" y="683"/>
                  </a:lnTo>
                  <a:lnTo>
                    <a:pt x="776" y="686"/>
                  </a:lnTo>
                  <a:lnTo>
                    <a:pt x="772" y="688"/>
                  </a:lnTo>
                  <a:lnTo>
                    <a:pt x="769" y="686"/>
                  </a:lnTo>
                  <a:lnTo>
                    <a:pt x="767" y="680"/>
                  </a:lnTo>
                  <a:lnTo>
                    <a:pt x="771" y="685"/>
                  </a:lnTo>
                  <a:lnTo>
                    <a:pt x="767" y="676"/>
                  </a:lnTo>
                  <a:lnTo>
                    <a:pt x="771" y="676"/>
                  </a:lnTo>
                  <a:lnTo>
                    <a:pt x="767" y="675"/>
                  </a:lnTo>
                  <a:lnTo>
                    <a:pt x="769" y="673"/>
                  </a:lnTo>
                  <a:lnTo>
                    <a:pt x="767" y="668"/>
                  </a:lnTo>
                  <a:lnTo>
                    <a:pt x="764" y="666"/>
                  </a:lnTo>
                  <a:lnTo>
                    <a:pt x="764" y="664"/>
                  </a:lnTo>
                  <a:lnTo>
                    <a:pt x="767" y="661"/>
                  </a:lnTo>
                  <a:lnTo>
                    <a:pt x="772" y="668"/>
                  </a:lnTo>
                  <a:lnTo>
                    <a:pt x="767" y="656"/>
                  </a:lnTo>
                  <a:lnTo>
                    <a:pt x="771" y="657"/>
                  </a:lnTo>
                  <a:lnTo>
                    <a:pt x="771" y="652"/>
                  </a:lnTo>
                  <a:lnTo>
                    <a:pt x="772" y="652"/>
                  </a:lnTo>
                  <a:lnTo>
                    <a:pt x="772" y="659"/>
                  </a:lnTo>
                  <a:lnTo>
                    <a:pt x="774" y="661"/>
                  </a:lnTo>
                  <a:lnTo>
                    <a:pt x="774" y="656"/>
                  </a:lnTo>
                  <a:lnTo>
                    <a:pt x="776" y="654"/>
                  </a:lnTo>
                  <a:lnTo>
                    <a:pt x="777" y="657"/>
                  </a:lnTo>
                  <a:lnTo>
                    <a:pt x="784" y="656"/>
                  </a:lnTo>
                  <a:lnTo>
                    <a:pt x="788" y="663"/>
                  </a:lnTo>
                  <a:lnTo>
                    <a:pt x="784" y="666"/>
                  </a:lnTo>
                  <a:lnTo>
                    <a:pt x="781" y="664"/>
                  </a:lnTo>
                  <a:lnTo>
                    <a:pt x="783" y="666"/>
                  </a:lnTo>
                  <a:lnTo>
                    <a:pt x="779" y="666"/>
                  </a:lnTo>
                  <a:lnTo>
                    <a:pt x="783" y="668"/>
                  </a:lnTo>
                  <a:lnTo>
                    <a:pt x="789" y="664"/>
                  </a:lnTo>
                  <a:lnTo>
                    <a:pt x="798" y="671"/>
                  </a:lnTo>
                  <a:lnTo>
                    <a:pt x="798" y="676"/>
                  </a:lnTo>
                  <a:lnTo>
                    <a:pt x="795" y="676"/>
                  </a:lnTo>
                  <a:lnTo>
                    <a:pt x="796" y="680"/>
                  </a:lnTo>
                  <a:lnTo>
                    <a:pt x="791" y="673"/>
                  </a:lnTo>
                  <a:lnTo>
                    <a:pt x="795" y="680"/>
                  </a:lnTo>
                  <a:lnTo>
                    <a:pt x="793" y="680"/>
                  </a:lnTo>
                  <a:lnTo>
                    <a:pt x="788" y="678"/>
                  </a:lnTo>
                  <a:lnTo>
                    <a:pt x="777" y="664"/>
                  </a:lnTo>
                  <a:close/>
                  <a:moveTo>
                    <a:pt x="403" y="490"/>
                  </a:moveTo>
                  <a:lnTo>
                    <a:pt x="401" y="492"/>
                  </a:lnTo>
                  <a:lnTo>
                    <a:pt x="401" y="488"/>
                  </a:lnTo>
                  <a:lnTo>
                    <a:pt x="400" y="492"/>
                  </a:lnTo>
                  <a:lnTo>
                    <a:pt x="395" y="488"/>
                  </a:lnTo>
                  <a:lnTo>
                    <a:pt x="396" y="492"/>
                  </a:lnTo>
                  <a:lnTo>
                    <a:pt x="395" y="492"/>
                  </a:lnTo>
                  <a:lnTo>
                    <a:pt x="396" y="493"/>
                  </a:lnTo>
                  <a:lnTo>
                    <a:pt x="395" y="495"/>
                  </a:lnTo>
                  <a:lnTo>
                    <a:pt x="393" y="492"/>
                  </a:lnTo>
                  <a:lnTo>
                    <a:pt x="390" y="493"/>
                  </a:lnTo>
                  <a:lnTo>
                    <a:pt x="391" y="495"/>
                  </a:lnTo>
                  <a:lnTo>
                    <a:pt x="383" y="495"/>
                  </a:lnTo>
                  <a:lnTo>
                    <a:pt x="379" y="493"/>
                  </a:lnTo>
                  <a:lnTo>
                    <a:pt x="393" y="490"/>
                  </a:lnTo>
                  <a:lnTo>
                    <a:pt x="390" y="488"/>
                  </a:lnTo>
                  <a:lnTo>
                    <a:pt x="396" y="487"/>
                  </a:lnTo>
                  <a:lnTo>
                    <a:pt x="395" y="485"/>
                  </a:lnTo>
                  <a:lnTo>
                    <a:pt x="386" y="487"/>
                  </a:lnTo>
                  <a:lnTo>
                    <a:pt x="388" y="485"/>
                  </a:lnTo>
                  <a:lnTo>
                    <a:pt x="391" y="485"/>
                  </a:lnTo>
                  <a:lnTo>
                    <a:pt x="383" y="476"/>
                  </a:lnTo>
                  <a:lnTo>
                    <a:pt x="381" y="478"/>
                  </a:lnTo>
                  <a:lnTo>
                    <a:pt x="381" y="480"/>
                  </a:lnTo>
                  <a:lnTo>
                    <a:pt x="386" y="480"/>
                  </a:lnTo>
                  <a:lnTo>
                    <a:pt x="390" y="481"/>
                  </a:lnTo>
                  <a:lnTo>
                    <a:pt x="384" y="487"/>
                  </a:lnTo>
                  <a:lnTo>
                    <a:pt x="381" y="487"/>
                  </a:lnTo>
                  <a:lnTo>
                    <a:pt x="379" y="488"/>
                  </a:lnTo>
                  <a:lnTo>
                    <a:pt x="381" y="488"/>
                  </a:lnTo>
                  <a:lnTo>
                    <a:pt x="379" y="488"/>
                  </a:lnTo>
                  <a:lnTo>
                    <a:pt x="381" y="485"/>
                  </a:lnTo>
                  <a:lnTo>
                    <a:pt x="378" y="480"/>
                  </a:lnTo>
                  <a:lnTo>
                    <a:pt x="381" y="475"/>
                  </a:lnTo>
                  <a:lnTo>
                    <a:pt x="383" y="471"/>
                  </a:lnTo>
                  <a:lnTo>
                    <a:pt x="379" y="468"/>
                  </a:lnTo>
                  <a:lnTo>
                    <a:pt x="381" y="468"/>
                  </a:lnTo>
                  <a:lnTo>
                    <a:pt x="379" y="466"/>
                  </a:lnTo>
                  <a:lnTo>
                    <a:pt x="383" y="468"/>
                  </a:lnTo>
                  <a:lnTo>
                    <a:pt x="383" y="464"/>
                  </a:lnTo>
                  <a:lnTo>
                    <a:pt x="390" y="463"/>
                  </a:lnTo>
                  <a:lnTo>
                    <a:pt x="390" y="464"/>
                  </a:lnTo>
                  <a:lnTo>
                    <a:pt x="391" y="463"/>
                  </a:lnTo>
                  <a:lnTo>
                    <a:pt x="393" y="464"/>
                  </a:lnTo>
                  <a:lnTo>
                    <a:pt x="393" y="463"/>
                  </a:lnTo>
                  <a:lnTo>
                    <a:pt x="396" y="463"/>
                  </a:lnTo>
                  <a:lnTo>
                    <a:pt x="398" y="464"/>
                  </a:lnTo>
                  <a:lnTo>
                    <a:pt x="401" y="468"/>
                  </a:lnTo>
                  <a:lnTo>
                    <a:pt x="401" y="469"/>
                  </a:lnTo>
                  <a:lnTo>
                    <a:pt x="398" y="469"/>
                  </a:lnTo>
                  <a:lnTo>
                    <a:pt x="401" y="471"/>
                  </a:lnTo>
                  <a:lnTo>
                    <a:pt x="400" y="476"/>
                  </a:lnTo>
                  <a:lnTo>
                    <a:pt x="401" y="483"/>
                  </a:lnTo>
                  <a:lnTo>
                    <a:pt x="401" y="478"/>
                  </a:lnTo>
                  <a:lnTo>
                    <a:pt x="403" y="471"/>
                  </a:lnTo>
                  <a:lnTo>
                    <a:pt x="407" y="475"/>
                  </a:lnTo>
                  <a:lnTo>
                    <a:pt x="405" y="469"/>
                  </a:lnTo>
                  <a:lnTo>
                    <a:pt x="410" y="475"/>
                  </a:lnTo>
                  <a:lnTo>
                    <a:pt x="405" y="466"/>
                  </a:lnTo>
                  <a:lnTo>
                    <a:pt x="407" y="463"/>
                  </a:lnTo>
                  <a:lnTo>
                    <a:pt x="415" y="464"/>
                  </a:lnTo>
                  <a:lnTo>
                    <a:pt x="412" y="475"/>
                  </a:lnTo>
                  <a:lnTo>
                    <a:pt x="413" y="471"/>
                  </a:lnTo>
                  <a:lnTo>
                    <a:pt x="415" y="473"/>
                  </a:lnTo>
                  <a:lnTo>
                    <a:pt x="415" y="469"/>
                  </a:lnTo>
                  <a:lnTo>
                    <a:pt x="417" y="475"/>
                  </a:lnTo>
                  <a:lnTo>
                    <a:pt x="417" y="468"/>
                  </a:lnTo>
                  <a:lnTo>
                    <a:pt x="420" y="473"/>
                  </a:lnTo>
                  <a:lnTo>
                    <a:pt x="419" y="476"/>
                  </a:lnTo>
                  <a:lnTo>
                    <a:pt x="422" y="469"/>
                  </a:lnTo>
                  <a:lnTo>
                    <a:pt x="425" y="475"/>
                  </a:lnTo>
                  <a:lnTo>
                    <a:pt x="424" y="466"/>
                  </a:lnTo>
                  <a:lnTo>
                    <a:pt x="431" y="475"/>
                  </a:lnTo>
                  <a:lnTo>
                    <a:pt x="427" y="476"/>
                  </a:lnTo>
                  <a:lnTo>
                    <a:pt x="425" y="480"/>
                  </a:lnTo>
                  <a:lnTo>
                    <a:pt x="429" y="476"/>
                  </a:lnTo>
                  <a:lnTo>
                    <a:pt x="434" y="480"/>
                  </a:lnTo>
                  <a:lnTo>
                    <a:pt x="436" y="476"/>
                  </a:lnTo>
                  <a:lnTo>
                    <a:pt x="437" y="485"/>
                  </a:lnTo>
                  <a:lnTo>
                    <a:pt x="432" y="485"/>
                  </a:lnTo>
                  <a:lnTo>
                    <a:pt x="434" y="485"/>
                  </a:lnTo>
                  <a:lnTo>
                    <a:pt x="432" y="487"/>
                  </a:lnTo>
                  <a:lnTo>
                    <a:pt x="434" y="487"/>
                  </a:lnTo>
                  <a:lnTo>
                    <a:pt x="432" y="490"/>
                  </a:lnTo>
                  <a:lnTo>
                    <a:pt x="437" y="493"/>
                  </a:lnTo>
                  <a:lnTo>
                    <a:pt x="429" y="497"/>
                  </a:lnTo>
                  <a:lnTo>
                    <a:pt x="420" y="485"/>
                  </a:lnTo>
                  <a:lnTo>
                    <a:pt x="420" y="487"/>
                  </a:lnTo>
                  <a:lnTo>
                    <a:pt x="417" y="487"/>
                  </a:lnTo>
                  <a:lnTo>
                    <a:pt x="422" y="488"/>
                  </a:lnTo>
                  <a:lnTo>
                    <a:pt x="424" y="493"/>
                  </a:lnTo>
                  <a:lnTo>
                    <a:pt x="422" y="495"/>
                  </a:lnTo>
                  <a:lnTo>
                    <a:pt x="417" y="495"/>
                  </a:lnTo>
                  <a:lnTo>
                    <a:pt x="417" y="492"/>
                  </a:lnTo>
                  <a:lnTo>
                    <a:pt x="412" y="488"/>
                  </a:lnTo>
                  <a:lnTo>
                    <a:pt x="410" y="488"/>
                  </a:lnTo>
                  <a:lnTo>
                    <a:pt x="413" y="493"/>
                  </a:lnTo>
                  <a:lnTo>
                    <a:pt x="405" y="488"/>
                  </a:lnTo>
                  <a:lnTo>
                    <a:pt x="403" y="490"/>
                  </a:lnTo>
                  <a:close/>
                  <a:moveTo>
                    <a:pt x="776" y="739"/>
                  </a:moveTo>
                  <a:lnTo>
                    <a:pt x="772" y="724"/>
                  </a:lnTo>
                  <a:lnTo>
                    <a:pt x="779" y="719"/>
                  </a:lnTo>
                  <a:lnTo>
                    <a:pt x="776" y="721"/>
                  </a:lnTo>
                  <a:lnTo>
                    <a:pt x="779" y="717"/>
                  </a:lnTo>
                  <a:lnTo>
                    <a:pt x="777" y="717"/>
                  </a:lnTo>
                  <a:lnTo>
                    <a:pt x="772" y="721"/>
                  </a:lnTo>
                  <a:lnTo>
                    <a:pt x="774" y="717"/>
                  </a:lnTo>
                  <a:lnTo>
                    <a:pt x="777" y="716"/>
                  </a:lnTo>
                  <a:lnTo>
                    <a:pt x="772" y="717"/>
                  </a:lnTo>
                  <a:lnTo>
                    <a:pt x="776" y="712"/>
                  </a:lnTo>
                  <a:lnTo>
                    <a:pt x="772" y="712"/>
                  </a:lnTo>
                  <a:lnTo>
                    <a:pt x="771" y="709"/>
                  </a:lnTo>
                  <a:lnTo>
                    <a:pt x="774" y="709"/>
                  </a:lnTo>
                  <a:lnTo>
                    <a:pt x="774" y="705"/>
                  </a:lnTo>
                  <a:lnTo>
                    <a:pt x="779" y="705"/>
                  </a:lnTo>
                  <a:lnTo>
                    <a:pt x="774" y="700"/>
                  </a:lnTo>
                  <a:lnTo>
                    <a:pt x="776" y="698"/>
                  </a:lnTo>
                  <a:lnTo>
                    <a:pt x="777" y="698"/>
                  </a:lnTo>
                  <a:lnTo>
                    <a:pt x="774" y="698"/>
                  </a:lnTo>
                  <a:lnTo>
                    <a:pt x="777" y="695"/>
                  </a:lnTo>
                  <a:lnTo>
                    <a:pt x="774" y="693"/>
                  </a:lnTo>
                  <a:lnTo>
                    <a:pt x="772" y="688"/>
                  </a:lnTo>
                  <a:lnTo>
                    <a:pt x="776" y="690"/>
                  </a:lnTo>
                  <a:lnTo>
                    <a:pt x="774" y="688"/>
                  </a:lnTo>
                  <a:lnTo>
                    <a:pt x="777" y="686"/>
                  </a:lnTo>
                  <a:lnTo>
                    <a:pt x="777" y="685"/>
                  </a:lnTo>
                  <a:lnTo>
                    <a:pt x="783" y="686"/>
                  </a:lnTo>
                  <a:lnTo>
                    <a:pt x="779" y="688"/>
                  </a:lnTo>
                  <a:lnTo>
                    <a:pt x="784" y="688"/>
                  </a:lnTo>
                  <a:lnTo>
                    <a:pt x="784" y="690"/>
                  </a:lnTo>
                  <a:lnTo>
                    <a:pt x="788" y="693"/>
                  </a:lnTo>
                  <a:lnTo>
                    <a:pt x="788" y="697"/>
                  </a:lnTo>
                  <a:lnTo>
                    <a:pt x="786" y="695"/>
                  </a:lnTo>
                  <a:lnTo>
                    <a:pt x="788" y="697"/>
                  </a:lnTo>
                  <a:lnTo>
                    <a:pt x="786" y="697"/>
                  </a:lnTo>
                  <a:lnTo>
                    <a:pt x="789" y="700"/>
                  </a:lnTo>
                  <a:lnTo>
                    <a:pt x="786" y="721"/>
                  </a:lnTo>
                  <a:lnTo>
                    <a:pt x="776" y="739"/>
                  </a:lnTo>
                  <a:close/>
                  <a:moveTo>
                    <a:pt x="771" y="690"/>
                  </a:moveTo>
                  <a:lnTo>
                    <a:pt x="772" y="693"/>
                  </a:lnTo>
                  <a:lnTo>
                    <a:pt x="771" y="693"/>
                  </a:lnTo>
                  <a:lnTo>
                    <a:pt x="772" y="697"/>
                  </a:lnTo>
                  <a:lnTo>
                    <a:pt x="767" y="702"/>
                  </a:lnTo>
                  <a:lnTo>
                    <a:pt x="764" y="700"/>
                  </a:lnTo>
                  <a:lnTo>
                    <a:pt x="766" y="697"/>
                  </a:lnTo>
                  <a:lnTo>
                    <a:pt x="769" y="695"/>
                  </a:lnTo>
                  <a:lnTo>
                    <a:pt x="766" y="693"/>
                  </a:lnTo>
                  <a:lnTo>
                    <a:pt x="767" y="688"/>
                  </a:lnTo>
                  <a:lnTo>
                    <a:pt x="771" y="690"/>
                  </a:lnTo>
                  <a:close/>
                  <a:moveTo>
                    <a:pt x="824" y="726"/>
                  </a:moveTo>
                  <a:lnTo>
                    <a:pt x="825" y="731"/>
                  </a:lnTo>
                  <a:lnTo>
                    <a:pt x="822" y="733"/>
                  </a:lnTo>
                  <a:lnTo>
                    <a:pt x="822" y="739"/>
                  </a:lnTo>
                  <a:lnTo>
                    <a:pt x="819" y="739"/>
                  </a:lnTo>
                  <a:lnTo>
                    <a:pt x="815" y="728"/>
                  </a:lnTo>
                  <a:lnTo>
                    <a:pt x="815" y="733"/>
                  </a:lnTo>
                  <a:lnTo>
                    <a:pt x="817" y="734"/>
                  </a:lnTo>
                  <a:lnTo>
                    <a:pt x="815" y="736"/>
                  </a:lnTo>
                  <a:lnTo>
                    <a:pt x="817" y="738"/>
                  </a:lnTo>
                  <a:lnTo>
                    <a:pt x="815" y="738"/>
                  </a:lnTo>
                  <a:lnTo>
                    <a:pt x="817" y="741"/>
                  </a:lnTo>
                  <a:lnTo>
                    <a:pt x="813" y="743"/>
                  </a:lnTo>
                  <a:lnTo>
                    <a:pt x="808" y="739"/>
                  </a:lnTo>
                  <a:lnTo>
                    <a:pt x="808" y="741"/>
                  </a:lnTo>
                  <a:lnTo>
                    <a:pt x="805" y="741"/>
                  </a:lnTo>
                  <a:lnTo>
                    <a:pt x="803" y="739"/>
                  </a:lnTo>
                  <a:lnTo>
                    <a:pt x="805" y="734"/>
                  </a:lnTo>
                  <a:lnTo>
                    <a:pt x="803" y="734"/>
                  </a:lnTo>
                  <a:lnTo>
                    <a:pt x="805" y="734"/>
                  </a:lnTo>
                  <a:lnTo>
                    <a:pt x="805" y="731"/>
                  </a:lnTo>
                  <a:lnTo>
                    <a:pt x="808" y="724"/>
                  </a:lnTo>
                  <a:lnTo>
                    <a:pt x="805" y="726"/>
                  </a:lnTo>
                  <a:lnTo>
                    <a:pt x="805" y="721"/>
                  </a:lnTo>
                  <a:lnTo>
                    <a:pt x="808" y="722"/>
                  </a:lnTo>
                  <a:lnTo>
                    <a:pt x="803" y="716"/>
                  </a:lnTo>
                  <a:lnTo>
                    <a:pt x="807" y="716"/>
                  </a:lnTo>
                  <a:lnTo>
                    <a:pt x="819" y="722"/>
                  </a:lnTo>
                  <a:lnTo>
                    <a:pt x="819" y="726"/>
                  </a:lnTo>
                  <a:lnTo>
                    <a:pt x="819" y="722"/>
                  </a:lnTo>
                  <a:lnTo>
                    <a:pt x="824" y="726"/>
                  </a:lnTo>
                  <a:close/>
                  <a:moveTo>
                    <a:pt x="791" y="750"/>
                  </a:moveTo>
                  <a:lnTo>
                    <a:pt x="789" y="748"/>
                  </a:lnTo>
                  <a:lnTo>
                    <a:pt x="791" y="739"/>
                  </a:lnTo>
                  <a:lnTo>
                    <a:pt x="789" y="745"/>
                  </a:lnTo>
                  <a:lnTo>
                    <a:pt x="788" y="745"/>
                  </a:lnTo>
                  <a:lnTo>
                    <a:pt x="788" y="746"/>
                  </a:lnTo>
                  <a:lnTo>
                    <a:pt x="786" y="751"/>
                  </a:lnTo>
                  <a:lnTo>
                    <a:pt x="784" y="748"/>
                  </a:lnTo>
                  <a:lnTo>
                    <a:pt x="786" y="745"/>
                  </a:lnTo>
                  <a:lnTo>
                    <a:pt x="786" y="739"/>
                  </a:lnTo>
                  <a:lnTo>
                    <a:pt x="789" y="739"/>
                  </a:lnTo>
                  <a:lnTo>
                    <a:pt x="786" y="739"/>
                  </a:lnTo>
                  <a:lnTo>
                    <a:pt x="788" y="736"/>
                  </a:lnTo>
                  <a:lnTo>
                    <a:pt x="791" y="734"/>
                  </a:lnTo>
                  <a:lnTo>
                    <a:pt x="791" y="738"/>
                  </a:lnTo>
                  <a:lnTo>
                    <a:pt x="793" y="736"/>
                  </a:lnTo>
                  <a:lnTo>
                    <a:pt x="793" y="738"/>
                  </a:lnTo>
                  <a:lnTo>
                    <a:pt x="795" y="734"/>
                  </a:lnTo>
                  <a:lnTo>
                    <a:pt x="795" y="731"/>
                  </a:lnTo>
                  <a:lnTo>
                    <a:pt x="793" y="733"/>
                  </a:lnTo>
                  <a:lnTo>
                    <a:pt x="789" y="729"/>
                  </a:lnTo>
                  <a:lnTo>
                    <a:pt x="796" y="728"/>
                  </a:lnTo>
                  <a:lnTo>
                    <a:pt x="791" y="728"/>
                  </a:lnTo>
                  <a:lnTo>
                    <a:pt x="795" y="726"/>
                  </a:lnTo>
                  <a:lnTo>
                    <a:pt x="791" y="726"/>
                  </a:lnTo>
                  <a:lnTo>
                    <a:pt x="791" y="722"/>
                  </a:lnTo>
                  <a:lnTo>
                    <a:pt x="793" y="717"/>
                  </a:lnTo>
                  <a:lnTo>
                    <a:pt x="795" y="721"/>
                  </a:lnTo>
                  <a:lnTo>
                    <a:pt x="795" y="717"/>
                  </a:lnTo>
                  <a:lnTo>
                    <a:pt x="798" y="721"/>
                  </a:lnTo>
                  <a:lnTo>
                    <a:pt x="796" y="716"/>
                  </a:lnTo>
                  <a:lnTo>
                    <a:pt x="801" y="721"/>
                  </a:lnTo>
                  <a:lnTo>
                    <a:pt x="801" y="724"/>
                  </a:lnTo>
                  <a:lnTo>
                    <a:pt x="801" y="728"/>
                  </a:lnTo>
                  <a:lnTo>
                    <a:pt x="798" y="729"/>
                  </a:lnTo>
                  <a:lnTo>
                    <a:pt x="801" y="728"/>
                  </a:lnTo>
                  <a:lnTo>
                    <a:pt x="803" y="724"/>
                  </a:lnTo>
                  <a:lnTo>
                    <a:pt x="807" y="728"/>
                  </a:lnTo>
                  <a:lnTo>
                    <a:pt x="803" y="729"/>
                  </a:lnTo>
                  <a:lnTo>
                    <a:pt x="805" y="733"/>
                  </a:lnTo>
                  <a:lnTo>
                    <a:pt x="803" y="734"/>
                  </a:lnTo>
                  <a:lnTo>
                    <a:pt x="800" y="731"/>
                  </a:lnTo>
                  <a:lnTo>
                    <a:pt x="800" y="733"/>
                  </a:lnTo>
                  <a:lnTo>
                    <a:pt x="798" y="734"/>
                  </a:lnTo>
                  <a:lnTo>
                    <a:pt x="798" y="738"/>
                  </a:lnTo>
                  <a:lnTo>
                    <a:pt x="796" y="738"/>
                  </a:lnTo>
                  <a:lnTo>
                    <a:pt x="796" y="743"/>
                  </a:lnTo>
                  <a:lnTo>
                    <a:pt x="795" y="739"/>
                  </a:lnTo>
                  <a:lnTo>
                    <a:pt x="793" y="743"/>
                  </a:lnTo>
                  <a:lnTo>
                    <a:pt x="795" y="745"/>
                  </a:lnTo>
                  <a:lnTo>
                    <a:pt x="793" y="745"/>
                  </a:lnTo>
                  <a:lnTo>
                    <a:pt x="791" y="750"/>
                  </a:lnTo>
                  <a:close/>
                  <a:moveTo>
                    <a:pt x="827" y="734"/>
                  </a:moveTo>
                  <a:lnTo>
                    <a:pt x="829" y="745"/>
                  </a:lnTo>
                  <a:lnTo>
                    <a:pt x="824" y="743"/>
                  </a:lnTo>
                  <a:lnTo>
                    <a:pt x="824" y="746"/>
                  </a:lnTo>
                  <a:lnTo>
                    <a:pt x="820" y="743"/>
                  </a:lnTo>
                  <a:lnTo>
                    <a:pt x="820" y="741"/>
                  </a:lnTo>
                  <a:lnTo>
                    <a:pt x="822" y="739"/>
                  </a:lnTo>
                  <a:lnTo>
                    <a:pt x="824" y="733"/>
                  </a:lnTo>
                  <a:lnTo>
                    <a:pt x="827" y="734"/>
                  </a:lnTo>
                  <a:close/>
                  <a:moveTo>
                    <a:pt x="832" y="750"/>
                  </a:moveTo>
                  <a:lnTo>
                    <a:pt x="834" y="757"/>
                  </a:lnTo>
                  <a:lnTo>
                    <a:pt x="837" y="758"/>
                  </a:lnTo>
                  <a:lnTo>
                    <a:pt x="837" y="763"/>
                  </a:lnTo>
                  <a:lnTo>
                    <a:pt x="834" y="765"/>
                  </a:lnTo>
                  <a:lnTo>
                    <a:pt x="829" y="758"/>
                  </a:lnTo>
                  <a:lnTo>
                    <a:pt x="829" y="757"/>
                  </a:lnTo>
                  <a:lnTo>
                    <a:pt x="832" y="750"/>
                  </a:lnTo>
                  <a:close/>
                  <a:moveTo>
                    <a:pt x="824" y="748"/>
                  </a:moveTo>
                  <a:lnTo>
                    <a:pt x="825" y="750"/>
                  </a:lnTo>
                  <a:lnTo>
                    <a:pt x="822" y="755"/>
                  </a:lnTo>
                  <a:lnTo>
                    <a:pt x="817" y="755"/>
                  </a:lnTo>
                  <a:lnTo>
                    <a:pt x="815" y="748"/>
                  </a:lnTo>
                  <a:lnTo>
                    <a:pt x="819" y="746"/>
                  </a:lnTo>
                  <a:lnTo>
                    <a:pt x="824" y="748"/>
                  </a:lnTo>
                  <a:close/>
                  <a:moveTo>
                    <a:pt x="815" y="784"/>
                  </a:moveTo>
                  <a:lnTo>
                    <a:pt x="819" y="787"/>
                  </a:lnTo>
                  <a:lnTo>
                    <a:pt x="813" y="787"/>
                  </a:lnTo>
                  <a:lnTo>
                    <a:pt x="819" y="789"/>
                  </a:lnTo>
                  <a:lnTo>
                    <a:pt x="820" y="791"/>
                  </a:lnTo>
                  <a:lnTo>
                    <a:pt x="820" y="796"/>
                  </a:lnTo>
                  <a:lnTo>
                    <a:pt x="817" y="794"/>
                  </a:lnTo>
                  <a:lnTo>
                    <a:pt x="817" y="798"/>
                  </a:lnTo>
                  <a:lnTo>
                    <a:pt x="820" y="798"/>
                  </a:lnTo>
                  <a:lnTo>
                    <a:pt x="822" y="796"/>
                  </a:lnTo>
                  <a:lnTo>
                    <a:pt x="822" y="798"/>
                  </a:lnTo>
                  <a:lnTo>
                    <a:pt x="820" y="803"/>
                  </a:lnTo>
                  <a:lnTo>
                    <a:pt x="819" y="801"/>
                  </a:lnTo>
                  <a:lnTo>
                    <a:pt x="819" y="804"/>
                  </a:lnTo>
                  <a:lnTo>
                    <a:pt x="813" y="804"/>
                  </a:lnTo>
                  <a:lnTo>
                    <a:pt x="820" y="804"/>
                  </a:lnTo>
                  <a:lnTo>
                    <a:pt x="819" y="806"/>
                  </a:lnTo>
                  <a:lnTo>
                    <a:pt x="819" y="810"/>
                  </a:lnTo>
                  <a:lnTo>
                    <a:pt x="817" y="810"/>
                  </a:lnTo>
                  <a:lnTo>
                    <a:pt x="817" y="815"/>
                  </a:lnTo>
                  <a:lnTo>
                    <a:pt x="815" y="813"/>
                  </a:lnTo>
                  <a:lnTo>
                    <a:pt x="815" y="816"/>
                  </a:lnTo>
                  <a:lnTo>
                    <a:pt x="808" y="813"/>
                  </a:lnTo>
                  <a:lnTo>
                    <a:pt x="812" y="811"/>
                  </a:lnTo>
                  <a:lnTo>
                    <a:pt x="808" y="810"/>
                  </a:lnTo>
                  <a:lnTo>
                    <a:pt x="810" y="810"/>
                  </a:lnTo>
                  <a:lnTo>
                    <a:pt x="808" y="804"/>
                  </a:lnTo>
                  <a:lnTo>
                    <a:pt x="810" y="801"/>
                  </a:lnTo>
                  <a:lnTo>
                    <a:pt x="807" y="804"/>
                  </a:lnTo>
                  <a:lnTo>
                    <a:pt x="808" y="803"/>
                  </a:lnTo>
                  <a:lnTo>
                    <a:pt x="807" y="803"/>
                  </a:lnTo>
                  <a:lnTo>
                    <a:pt x="805" y="801"/>
                  </a:lnTo>
                  <a:lnTo>
                    <a:pt x="807" y="801"/>
                  </a:lnTo>
                  <a:lnTo>
                    <a:pt x="807" y="799"/>
                  </a:lnTo>
                  <a:lnTo>
                    <a:pt x="808" y="799"/>
                  </a:lnTo>
                  <a:lnTo>
                    <a:pt x="808" y="796"/>
                  </a:lnTo>
                  <a:lnTo>
                    <a:pt x="807" y="798"/>
                  </a:lnTo>
                  <a:lnTo>
                    <a:pt x="808" y="794"/>
                  </a:lnTo>
                  <a:lnTo>
                    <a:pt x="808" y="791"/>
                  </a:lnTo>
                  <a:lnTo>
                    <a:pt x="807" y="794"/>
                  </a:lnTo>
                  <a:lnTo>
                    <a:pt x="805" y="794"/>
                  </a:lnTo>
                  <a:lnTo>
                    <a:pt x="803" y="792"/>
                  </a:lnTo>
                  <a:lnTo>
                    <a:pt x="805" y="789"/>
                  </a:lnTo>
                  <a:lnTo>
                    <a:pt x="800" y="789"/>
                  </a:lnTo>
                  <a:lnTo>
                    <a:pt x="803" y="787"/>
                  </a:lnTo>
                  <a:lnTo>
                    <a:pt x="795" y="784"/>
                  </a:lnTo>
                  <a:lnTo>
                    <a:pt x="795" y="782"/>
                  </a:lnTo>
                  <a:lnTo>
                    <a:pt x="798" y="780"/>
                  </a:lnTo>
                  <a:lnTo>
                    <a:pt x="805" y="786"/>
                  </a:lnTo>
                  <a:lnTo>
                    <a:pt x="801" y="784"/>
                  </a:lnTo>
                  <a:lnTo>
                    <a:pt x="801" y="780"/>
                  </a:lnTo>
                  <a:lnTo>
                    <a:pt x="803" y="780"/>
                  </a:lnTo>
                  <a:lnTo>
                    <a:pt x="800" y="779"/>
                  </a:lnTo>
                  <a:lnTo>
                    <a:pt x="803" y="775"/>
                  </a:lnTo>
                  <a:lnTo>
                    <a:pt x="807" y="775"/>
                  </a:lnTo>
                  <a:lnTo>
                    <a:pt x="798" y="774"/>
                  </a:lnTo>
                  <a:lnTo>
                    <a:pt x="796" y="772"/>
                  </a:lnTo>
                  <a:lnTo>
                    <a:pt x="798" y="767"/>
                  </a:lnTo>
                  <a:lnTo>
                    <a:pt x="801" y="769"/>
                  </a:lnTo>
                  <a:lnTo>
                    <a:pt x="807" y="763"/>
                  </a:lnTo>
                  <a:lnTo>
                    <a:pt x="803" y="762"/>
                  </a:lnTo>
                  <a:lnTo>
                    <a:pt x="807" y="753"/>
                  </a:lnTo>
                  <a:lnTo>
                    <a:pt x="800" y="748"/>
                  </a:lnTo>
                  <a:lnTo>
                    <a:pt x="801" y="745"/>
                  </a:lnTo>
                  <a:lnTo>
                    <a:pt x="803" y="745"/>
                  </a:lnTo>
                  <a:lnTo>
                    <a:pt x="801" y="743"/>
                  </a:lnTo>
                  <a:lnTo>
                    <a:pt x="808" y="746"/>
                  </a:lnTo>
                  <a:lnTo>
                    <a:pt x="808" y="748"/>
                  </a:lnTo>
                  <a:lnTo>
                    <a:pt x="812" y="748"/>
                  </a:lnTo>
                  <a:lnTo>
                    <a:pt x="813" y="751"/>
                  </a:lnTo>
                  <a:lnTo>
                    <a:pt x="813" y="755"/>
                  </a:lnTo>
                  <a:lnTo>
                    <a:pt x="810" y="755"/>
                  </a:lnTo>
                  <a:lnTo>
                    <a:pt x="810" y="758"/>
                  </a:lnTo>
                  <a:lnTo>
                    <a:pt x="817" y="763"/>
                  </a:lnTo>
                  <a:lnTo>
                    <a:pt x="819" y="772"/>
                  </a:lnTo>
                  <a:lnTo>
                    <a:pt x="819" y="779"/>
                  </a:lnTo>
                  <a:lnTo>
                    <a:pt x="820" y="779"/>
                  </a:lnTo>
                  <a:lnTo>
                    <a:pt x="820" y="784"/>
                  </a:lnTo>
                  <a:lnTo>
                    <a:pt x="822" y="787"/>
                  </a:lnTo>
                  <a:lnTo>
                    <a:pt x="822" y="789"/>
                  </a:lnTo>
                  <a:lnTo>
                    <a:pt x="815" y="779"/>
                  </a:lnTo>
                  <a:lnTo>
                    <a:pt x="813" y="780"/>
                  </a:lnTo>
                  <a:lnTo>
                    <a:pt x="815" y="782"/>
                  </a:lnTo>
                  <a:lnTo>
                    <a:pt x="810" y="784"/>
                  </a:lnTo>
                  <a:lnTo>
                    <a:pt x="815" y="784"/>
                  </a:lnTo>
                  <a:close/>
                  <a:moveTo>
                    <a:pt x="829" y="755"/>
                  </a:moveTo>
                  <a:lnTo>
                    <a:pt x="827" y="758"/>
                  </a:lnTo>
                  <a:lnTo>
                    <a:pt x="825" y="758"/>
                  </a:lnTo>
                  <a:lnTo>
                    <a:pt x="829" y="760"/>
                  </a:lnTo>
                  <a:lnTo>
                    <a:pt x="832" y="765"/>
                  </a:lnTo>
                  <a:lnTo>
                    <a:pt x="830" y="765"/>
                  </a:lnTo>
                  <a:lnTo>
                    <a:pt x="829" y="772"/>
                  </a:lnTo>
                  <a:lnTo>
                    <a:pt x="829" y="770"/>
                  </a:lnTo>
                  <a:lnTo>
                    <a:pt x="824" y="770"/>
                  </a:lnTo>
                  <a:lnTo>
                    <a:pt x="824" y="769"/>
                  </a:lnTo>
                  <a:lnTo>
                    <a:pt x="825" y="765"/>
                  </a:lnTo>
                  <a:lnTo>
                    <a:pt x="820" y="763"/>
                  </a:lnTo>
                  <a:lnTo>
                    <a:pt x="819" y="760"/>
                  </a:lnTo>
                  <a:lnTo>
                    <a:pt x="820" y="757"/>
                  </a:lnTo>
                  <a:lnTo>
                    <a:pt x="824" y="757"/>
                  </a:lnTo>
                  <a:lnTo>
                    <a:pt x="827" y="753"/>
                  </a:lnTo>
                  <a:lnTo>
                    <a:pt x="829" y="755"/>
                  </a:lnTo>
                  <a:close/>
                  <a:moveTo>
                    <a:pt x="807" y="753"/>
                  </a:moveTo>
                  <a:lnTo>
                    <a:pt x="803" y="758"/>
                  </a:lnTo>
                  <a:lnTo>
                    <a:pt x="800" y="757"/>
                  </a:lnTo>
                  <a:lnTo>
                    <a:pt x="796" y="758"/>
                  </a:lnTo>
                  <a:lnTo>
                    <a:pt x="791" y="757"/>
                  </a:lnTo>
                  <a:lnTo>
                    <a:pt x="796" y="753"/>
                  </a:lnTo>
                  <a:lnTo>
                    <a:pt x="801" y="753"/>
                  </a:lnTo>
                  <a:lnTo>
                    <a:pt x="798" y="751"/>
                  </a:lnTo>
                  <a:lnTo>
                    <a:pt x="807" y="753"/>
                  </a:lnTo>
                  <a:close/>
                  <a:moveTo>
                    <a:pt x="832" y="798"/>
                  </a:moveTo>
                  <a:lnTo>
                    <a:pt x="829" y="791"/>
                  </a:lnTo>
                  <a:lnTo>
                    <a:pt x="834" y="789"/>
                  </a:lnTo>
                  <a:lnTo>
                    <a:pt x="836" y="787"/>
                  </a:lnTo>
                  <a:lnTo>
                    <a:pt x="834" y="786"/>
                  </a:lnTo>
                  <a:lnTo>
                    <a:pt x="836" y="784"/>
                  </a:lnTo>
                  <a:lnTo>
                    <a:pt x="841" y="784"/>
                  </a:lnTo>
                  <a:lnTo>
                    <a:pt x="836" y="782"/>
                  </a:lnTo>
                  <a:lnTo>
                    <a:pt x="842" y="782"/>
                  </a:lnTo>
                  <a:lnTo>
                    <a:pt x="837" y="779"/>
                  </a:lnTo>
                  <a:lnTo>
                    <a:pt x="844" y="780"/>
                  </a:lnTo>
                  <a:lnTo>
                    <a:pt x="841" y="777"/>
                  </a:lnTo>
                  <a:lnTo>
                    <a:pt x="849" y="779"/>
                  </a:lnTo>
                  <a:lnTo>
                    <a:pt x="853" y="792"/>
                  </a:lnTo>
                  <a:lnTo>
                    <a:pt x="848" y="801"/>
                  </a:lnTo>
                  <a:lnTo>
                    <a:pt x="848" y="799"/>
                  </a:lnTo>
                  <a:lnTo>
                    <a:pt x="844" y="804"/>
                  </a:lnTo>
                  <a:lnTo>
                    <a:pt x="841" y="806"/>
                  </a:lnTo>
                  <a:lnTo>
                    <a:pt x="837" y="804"/>
                  </a:lnTo>
                  <a:lnTo>
                    <a:pt x="841" y="803"/>
                  </a:lnTo>
                  <a:lnTo>
                    <a:pt x="842" y="798"/>
                  </a:lnTo>
                  <a:lnTo>
                    <a:pt x="839" y="803"/>
                  </a:lnTo>
                  <a:lnTo>
                    <a:pt x="836" y="801"/>
                  </a:lnTo>
                  <a:lnTo>
                    <a:pt x="842" y="796"/>
                  </a:lnTo>
                  <a:lnTo>
                    <a:pt x="842" y="789"/>
                  </a:lnTo>
                  <a:lnTo>
                    <a:pt x="841" y="798"/>
                  </a:lnTo>
                  <a:lnTo>
                    <a:pt x="836" y="799"/>
                  </a:lnTo>
                  <a:lnTo>
                    <a:pt x="839" y="792"/>
                  </a:lnTo>
                  <a:lnTo>
                    <a:pt x="837" y="792"/>
                  </a:lnTo>
                  <a:lnTo>
                    <a:pt x="836" y="798"/>
                  </a:lnTo>
                  <a:lnTo>
                    <a:pt x="834" y="799"/>
                  </a:lnTo>
                  <a:lnTo>
                    <a:pt x="832" y="798"/>
                  </a:lnTo>
                  <a:close/>
                  <a:moveTo>
                    <a:pt x="829" y="792"/>
                  </a:moveTo>
                  <a:lnTo>
                    <a:pt x="832" y="799"/>
                  </a:lnTo>
                  <a:lnTo>
                    <a:pt x="827" y="799"/>
                  </a:lnTo>
                  <a:lnTo>
                    <a:pt x="827" y="803"/>
                  </a:lnTo>
                  <a:lnTo>
                    <a:pt x="825" y="799"/>
                  </a:lnTo>
                  <a:lnTo>
                    <a:pt x="827" y="794"/>
                  </a:lnTo>
                  <a:lnTo>
                    <a:pt x="829" y="792"/>
                  </a:lnTo>
                  <a:close/>
                  <a:moveTo>
                    <a:pt x="834" y="803"/>
                  </a:moveTo>
                  <a:lnTo>
                    <a:pt x="836" y="804"/>
                  </a:lnTo>
                  <a:lnTo>
                    <a:pt x="834" y="810"/>
                  </a:lnTo>
                  <a:lnTo>
                    <a:pt x="830" y="811"/>
                  </a:lnTo>
                  <a:lnTo>
                    <a:pt x="830" y="806"/>
                  </a:lnTo>
                  <a:lnTo>
                    <a:pt x="830" y="810"/>
                  </a:lnTo>
                  <a:lnTo>
                    <a:pt x="829" y="810"/>
                  </a:lnTo>
                  <a:lnTo>
                    <a:pt x="830" y="806"/>
                  </a:lnTo>
                  <a:lnTo>
                    <a:pt x="832" y="806"/>
                  </a:lnTo>
                  <a:lnTo>
                    <a:pt x="832" y="801"/>
                  </a:lnTo>
                  <a:lnTo>
                    <a:pt x="834" y="803"/>
                  </a:lnTo>
                  <a:close/>
                  <a:moveTo>
                    <a:pt x="798" y="787"/>
                  </a:moveTo>
                  <a:lnTo>
                    <a:pt x="798" y="794"/>
                  </a:lnTo>
                  <a:lnTo>
                    <a:pt x="796" y="792"/>
                  </a:lnTo>
                  <a:lnTo>
                    <a:pt x="800" y="806"/>
                  </a:lnTo>
                  <a:lnTo>
                    <a:pt x="800" y="808"/>
                  </a:lnTo>
                  <a:lnTo>
                    <a:pt x="798" y="808"/>
                  </a:lnTo>
                  <a:lnTo>
                    <a:pt x="798" y="811"/>
                  </a:lnTo>
                  <a:lnTo>
                    <a:pt x="795" y="810"/>
                  </a:lnTo>
                  <a:lnTo>
                    <a:pt x="795" y="804"/>
                  </a:lnTo>
                  <a:lnTo>
                    <a:pt x="796" y="803"/>
                  </a:lnTo>
                  <a:lnTo>
                    <a:pt x="791" y="798"/>
                  </a:lnTo>
                  <a:lnTo>
                    <a:pt x="793" y="791"/>
                  </a:lnTo>
                  <a:lnTo>
                    <a:pt x="795" y="792"/>
                  </a:lnTo>
                  <a:lnTo>
                    <a:pt x="793" y="789"/>
                  </a:lnTo>
                  <a:lnTo>
                    <a:pt x="798" y="787"/>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sp>
          <p:nvSpPr>
            <p:cNvPr id="178" name="Freeform 184"/>
            <p:cNvSpPr>
              <a:spLocks noEditPoints="1"/>
            </p:cNvSpPr>
            <p:nvPr/>
          </p:nvSpPr>
          <p:spPr bwMode="gray">
            <a:xfrm>
              <a:off x="1374041" y="4715875"/>
              <a:ext cx="423499" cy="853439"/>
            </a:xfrm>
            <a:custGeom>
              <a:avLst/>
              <a:gdLst/>
              <a:ahLst/>
              <a:cxnLst>
                <a:cxn ang="0">
                  <a:pos x="46" y="4"/>
                </a:cxn>
                <a:cxn ang="0">
                  <a:pos x="37" y="18"/>
                </a:cxn>
                <a:cxn ang="0">
                  <a:pos x="15" y="24"/>
                </a:cxn>
                <a:cxn ang="0">
                  <a:pos x="5" y="6"/>
                </a:cxn>
                <a:cxn ang="0">
                  <a:pos x="44" y="0"/>
                </a:cxn>
                <a:cxn ang="0">
                  <a:pos x="124" y="190"/>
                </a:cxn>
                <a:cxn ang="0">
                  <a:pos x="111" y="183"/>
                </a:cxn>
                <a:cxn ang="0">
                  <a:pos x="104" y="170"/>
                </a:cxn>
                <a:cxn ang="0">
                  <a:pos x="92" y="154"/>
                </a:cxn>
                <a:cxn ang="0">
                  <a:pos x="94" y="130"/>
                </a:cxn>
                <a:cxn ang="0">
                  <a:pos x="107" y="135"/>
                </a:cxn>
                <a:cxn ang="0">
                  <a:pos x="126" y="134"/>
                </a:cxn>
                <a:cxn ang="0">
                  <a:pos x="124" y="159"/>
                </a:cxn>
                <a:cxn ang="0">
                  <a:pos x="129" y="170"/>
                </a:cxn>
                <a:cxn ang="0">
                  <a:pos x="126" y="188"/>
                </a:cxn>
                <a:cxn ang="0">
                  <a:pos x="188" y="267"/>
                </a:cxn>
                <a:cxn ang="0">
                  <a:pos x="165" y="243"/>
                </a:cxn>
                <a:cxn ang="0">
                  <a:pos x="147" y="226"/>
                </a:cxn>
                <a:cxn ang="0">
                  <a:pos x="160" y="223"/>
                </a:cxn>
                <a:cxn ang="0">
                  <a:pos x="176" y="241"/>
                </a:cxn>
                <a:cxn ang="0">
                  <a:pos x="181" y="241"/>
                </a:cxn>
                <a:cxn ang="0">
                  <a:pos x="182" y="248"/>
                </a:cxn>
                <a:cxn ang="0">
                  <a:pos x="198" y="264"/>
                </a:cxn>
                <a:cxn ang="0">
                  <a:pos x="167" y="269"/>
                </a:cxn>
                <a:cxn ang="0">
                  <a:pos x="167" y="288"/>
                </a:cxn>
                <a:cxn ang="0">
                  <a:pos x="150" y="282"/>
                </a:cxn>
                <a:cxn ang="0">
                  <a:pos x="155" y="272"/>
                </a:cxn>
                <a:cxn ang="0">
                  <a:pos x="157" y="260"/>
                </a:cxn>
                <a:cxn ang="0">
                  <a:pos x="200" y="339"/>
                </a:cxn>
                <a:cxn ang="0">
                  <a:pos x="188" y="325"/>
                </a:cxn>
                <a:cxn ang="0">
                  <a:pos x="194" y="308"/>
                </a:cxn>
                <a:cxn ang="0">
                  <a:pos x="182" y="298"/>
                </a:cxn>
                <a:cxn ang="0">
                  <a:pos x="194" y="277"/>
                </a:cxn>
                <a:cxn ang="0">
                  <a:pos x="203" y="289"/>
                </a:cxn>
                <a:cxn ang="0">
                  <a:pos x="215" y="303"/>
                </a:cxn>
                <a:cxn ang="0">
                  <a:pos x="235" y="337"/>
                </a:cxn>
                <a:cxn ang="0">
                  <a:pos x="223" y="347"/>
                </a:cxn>
                <a:cxn ang="0">
                  <a:pos x="210" y="341"/>
                </a:cxn>
                <a:cxn ang="0">
                  <a:pos x="143" y="508"/>
                </a:cxn>
                <a:cxn ang="0">
                  <a:pos x="140" y="489"/>
                </a:cxn>
                <a:cxn ang="0">
                  <a:pos x="159" y="455"/>
                </a:cxn>
                <a:cxn ang="0">
                  <a:pos x="169" y="424"/>
                </a:cxn>
                <a:cxn ang="0">
                  <a:pos x="193" y="421"/>
                </a:cxn>
                <a:cxn ang="0">
                  <a:pos x="205" y="412"/>
                </a:cxn>
                <a:cxn ang="0">
                  <a:pos x="217" y="394"/>
                </a:cxn>
                <a:cxn ang="0">
                  <a:pos x="234" y="424"/>
                </a:cxn>
                <a:cxn ang="0">
                  <a:pos x="258" y="476"/>
                </a:cxn>
                <a:cxn ang="0">
                  <a:pos x="259" y="494"/>
                </a:cxn>
                <a:cxn ang="0">
                  <a:pos x="263" y="523"/>
                </a:cxn>
                <a:cxn ang="0">
                  <a:pos x="244" y="527"/>
                </a:cxn>
                <a:cxn ang="0">
                  <a:pos x="215" y="525"/>
                </a:cxn>
                <a:cxn ang="0">
                  <a:pos x="172" y="515"/>
                </a:cxn>
                <a:cxn ang="0">
                  <a:pos x="148" y="522"/>
                </a:cxn>
              </a:cxnLst>
              <a:rect l="0" t="0" r="r" b="b"/>
              <a:pathLst>
                <a:path w="263" h="530">
                  <a:moveTo>
                    <a:pt x="44" y="0"/>
                  </a:moveTo>
                  <a:lnTo>
                    <a:pt x="46" y="4"/>
                  </a:lnTo>
                  <a:lnTo>
                    <a:pt x="44" y="12"/>
                  </a:lnTo>
                  <a:lnTo>
                    <a:pt x="37" y="18"/>
                  </a:lnTo>
                  <a:lnTo>
                    <a:pt x="30" y="24"/>
                  </a:lnTo>
                  <a:lnTo>
                    <a:pt x="15" y="24"/>
                  </a:lnTo>
                  <a:lnTo>
                    <a:pt x="5" y="14"/>
                  </a:lnTo>
                  <a:lnTo>
                    <a:pt x="5" y="6"/>
                  </a:lnTo>
                  <a:lnTo>
                    <a:pt x="0" y="0"/>
                  </a:lnTo>
                  <a:lnTo>
                    <a:pt x="44" y="0"/>
                  </a:lnTo>
                  <a:close/>
                  <a:moveTo>
                    <a:pt x="126" y="188"/>
                  </a:moveTo>
                  <a:lnTo>
                    <a:pt x="124" y="190"/>
                  </a:lnTo>
                  <a:lnTo>
                    <a:pt x="121" y="187"/>
                  </a:lnTo>
                  <a:lnTo>
                    <a:pt x="111" y="183"/>
                  </a:lnTo>
                  <a:lnTo>
                    <a:pt x="109" y="171"/>
                  </a:lnTo>
                  <a:lnTo>
                    <a:pt x="104" y="170"/>
                  </a:lnTo>
                  <a:lnTo>
                    <a:pt x="90" y="161"/>
                  </a:lnTo>
                  <a:lnTo>
                    <a:pt x="92" y="154"/>
                  </a:lnTo>
                  <a:lnTo>
                    <a:pt x="90" y="137"/>
                  </a:lnTo>
                  <a:lnTo>
                    <a:pt x="94" y="130"/>
                  </a:lnTo>
                  <a:lnTo>
                    <a:pt x="95" y="125"/>
                  </a:lnTo>
                  <a:lnTo>
                    <a:pt x="107" y="135"/>
                  </a:lnTo>
                  <a:lnTo>
                    <a:pt x="119" y="132"/>
                  </a:lnTo>
                  <a:lnTo>
                    <a:pt x="126" y="134"/>
                  </a:lnTo>
                  <a:lnTo>
                    <a:pt x="128" y="144"/>
                  </a:lnTo>
                  <a:lnTo>
                    <a:pt x="124" y="159"/>
                  </a:lnTo>
                  <a:lnTo>
                    <a:pt x="123" y="168"/>
                  </a:lnTo>
                  <a:lnTo>
                    <a:pt x="129" y="170"/>
                  </a:lnTo>
                  <a:lnTo>
                    <a:pt x="128" y="178"/>
                  </a:lnTo>
                  <a:lnTo>
                    <a:pt x="126" y="188"/>
                  </a:lnTo>
                  <a:close/>
                  <a:moveTo>
                    <a:pt x="198" y="264"/>
                  </a:moveTo>
                  <a:lnTo>
                    <a:pt x="188" y="267"/>
                  </a:lnTo>
                  <a:lnTo>
                    <a:pt x="177" y="260"/>
                  </a:lnTo>
                  <a:lnTo>
                    <a:pt x="165" y="243"/>
                  </a:lnTo>
                  <a:lnTo>
                    <a:pt x="145" y="231"/>
                  </a:lnTo>
                  <a:lnTo>
                    <a:pt x="147" y="226"/>
                  </a:lnTo>
                  <a:lnTo>
                    <a:pt x="153" y="228"/>
                  </a:lnTo>
                  <a:lnTo>
                    <a:pt x="160" y="223"/>
                  </a:lnTo>
                  <a:lnTo>
                    <a:pt x="162" y="229"/>
                  </a:lnTo>
                  <a:lnTo>
                    <a:pt x="176" y="241"/>
                  </a:lnTo>
                  <a:lnTo>
                    <a:pt x="177" y="241"/>
                  </a:lnTo>
                  <a:lnTo>
                    <a:pt x="181" y="241"/>
                  </a:lnTo>
                  <a:lnTo>
                    <a:pt x="181" y="247"/>
                  </a:lnTo>
                  <a:lnTo>
                    <a:pt x="182" y="248"/>
                  </a:lnTo>
                  <a:lnTo>
                    <a:pt x="182" y="250"/>
                  </a:lnTo>
                  <a:lnTo>
                    <a:pt x="198" y="264"/>
                  </a:lnTo>
                  <a:close/>
                  <a:moveTo>
                    <a:pt x="157" y="260"/>
                  </a:moveTo>
                  <a:lnTo>
                    <a:pt x="167" y="269"/>
                  </a:lnTo>
                  <a:lnTo>
                    <a:pt x="170" y="284"/>
                  </a:lnTo>
                  <a:lnTo>
                    <a:pt x="167" y="288"/>
                  </a:lnTo>
                  <a:lnTo>
                    <a:pt x="157" y="288"/>
                  </a:lnTo>
                  <a:lnTo>
                    <a:pt x="150" y="282"/>
                  </a:lnTo>
                  <a:lnTo>
                    <a:pt x="152" y="276"/>
                  </a:lnTo>
                  <a:lnTo>
                    <a:pt x="155" y="272"/>
                  </a:lnTo>
                  <a:lnTo>
                    <a:pt x="152" y="264"/>
                  </a:lnTo>
                  <a:lnTo>
                    <a:pt x="157" y="260"/>
                  </a:lnTo>
                  <a:close/>
                  <a:moveTo>
                    <a:pt x="210" y="341"/>
                  </a:moveTo>
                  <a:lnTo>
                    <a:pt x="200" y="339"/>
                  </a:lnTo>
                  <a:lnTo>
                    <a:pt x="188" y="334"/>
                  </a:lnTo>
                  <a:lnTo>
                    <a:pt x="188" y="325"/>
                  </a:lnTo>
                  <a:lnTo>
                    <a:pt x="193" y="315"/>
                  </a:lnTo>
                  <a:lnTo>
                    <a:pt x="194" y="308"/>
                  </a:lnTo>
                  <a:lnTo>
                    <a:pt x="191" y="306"/>
                  </a:lnTo>
                  <a:lnTo>
                    <a:pt x="182" y="298"/>
                  </a:lnTo>
                  <a:lnTo>
                    <a:pt x="184" y="284"/>
                  </a:lnTo>
                  <a:lnTo>
                    <a:pt x="194" y="277"/>
                  </a:lnTo>
                  <a:lnTo>
                    <a:pt x="201" y="279"/>
                  </a:lnTo>
                  <a:lnTo>
                    <a:pt x="203" y="289"/>
                  </a:lnTo>
                  <a:lnTo>
                    <a:pt x="203" y="300"/>
                  </a:lnTo>
                  <a:lnTo>
                    <a:pt x="215" y="303"/>
                  </a:lnTo>
                  <a:lnTo>
                    <a:pt x="223" y="310"/>
                  </a:lnTo>
                  <a:lnTo>
                    <a:pt x="235" y="337"/>
                  </a:lnTo>
                  <a:lnTo>
                    <a:pt x="235" y="342"/>
                  </a:lnTo>
                  <a:lnTo>
                    <a:pt x="223" y="347"/>
                  </a:lnTo>
                  <a:lnTo>
                    <a:pt x="215" y="346"/>
                  </a:lnTo>
                  <a:lnTo>
                    <a:pt x="210" y="341"/>
                  </a:lnTo>
                  <a:close/>
                  <a:moveTo>
                    <a:pt x="148" y="522"/>
                  </a:moveTo>
                  <a:lnTo>
                    <a:pt x="143" y="508"/>
                  </a:lnTo>
                  <a:lnTo>
                    <a:pt x="136" y="503"/>
                  </a:lnTo>
                  <a:lnTo>
                    <a:pt x="140" y="489"/>
                  </a:lnTo>
                  <a:lnTo>
                    <a:pt x="157" y="470"/>
                  </a:lnTo>
                  <a:lnTo>
                    <a:pt x="159" y="455"/>
                  </a:lnTo>
                  <a:lnTo>
                    <a:pt x="165" y="441"/>
                  </a:lnTo>
                  <a:lnTo>
                    <a:pt x="169" y="424"/>
                  </a:lnTo>
                  <a:lnTo>
                    <a:pt x="177" y="424"/>
                  </a:lnTo>
                  <a:lnTo>
                    <a:pt x="193" y="421"/>
                  </a:lnTo>
                  <a:lnTo>
                    <a:pt x="201" y="417"/>
                  </a:lnTo>
                  <a:lnTo>
                    <a:pt x="205" y="412"/>
                  </a:lnTo>
                  <a:lnTo>
                    <a:pt x="206" y="399"/>
                  </a:lnTo>
                  <a:lnTo>
                    <a:pt x="217" y="394"/>
                  </a:lnTo>
                  <a:lnTo>
                    <a:pt x="222" y="406"/>
                  </a:lnTo>
                  <a:lnTo>
                    <a:pt x="234" y="424"/>
                  </a:lnTo>
                  <a:lnTo>
                    <a:pt x="256" y="458"/>
                  </a:lnTo>
                  <a:lnTo>
                    <a:pt x="258" y="476"/>
                  </a:lnTo>
                  <a:lnTo>
                    <a:pt x="251" y="491"/>
                  </a:lnTo>
                  <a:lnTo>
                    <a:pt x="259" y="494"/>
                  </a:lnTo>
                  <a:lnTo>
                    <a:pt x="254" y="503"/>
                  </a:lnTo>
                  <a:lnTo>
                    <a:pt x="263" y="523"/>
                  </a:lnTo>
                  <a:lnTo>
                    <a:pt x="256" y="530"/>
                  </a:lnTo>
                  <a:lnTo>
                    <a:pt x="244" y="527"/>
                  </a:lnTo>
                  <a:lnTo>
                    <a:pt x="230" y="529"/>
                  </a:lnTo>
                  <a:lnTo>
                    <a:pt x="215" y="525"/>
                  </a:lnTo>
                  <a:lnTo>
                    <a:pt x="200" y="518"/>
                  </a:lnTo>
                  <a:lnTo>
                    <a:pt x="172" y="515"/>
                  </a:lnTo>
                  <a:lnTo>
                    <a:pt x="167" y="520"/>
                  </a:lnTo>
                  <a:lnTo>
                    <a:pt x="148" y="522"/>
                  </a:lnTo>
                  <a:close/>
                </a:path>
              </a:pathLst>
            </a:custGeom>
            <a:grpFill/>
            <a:ln w="28575" cap="flat" cmpd="sng">
              <a:solidFill>
                <a:sysClr val="window" lastClr="FFFFFF"/>
              </a:solidFill>
              <a:prstDash val="solid"/>
              <a:round/>
              <a:headEnd/>
              <a:tailEnd/>
            </a:ln>
            <a:effectLst/>
          </p:spPr>
          <p:txBody>
            <a:bodyPr lIns="44450" tIns="44450" rIns="44450" bIns="44450"/>
            <a:lstStyle/>
            <a:p>
              <a:pPr>
                <a:defRPr/>
              </a:pPr>
              <a:endParaRPr lang="en-US" kern="0" dirty="0">
                <a:solidFill>
                  <a:srgbClr val="53565A"/>
                </a:solidFill>
                <a:latin typeface="Calibri" panose="020F0502020204030204"/>
              </a:endParaRPr>
            </a:p>
          </p:txBody>
        </p:sp>
      </p:grpSp>
      <p:sp>
        <p:nvSpPr>
          <p:cNvPr id="3" name="Slide Number Placeholder 2"/>
          <p:cNvSpPr>
            <a:spLocks noGrp="1"/>
          </p:cNvSpPr>
          <p:nvPr>
            <p:ph type="sldNum" sz="quarter" idx="12"/>
          </p:nvPr>
        </p:nvSpPr>
        <p:spPr/>
        <p:txBody>
          <a:bodyPr/>
          <a:lstStyle/>
          <a:p>
            <a:fld id="{D983F1FA-211D-3044-9E35-958DFBC26156}" type="slidenum">
              <a:rPr lang="en-US">
                <a:solidFill>
                  <a:prstClr val="white"/>
                </a:solidFill>
                <a:latin typeface="Calibri"/>
              </a:rPr>
              <a:pPr/>
              <a:t>3</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dirty="0"/>
              <a:t>Progressive VALERI Enhancements Have Peaked</a:t>
            </a:r>
          </a:p>
        </p:txBody>
      </p:sp>
      <p:sp>
        <p:nvSpPr>
          <p:cNvPr id="126" name="Freeform 125"/>
          <p:cNvSpPr/>
          <p:nvPr/>
        </p:nvSpPr>
        <p:spPr>
          <a:xfrm rot="10800000" flipH="1">
            <a:off x="673214" y="4445341"/>
            <a:ext cx="1291150" cy="340015"/>
          </a:xfrm>
          <a:custGeom>
            <a:avLst/>
            <a:gdLst>
              <a:gd name="connsiteX0" fmla="*/ 1086698 w 1291150"/>
              <a:gd name="connsiteY0" fmla="*/ 340015 h 340015"/>
              <a:gd name="connsiteX1" fmla="*/ 1188924 w 1291150"/>
              <a:gd name="connsiteY1" fmla="*/ 340015 h 340015"/>
              <a:gd name="connsiteX2" fmla="*/ 1291150 w 1291150"/>
              <a:gd name="connsiteY2" fmla="*/ 340015 h 340015"/>
              <a:gd name="connsiteX3" fmla="*/ 951135 w 1291150"/>
              <a:gd name="connsiteY3" fmla="*/ 0 h 340015"/>
              <a:gd name="connsiteX4" fmla="*/ 0 w 1291150"/>
              <a:gd name="connsiteY4" fmla="*/ 0 h 340015"/>
              <a:gd name="connsiteX5" fmla="*/ 0 w 1291150"/>
              <a:gd name="connsiteY5" fmla="*/ 204452 h 340015"/>
              <a:gd name="connsiteX6" fmla="*/ 951135 w 1291150"/>
              <a:gd name="connsiteY6" fmla="*/ 204452 h 340015"/>
              <a:gd name="connsiteX7" fmla="*/ 1086698 w 1291150"/>
              <a:gd name="connsiteY7" fmla="*/ 340015 h 34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1150" h="340015">
                <a:moveTo>
                  <a:pt x="1086698" y="340015"/>
                </a:moveTo>
                <a:lnTo>
                  <a:pt x="1188924" y="340015"/>
                </a:lnTo>
                <a:lnTo>
                  <a:pt x="1291150" y="340015"/>
                </a:lnTo>
                <a:cubicBezTo>
                  <a:pt x="1291150" y="152230"/>
                  <a:pt x="1138920" y="0"/>
                  <a:pt x="951135" y="0"/>
                </a:cubicBezTo>
                <a:lnTo>
                  <a:pt x="0" y="0"/>
                </a:lnTo>
                <a:lnTo>
                  <a:pt x="0" y="204452"/>
                </a:lnTo>
                <a:lnTo>
                  <a:pt x="951135" y="204452"/>
                </a:lnTo>
                <a:cubicBezTo>
                  <a:pt x="1026004" y="204452"/>
                  <a:pt x="1086698" y="265146"/>
                  <a:pt x="1086698" y="340015"/>
                </a:cubicBezTo>
                <a:close/>
              </a:path>
            </a:pathLst>
          </a:cu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0000"/>
              </a:solidFill>
              <a:latin typeface="Calibri"/>
            </a:endParaRPr>
          </a:p>
        </p:txBody>
      </p:sp>
      <p:cxnSp>
        <p:nvCxnSpPr>
          <p:cNvPr id="57" name="Straight Connector 56"/>
          <p:cNvCxnSpPr/>
          <p:nvPr/>
        </p:nvCxnSpPr>
        <p:spPr>
          <a:xfrm flipH="1">
            <a:off x="4708133" y="3415392"/>
            <a:ext cx="1" cy="1188906"/>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4641580" y="4595259"/>
            <a:ext cx="137629" cy="13762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alibri"/>
            </a:endParaRPr>
          </a:p>
        </p:txBody>
      </p:sp>
      <p:sp>
        <p:nvSpPr>
          <p:cNvPr id="60" name="Oval 59"/>
          <p:cNvSpPr/>
          <p:nvPr/>
        </p:nvSpPr>
        <p:spPr>
          <a:xfrm>
            <a:off x="6896999" y="4153159"/>
            <a:ext cx="137629" cy="1376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alibri"/>
            </a:endParaRPr>
          </a:p>
        </p:txBody>
      </p:sp>
      <p:cxnSp>
        <p:nvCxnSpPr>
          <p:cNvPr id="62" name="Straight Connector 61"/>
          <p:cNvCxnSpPr/>
          <p:nvPr/>
        </p:nvCxnSpPr>
        <p:spPr>
          <a:xfrm>
            <a:off x="6954333" y="2541586"/>
            <a:ext cx="11428" cy="1611573"/>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5841039" y="2243042"/>
            <a:ext cx="1" cy="1171665"/>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7" name="Oval 66"/>
          <p:cNvSpPr/>
          <p:nvPr/>
        </p:nvSpPr>
        <p:spPr>
          <a:xfrm>
            <a:off x="5772225" y="2102705"/>
            <a:ext cx="137629" cy="1376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alibri"/>
            </a:endParaRPr>
          </a:p>
        </p:txBody>
      </p:sp>
      <p:sp>
        <p:nvSpPr>
          <p:cNvPr id="102" name="U-Turn Arrow 101"/>
          <p:cNvSpPr/>
          <p:nvPr/>
        </p:nvSpPr>
        <p:spPr>
          <a:xfrm rot="10800000">
            <a:off x="2902571" y="3717468"/>
            <a:ext cx="1337979" cy="1190613"/>
          </a:xfrm>
          <a:prstGeom prst="uturnArrow">
            <a:avLst>
              <a:gd name="adj1" fmla="val 18318"/>
              <a:gd name="adj2" fmla="val 8586"/>
              <a:gd name="adj3" fmla="val 0"/>
              <a:gd name="adj4" fmla="val 66164"/>
              <a:gd name="adj5" fmla="val 79358"/>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0000"/>
              </a:solidFill>
              <a:latin typeface="Calibri"/>
            </a:endParaRPr>
          </a:p>
        </p:txBody>
      </p:sp>
      <p:sp>
        <p:nvSpPr>
          <p:cNvPr id="181" name="Freeform 180"/>
          <p:cNvSpPr/>
          <p:nvPr/>
        </p:nvSpPr>
        <p:spPr>
          <a:xfrm flipH="1" flipV="1">
            <a:off x="9705331" y="2323083"/>
            <a:ext cx="1289562" cy="340015"/>
          </a:xfrm>
          <a:custGeom>
            <a:avLst/>
            <a:gdLst>
              <a:gd name="connsiteX0" fmla="*/ 949547 w 1289562"/>
              <a:gd name="connsiteY0" fmla="*/ 0 h 340015"/>
              <a:gd name="connsiteX1" fmla="*/ 0 w 1289562"/>
              <a:gd name="connsiteY1" fmla="*/ 0 h 340015"/>
              <a:gd name="connsiteX2" fmla="*/ 0 w 1289562"/>
              <a:gd name="connsiteY2" fmla="*/ 204452 h 340015"/>
              <a:gd name="connsiteX3" fmla="*/ 949547 w 1289562"/>
              <a:gd name="connsiteY3" fmla="*/ 204452 h 340015"/>
              <a:gd name="connsiteX4" fmla="*/ 1085110 w 1289562"/>
              <a:gd name="connsiteY4" fmla="*/ 340015 h 340015"/>
              <a:gd name="connsiteX5" fmla="*/ 1187336 w 1289562"/>
              <a:gd name="connsiteY5" fmla="*/ 340015 h 340015"/>
              <a:gd name="connsiteX6" fmla="*/ 1289562 w 1289562"/>
              <a:gd name="connsiteY6" fmla="*/ 340015 h 340015"/>
              <a:gd name="connsiteX7" fmla="*/ 949547 w 1289562"/>
              <a:gd name="connsiteY7" fmla="*/ 0 h 34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9562" h="340015">
                <a:moveTo>
                  <a:pt x="949547" y="0"/>
                </a:moveTo>
                <a:lnTo>
                  <a:pt x="0" y="0"/>
                </a:lnTo>
                <a:lnTo>
                  <a:pt x="0" y="204452"/>
                </a:lnTo>
                <a:lnTo>
                  <a:pt x="949547" y="204452"/>
                </a:lnTo>
                <a:cubicBezTo>
                  <a:pt x="1024416" y="204452"/>
                  <a:pt x="1085110" y="265146"/>
                  <a:pt x="1085110" y="340015"/>
                </a:cubicBezTo>
                <a:lnTo>
                  <a:pt x="1187336" y="340015"/>
                </a:lnTo>
                <a:lnTo>
                  <a:pt x="1289562" y="340015"/>
                </a:lnTo>
                <a:cubicBezTo>
                  <a:pt x="1289562" y="152230"/>
                  <a:pt x="1137332" y="0"/>
                  <a:pt x="949547"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0000"/>
              </a:solidFill>
              <a:latin typeface="Calibri"/>
            </a:endParaRPr>
          </a:p>
        </p:txBody>
      </p:sp>
      <p:sp>
        <p:nvSpPr>
          <p:cNvPr id="112" name="U-Turn Arrow 111"/>
          <p:cNvSpPr/>
          <p:nvPr/>
        </p:nvSpPr>
        <p:spPr>
          <a:xfrm rot="10800000">
            <a:off x="7433671" y="2402798"/>
            <a:ext cx="1337980" cy="1190613"/>
          </a:xfrm>
          <a:prstGeom prst="uturnArrow">
            <a:avLst>
              <a:gd name="adj1" fmla="val 18318"/>
              <a:gd name="adj2" fmla="val 8586"/>
              <a:gd name="adj3" fmla="val 0"/>
              <a:gd name="adj4" fmla="val 66164"/>
              <a:gd name="adj5" fmla="val 79358"/>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0000"/>
              </a:solidFill>
              <a:latin typeface="Calibri"/>
            </a:endParaRPr>
          </a:p>
        </p:txBody>
      </p:sp>
      <p:sp>
        <p:nvSpPr>
          <p:cNvPr id="120" name="U-Turn Arrow 119"/>
          <p:cNvSpPr/>
          <p:nvPr/>
        </p:nvSpPr>
        <p:spPr>
          <a:xfrm>
            <a:off x="1764643" y="3316449"/>
            <a:ext cx="1337979" cy="1190613"/>
          </a:xfrm>
          <a:prstGeom prst="uturnArrow">
            <a:avLst>
              <a:gd name="adj1" fmla="val 18318"/>
              <a:gd name="adj2" fmla="val 8586"/>
              <a:gd name="adj3" fmla="val 0"/>
              <a:gd name="adj4" fmla="val 66164"/>
              <a:gd name="adj5" fmla="val 78749"/>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0000"/>
              </a:solidFill>
              <a:latin typeface="Calibri"/>
            </a:endParaRPr>
          </a:p>
        </p:txBody>
      </p:sp>
      <p:sp>
        <p:nvSpPr>
          <p:cNvPr id="122" name="U-Turn Arrow 121"/>
          <p:cNvSpPr/>
          <p:nvPr/>
        </p:nvSpPr>
        <p:spPr>
          <a:xfrm>
            <a:off x="6299956" y="1892657"/>
            <a:ext cx="1337979" cy="1190613"/>
          </a:xfrm>
          <a:prstGeom prst="uturnArrow">
            <a:avLst>
              <a:gd name="adj1" fmla="val 18318"/>
              <a:gd name="adj2" fmla="val 8586"/>
              <a:gd name="adj3" fmla="val 0"/>
              <a:gd name="adj4" fmla="val 66164"/>
              <a:gd name="adj5" fmla="val 78749"/>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0000"/>
              </a:solidFill>
              <a:latin typeface="Calibri"/>
            </a:endParaRPr>
          </a:p>
        </p:txBody>
      </p:sp>
      <p:cxnSp>
        <p:nvCxnSpPr>
          <p:cNvPr id="54" name="Straight Connector 53"/>
          <p:cNvCxnSpPr>
            <a:endCxn id="55" idx="4"/>
          </p:cNvCxnSpPr>
          <p:nvPr/>
        </p:nvCxnSpPr>
        <p:spPr>
          <a:xfrm>
            <a:off x="2444405" y="4254062"/>
            <a:ext cx="1" cy="1086457"/>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5" name="Oval 54"/>
          <p:cNvSpPr/>
          <p:nvPr/>
        </p:nvSpPr>
        <p:spPr>
          <a:xfrm>
            <a:off x="2375591" y="5202890"/>
            <a:ext cx="137629" cy="137629"/>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alibri"/>
            </a:endParaRPr>
          </a:p>
        </p:txBody>
      </p:sp>
      <p:sp>
        <p:nvSpPr>
          <p:cNvPr id="180" name="TextBox 179"/>
          <p:cNvSpPr txBox="1"/>
          <p:nvPr/>
        </p:nvSpPr>
        <p:spPr>
          <a:xfrm>
            <a:off x="1712884" y="5459164"/>
            <a:ext cx="1463040" cy="338554"/>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kern="0" cap="none" spc="0" normalizeH="0" baseline="0">
                <a:ln>
                  <a:noFill/>
                </a:ln>
                <a:solidFill>
                  <a:srgbClr val="373737"/>
                </a:solidFill>
                <a:effectLst/>
                <a:uLnTx/>
                <a:uFillTx/>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defRPr/>
            </a:pPr>
            <a:r>
              <a:rPr lang="en-GB" sz="1600" kern="1200" dirty="0">
                <a:solidFill>
                  <a:srgbClr val="000000"/>
                </a:solidFill>
                <a:latin typeface="Calibri"/>
              </a:rPr>
              <a:t>VALERI</a:t>
            </a:r>
            <a:endParaRPr lang="en-GB" sz="1200" kern="1200" dirty="0">
              <a:solidFill>
                <a:srgbClr val="000000"/>
              </a:solidFill>
              <a:latin typeface="Calibri"/>
            </a:endParaRPr>
          </a:p>
        </p:txBody>
      </p:sp>
      <p:sp>
        <p:nvSpPr>
          <p:cNvPr id="47" name="Oval 46"/>
          <p:cNvSpPr/>
          <p:nvPr/>
        </p:nvSpPr>
        <p:spPr>
          <a:xfrm>
            <a:off x="2001622" y="3474085"/>
            <a:ext cx="885567" cy="885567"/>
          </a:xfrm>
          <a:prstGeom prst="ellips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0000"/>
                </a:solidFill>
                <a:latin typeface="Calibri"/>
              </a:rPr>
              <a:t>2008</a:t>
            </a:r>
          </a:p>
        </p:txBody>
      </p:sp>
      <p:sp>
        <p:nvSpPr>
          <p:cNvPr id="117" name="Oval 116"/>
          <p:cNvSpPr/>
          <p:nvPr/>
        </p:nvSpPr>
        <p:spPr>
          <a:xfrm>
            <a:off x="6529674" y="2060943"/>
            <a:ext cx="885567" cy="885567"/>
          </a:xfrm>
          <a:prstGeom prst="ellips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0000"/>
                </a:solidFill>
                <a:latin typeface="Calibri"/>
              </a:rPr>
              <a:t>2016</a:t>
            </a:r>
          </a:p>
        </p:txBody>
      </p:sp>
      <p:sp>
        <p:nvSpPr>
          <p:cNvPr id="106" name="U-Turn Arrow 105"/>
          <p:cNvSpPr/>
          <p:nvPr/>
        </p:nvSpPr>
        <p:spPr>
          <a:xfrm rot="10800000">
            <a:off x="5168599" y="3057256"/>
            <a:ext cx="1337979" cy="1190613"/>
          </a:xfrm>
          <a:prstGeom prst="uturnArrow">
            <a:avLst>
              <a:gd name="adj1" fmla="val 18318"/>
              <a:gd name="adj2" fmla="val 8586"/>
              <a:gd name="adj3" fmla="val 0"/>
              <a:gd name="adj4" fmla="val 66164"/>
              <a:gd name="adj5" fmla="val 79358"/>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0000"/>
              </a:solidFill>
              <a:latin typeface="Calibri"/>
            </a:endParaRPr>
          </a:p>
        </p:txBody>
      </p:sp>
      <p:sp>
        <p:nvSpPr>
          <p:cNvPr id="121" name="U-Turn Arrow 120"/>
          <p:cNvSpPr/>
          <p:nvPr/>
        </p:nvSpPr>
        <p:spPr>
          <a:xfrm>
            <a:off x="4033156" y="2530471"/>
            <a:ext cx="1337979" cy="1190613"/>
          </a:xfrm>
          <a:prstGeom prst="uturnArrow">
            <a:avLst>
              <a:gd name="adj1" fmla="val 18318"/>
              <a:gd name="adj2" fmla="val 8586"/>
              <a:gd name="adj3" fmla="val 0"/>
              <a:gd name="adj4" fmla="val 66164"/>
              <a:gd name="adj5" fmla="val 78749"/>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0000"/>
              </a:solidFill>
              <a:latin typeface="Calibri"/>
            </a:endParaRPr>
          </a:p>
        </p:txBody>
      </p:sp>
      <p:sp>
        <p:nvSpPr>
          <p:cNvPr id="115" name="Oval 114"/>
          <p:cNvSpPr/>
          <p:nvPr/>
        </p:nvSpPr>
        <p:spPr>
          <a:xfrm>
            <a:off x="4273767" y="2707844"/>
            <a:ext cx="885567" cy="885567"/>
          </a:xfrm>
          <a:prstGeom prst="ellips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0000"/>
                </a:solidFill>
                <a:latin typeface="Calibri"/>
              </a:rPr>
              <a:t>2014</a:t>
            </a:r>
          </a:p>
        </p:txBody>
      </p:sp>
      <p:sp>
        <p:nvSpPr>
          <p:cNvPr id="116" name="Oval 115"/>
          <p:cNvSpPr/>
          <p:nvPr/>
        </p:nvSpPr>
        <p:spPr>
          <a:xfrm>
            <a:off x="5398256" y="3176263"/>
            <a:ext cx="885567" cy="885567"/>
          </a:xfrm>
          <a:prstGeom prst="ellips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0000"/>
                </a:solidFill>
                <a:latin typeface="Calibri"/>
              </a:rPr>
              <a:t>2015</a:t>
            </a:r>
          </a:p>
        </p:txBody>
      </p:sp>
      <p:grpSp>
        <p:nvGrpSpPr>
          <p:cNvPr id="25" name="Group 24"/>
          <p:cNvGrpSpPr/>
          <p:nvPr/>
        </p:nvGrpSpPr>
        <p:grpSpPr>
          <a:xfrm>
            <a:off x="2834754" y="1740510"/>
            <a:ext cx="1463040" cy="2983646"/>
            <a:chOff x="2120788" y="1733111"/>
            <a:chExt cx="1463040" cy="2983646"/>
          </a:xfrm>
        </p:grpSpPr>
        <p:cxnSp>
          <p:nvCxnSpPr>
            <p:cNvPr id="63" name="Straight Connector 62"/>
            <p:cNvCxnSpPr>
              <a:stCxn id="64" idx="4"/>
            </p:cNvCxnSpPr>
            <p:nvPr/>
          </p:nvCxnSpPr>
          <p:spPr>
            <a:xfrm>
              <a:off x="2852309" y="2803938"/>
              <a:ext cx="3052" cy="1425542"/>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4" name="Oval 63"/>
            <p:cNvSpPr/>
            <p:nvPr/>
          </p:nvSpPr>
          <p:spPr>
            <a:xfrm>
              <a:off x="2783494" y="2666309"/>
              <a:ext cx="137629" cy="1376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alibri"/>
              </a:endParaRPr>
            </a:p>
          </p:txBody>
        </p:sp>
        <p:sp>
          <p:nvSpPr>
            <p:cNvPr id="179" name="Oval 178"/>
            <p:cNvSpPr/>
            <p:nvPr/>
          </p:nvSpPr>
          <p:spPr>
            <a:xfrm>
              <a:off x="2409525" y="3831190"/>
              <a:ext cx="885567" cy="885567"/>
            </a:xfrm>
            <a:prstGeom prst="ellips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0000"/>
                  </a:solidFill>
                  <a:latin typeface="Calibri"/>
                </a:rPr>
                <a:t>2012</a:t>
              </a:r>
            </a:p>
          </p:txBody>
        </p:sp>
        <p:sp>
          <p:nvSpPr>
            <p:cNvPr id="182" name="TextBox 181"/>
            <p:cNvSpPr txBox="1"/>
            <p:nvPr/>
          </p:nvSpPr>
          <p:spPr>
            <a:xfrm>
              <a:off x="2120788" y="1733111"/>
              <a:ext cx="1463040" cy="830997"/>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kern="0" cap="none" spc="0" normalizeH="0" baseline="0">
                  <a:ln>
                    <a:noFill/>
                  </a:ln>
                  <a:solidFill>
                    <a:srgbClr val="373737"/>
                  </a:solidFill>
                  <a:effectLst/>
                  <a:uLnTx/>
                  <a:uFillTx/>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defRPr/>
              </a:pPr>
              <a:r>
                <a:rPr lang="en-GB" sz="1600" kern="1200" dirty="0">
                  <a:solidFill>
                    <a:srgbClr val="000000"/>
                  </a:solidFill>
                  <a:latin typeface="Calibri"/>
                </a:rPr>
                <a:t>Automated Certificate of Eligibility (ACE)</a:t>
              </a:r>
              <a:endParaRPr lang="en-GB" sz="1200" kern="1200" dirty="0">
                <a:solidFill>
                  <a:srgbClr val="000000"/>
                </a:solidFill>
                <a:latin typeface="Calibri"/>
              </a:endParaRPr>
            </a:p>
          </p:txBody>
        </p:sp>
      </p:grpSp>
      <p:sp>
        <p:nvSpPr>
          <p:cNvPr id="183" name="TextBox 182"/>
          <p:cNvSpPr txBox="1"/>
          <p:nvPr/>
        </p:nvSpPr>
        <p:spPr>
          <a:xfrm>
            <a:off x="3985029" y="4908144"/>
            <a:ext cx="1463040" cy="584775"/>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kern="0" cap="none" spc="0" normalizeH="0" baseline="0">
                <a:ln>
                  <a:noFill/>
                </a:ln>
                <a:solidFill>
                  <a:srgbClr val="373737"/>
                </a:solidFill>
                <a:effectLst/>
                <a:uLnTx/>
                <a:uFillTx/>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defRPr/>
            </a:pPr>
            <a:r>
              <a:rPr lang="en-GB" sz="1600" kern="1200" dirty="0">
                <a:solidFill>
                  <a:srgbClr val="000000"/>
                </a:solidFill>
                <a:latin typeface="Calibri"/>
              </a:rPr>
              <a:t>Electronic File Review</a:t>
            </a:r>
            <a:endParaRPr lang="en-GB" sz="1200" kern="1200" dirty="0">
              <a:solidFill>
                <a:srgbClr val="000000"/>
              </a:solidFill>
              <a:latin typeface="Calibri"/>
            </a:endParaRPr>
          </a:p>
        </p:txBody>
      </p:sp>
      <p:sp>
        <p:nvSpPr>
          <p:cNvPr id="184" name="TextBox 183"/>
          <p:cNvSpPr txBox="1"/>
          <p:nvPr/>
        </p:nvSpPr>
        <p:spPr>
          <a:xfrm>
            <a:off x="5109518" y="1360528"/>
            <a:ext cx="1463040" cy="584775"/>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kern="0" cap="none" spc="0" normalizeH="0" baseline="0">
                <a:ln>
                  <a:noFill/>
                </a:ln>
                <a:solidFill>
                  <a:srgbClr val="373737"/>
                </a:solidFill>
                <a:effectLst/>
                <a:uLnTx/>
                <a:uFillTx/>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defRPr/>
            </a:pPr>
            <a:r>
              <a:rPr lang="en-GB" sz="1600" kern="1200" dirty="0">
                <a:solidFill>
                  <a:srgbClr val="000000"/>
                </a:solidFill>
                <a:latin typeface="Calibri"/>
              </a:rPr>
              <a:t>National </a:t>
            </a:r>
          </a:p>
          <a:p>
            <a:pPr algn="ctr">
              <a:defRPr/>
            </a:pPr>
            <a:r>
              <a:rPr lang="en-GB" sz="1600" kern="1200" dirty="0">
                <a:solidFill>
                  <a:srgbClr val="000000"/>
                </a:solidFill>
                <a:latin typeface="Calibri"/>
              </a:rPr>
              <a:t>Work Queue</a:t>
            </a:r>
            <a:endParaRPr lang="en-GB" sz="1200" kern="1200" dirty="0">
              <a:solidFill>
                <a:srgbClr val="000000"/>
              </a:solidFill>
              <a:latin typeface="Calibri"/>
            </a:endParaRPr>
          </a:p>
        </p:txBody>
      </p:sp>
      <p:sp>
        <p:nvSpPr>
          <p:cNvPr id="185" name="TextBox 184"/>
          <p:cNvSpPr txBox="1"/>
          <p:nvPr/>
        </p:nvSpPr>
        <p:spPr>
          <a:xfrm>
            <a:off x="6205920" y="4435912"/>
            <a:ext cx="1463040" cy="830997"/>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kern="0" cap="none" spc="0" normalizeH="0" baseline="0">
                <a:ln>
                  <a:noFill/>
                </a:ln>
                <a:solidFill>
                  <a:srgbClr val="373737"/>
                </a:solidFill>
                <a:effectLst/>
                <a:uLnTx/>
                <a:uFillTx/>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defRPr/>
            </a:pPr>
            <a:r>
              <a:rPr lang="en-GB" sz="1600" kern="1200" dirty="0">
                <a:solidFill>
                  <a:srgbClr val="000000"/>
                </a:solidFill>
                <a:latin typeface="Calibri"/>
              </a:rPr>
              <a:t>Funding Fee Payment System</a:t>
            </a:r>
            <a:endParaRPr lang="en-GB" sz="1200" kern="1200" dirty="0">
              <a:solidFill>
                <a:srgbClr val="000000"/>
              </a:solidFill>
              <a:latin typeface="Calibri"/>
            </a:endParaRPr>
          </a:p>
        </p:txBody>
      </p:sp>
      <p:cxnSp>
        <p:nvCxnSpPr>
          <p:cNvPr id="69" name="Straight Connector 68"/>
          <p:cNvCxnSpPr/>
          <p:nvPr/>
        </p:nvCxnSpPr>
        <p:spPr>
          <a:xfrm>
            <a:off x="8110985" y="1612027"/>
            <a:ext cx="0" cy="108081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0" name="Oval 69"/>
          <p:cNvSpPr/>
          <p:nvPr/>
        </p:nvSpPr>
        <p:spPr>
          <a:xfrm>
            <a:off x="8042172" y="1542423"/>
            <a:ext cx="137629" cy="137629"/>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alibri"/>
            </a:endParaRPr>
          </a:p>
        </p:txBody>
      </p:sp>
      <p:sp>
        <p:nvSpPr>
          <p:cNvPr id="118" name="Oval 117"/>
          <p:cNvSpPr/>
          <p:nvPr/>
        </p:nvSpPr>
        <p:spPr>
          <a:xfrm>
            <a:off x="7668203" y="2549506"/>
            <a:ext cx="885567" cy="885567"/>
          </a:xfrm>
          <a:prstGeom prst="ellips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0000"/>
                </a:solidFill>
                <a:latin typeface="Calibri"/>
              </a:rPr>
              <a:t>2017</a:t>
            </a:r>
          </a:p>
        </p:txBody>
      </p:sp>
      <p:sp>
        <p:nvSpPr>
          <p:cNvPr id="186" name="TextBox 185"/>
          <p:cNvSpPr txBox="1"/>
          <p:nvPr/>
        </p:nvSpPr>
        <p:spPr>
          <a:xfrm>
            <a:off x="7379465" y="842946"/>
            <a:ext cx="1463040" cy="584775"/>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kern="0" cap="none" spc="0" normalizeH="0" baseline="0">
                <a:ln>
                  <a:noFill/>
                </a:ln>
                <a:solidFill>
                  <a:srgbClr val="373737"/>
                </a:solidFill>
                <a:effectLst/>
                <a:uLnTx/>
                <a:uFillTx/>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defRPr/>
            </a:pPr>
            <a:r>
              <a:rPr lang="en-GB" sz="1600" kern="1200" dirty="0">
                <a:solidFill>
                  <a:srgbClr val="000000"/>
                </a:solidFill>
                <a:latin typeface="Calibri"/>
              </a:rPr>
              <a:t>Updated Phone System</a:t>
            </a:r>
            <a:endParaRPr lang="en-GB" sz="1200" kern="1200" dirty="0">
              <a:solidFill>
                <a:srgbClr val="000000"/>
              </a:solidFill>
              <a:latin typeface="Calibri"/>
            </a:endParaRPr>
          </a:p>
        </p:txBody>
      </p:sp>
      <p:sp>
        <p:nvSpPr>
          <p:cNvPr id="90" name="U-Turn Arrow 121">
            <a:extLst>
              <a:ext uri="{FF2B5EF4-FFF2-40B4-BE49-F238E27FC236}">
                <a16:creationId xmlns:a16="http://schemas.microsoft.com/office/drawing/2014/main" id="{14BFAC73-66C1-4301-93A5-ABDD62874143}"/>
              </a:ext>
            </a:extLst>
          </p:cNvPr>
          <p:cNvSpPr/>
          <p:nvPr/>
        </p:nvSpPr>
        <p:spPr>
          <a:xfrm>
            <a:off x="8570457" y="1389866"/>
            <a:ext cx="1337979" cy="1190613"/>
          </a:xfrm>
          <a:prstGeom prst="uturnArrow">
            <a:avLst>
              <a:gd name="adj1" fmla="val 18318"/>
              <a:gd name="adj2" fmla="val 8586"/>
              <a:gd name="adj3" fmla="val 0"/>
              <a:gd name="adj4" fmla="val 66164"/>
              <a:gd name="adj5" fmla="val 78749"/>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0000"/>
              </a:solidFill>
              <a:latin typeface="Calibri"/>
            </a:endParaRPr>
          </a:p>
        </p:txBody>
      </p:sp>
      <p:cxnSp>
        <p:nvCxnSpPr>
          <p:cNvPr id="92" name="Straight Connector 91">
            <a:extLst>
              <a:ext uri="{FF2B5EF4-FFF2-40B4-BE49-F238E27FC236}">
                <a16:creationId xmlns:a16="http://schemas.microsoft.com/office/drawing/2014/main" id="{236726EF-7F1D-4571-86B9-1947E417DB7B}"/>
              </a:ext>
            </a:extLst>
          </p:cNvPr>
          <p:cNvCxnSpPr/>
          <p:nvPr/>
        </p:nvCxnSpPr>
        <p:spPr>
          <a:xfrm>
            <a:off x="9262033" y="2417191"/>
            <a:ext cx="0" cy="1080810"/>
          </a:xfrm>
          <a:prstGeom prst="line">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B88DB661-690F-4075-A944-F08933DB7D7D}"/>
              </a:ext>
            </a:extLst>
          </p:cNvPr>
          <p:cNvSpPr/>
          <p:nvPr/>
        </p:nvSpPr>
        <p:spPr>
          <a:xfrm>
            <a:off x="9193220" y="3443772"/>
            <a:ext cx="137629" cy="1376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Calibri"/>
            </a:endParaRPr>
          </a:p>
        </p:txBody>
      </p:sp>
      <p:sp>
        <p:nvSpPr>
          <p:cNvPr id="94" name="TextBox 93">
            <a:extLst>
              <a:ext uri="{FF2B5EF4-FFF2-40B4-BE49-F238E27FC236}">
                <a16:creationId xmlns:a16="http://schemas.microsoft.com/office/drawing/2014/main" id="{FC36DA90-7CF7-4DD6-8AAA-091921A144FE}"/>
              </a:ext>
            </a:extLst>
          </p:cNvPr>
          <p:cNvSpPr txBox="1"/>
          <p:nvPr/>
        </p:nvSpPr>
        <p:spPr>
          <a:xfrm>
            <a:off x="8530513" y="3677212"/>
            <a:ext cx="1463040" cy="584775"/>
          </a:xfrm>
          <a:prstGeom prst="rect">
            <a:avLst/>
          </a:prstGeom>
          <a:solidFill>
            <a:schemeClr val="bg1"/>
          </a:solidFill>
          <a:ln w="28575">
            <a:solidFill>
              <a:schemeClr val="accent1"/>
            </a:solidFill>
          </a:ln>
        </p:spPr>
        <p:style>
          <a:lnRef idx="1">
            <a:schemeClr val="accent6"/>
          </a:lnRef>
          <a:fillRef idx="2">
            <a:schemeClr val="accent6"/>
          </a:fillRef>
          <a:effectRef idx="1">
            <a:schemeClr val="accent6"/>
          </a:effectRef>
          <a:fontRef idx="minor">
            <a:schemeClr val="dk1"/>
          </a:fontRef>
        </p:style>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b="1" i="0" u="none" strike="noStrike" kern="0" cap="none" spc="0" normalizeH="0" baseline="0">
                <a:ln>
                  <a:noFill/>
                </a:ln>
                <a:solidFill>
                  <a:srgbClr val="373737"/>
                </a:solidFill>
                <a:effectLst/>
                <a:uLnTx/>
                <a:uFillTx/>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ctr">
              <a:defRPr/>
            </a:pPr>
            <a:r>
              <a:rPr lang="en-GB" sz="1600" kern="1200" dirty="0">
                <a:solidFill>
                  <a:srgbClr val="000000"/>
                </a:solidFill>
                <a:latin typeface="Calibri"/>
              </a:rPr>
              <a:t>Modernized VALERI</a:t>
            </a:r>
            <a:endParaRPr lang="en-GB" sz="1200" kern="1200" dirty="0">
              <a:solidFill>
                <a:srgbClr val="000000"/>
              </a:solidFill>
              <a:latin typeface="Calibri"/>
            </a:endParaRPr>
          </a:p>
        </p:txBody>
      </p:sp>
      <p:sp>
        <p:nvSpPr>
          <p:cNvPr id="91" name="Oval 90">
            <a:extLst>
              <a:ext uri="{FF2B5EF4-FFF2-40B4-BE49-F238E27FC236}">
                <a16:creationId xmlns:a16="http://schemas.microsoft.com/office/drawing/2014/main" id="{A9AA3E71-A8DA-45BF-8906-B2ACBA727BAF}"/>
              </a:ext>
            </a:extLst>
          </p:cNvPr>
          <p:cNvSpPr/>
          <p:nvPr/>
        </p:nvSpPr>
        <p:spPr>
          <a:xfrm>
            <a:off x="8819251" y="1575864"/>
            <a:ext cx="885567" cy="885567"/>
          </a:xfrm>
          <a:prstGeom prst="ellipse">
            <a:avLst/>
          </a:prstGeom>
          <a:solidFill>
            <a:schemeClr val="bg1"/>
          </a:solidFill>
          <a:ln>
            <a:noFill/>
          </a:ln>
          <a:effectLst>
            <a:outerShdw blurRad="50800" dist="38100" dir="5400000" algn="t"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rgbClr val="000000"/>
                </a:solidFill>
                <a:latin typeface="Calibri"/>
              </a:rPr>
              <a:t>2019</a:t>
            </a:r>
          </a:p>
        </p:txBody>
      </p:sp>
      <p:pic>
        <p:nvPicPr>
          <p:cNvPr id="95" name="Picture 2" descr="C:\Users\vacoGrovem\AppData\Local\Microsoft\Windows\Temporary Internet Files\Content.Outlook\83QVOJUE\CHOOSE-VA-rev.png">
            <a:extLst>
              <a:ext uri="{FF2B5EF4-FFF2-40B4-BE49-F238E27FC236}">
                <a16:creationId xmlns:a16="http://schemas.microsoft.com/office/drawing/2014/main" id="{D64B7E91-B2D4-447E-8DE5-01715B71491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35864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a:solidFill>
                  <a:prstClr val="white"/>
                </a:solidFill>
                <a:latin typeface="Calibri"/>
              </a:rPr>
              <a:pPr/>
              <a:t>4</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dirty="0"/>
              <a:t>High-Level Impacts of the VALERI Modernization</a:t>
            </a:r>
          </a:p>
        </p:txBody>
      </p:sp>
      <p:sp>
        <p:nvSpPr>
          <p:cNvPr id="6" name="Text Placeholder 2"/>
          <p:cNvSpPr txBox="1">
            <a:spLocks/>
          </p:cNvSpPr>
          <p:nvPr/>
        </p:nvSpPr>
        <p:spPr>
          <a:xfrm>
            <a:off x="2169408" y="842946"/>
            <a:ext cx="7853187" cy="580083"/>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600" b="0" kern="1200">
                <a:solidFill>
                  <a:srgbClr val="575757"/>
                </a:solidFill>
                <a:latin typeface="Georgia" panose="02040502050405020303" pitchFamily="18" charset="0"/>
                <a:ea typeface="+mn-ea"/>
                <a:cs typeface="Calibri" panose="020F0502020204030204" pitchFamily="34" charset="0"/>
              </a:defRPr>
            </a:lvl1pPr>
            <a:lvl2pPr marL="0" indent="0" algn="l" defTabSz="914400" rtl="0" eaLnBrk="1" latinLnBrk="0" hangingPunct="1">
              <a:spcBef>
                <a:spcPts val="0"/>
              </a:spcBef>
              <a:spcAft>
                <a:spcPts val="1000"/>
              </a:spcAft>
              <a:buClrTx/>
              <a:buSzPct val="100000"/>
              <a:buFont typeface="Arial"/>
              <a:buNone/>
              <a:defRPr lang="en-US" sz="1400" b="1" kern="1200" dirty="0" smtClean="0">
                <a:solidFill>
                  <a:srgbClr val="000000"/>
                </a:solidFill>
                <a:latin typeface="Calibri" panose="020F0502020204030204" pitchFamily="34" charset="0"/>
                <a:ea typeface="+mn-ea"/>
                <a:cs typeface="Calibri" panose="020F05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rgbClr val="000000"/>
                </a:solidFill>
                <a:latin typeface="Calibri" panose="020F0502020204030204" pitchFamily="34" charset="0"/>
                <a:ea typeface="+mn-ea"/>
                <a:cs typeface="Calibri" panose="020F05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400" kern="1200" baseline="0" dirty="0" smtClean="0">
                <a:solidFill>
                  <a:srgbClr val="000000"/>
                </a:solidFill>
                <a:latin typeface="Calibri" panose="020F0502020204030204" pitchFamily="34" charset="0"/>
                <a:ea typeface="+mn-ea"/>
                <a:cs typeface="Calibri" panose="020F05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400" kern="1200" baseline="0" dirty="0" smtClean="0">
                <a:solidFill>
                  <a:srgbClr val="000000"/>
                </a:solidFill>
                <a:latin typeface="Calibri" panose="020F0502020204030204" pitchFamily="34" charset="0"/>
                <a:ea typeface="+mn-ea"/>
                <a:cs typeface="Calibri" panose="020F05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defRPr/>
            </a:pPr>
            <a:r>
              <a:rPr lang="en-US" sz="1800" dirty="0">
                <a:solidFill>
                  <a:srgbClr val="000000"/>
                </a:solidFill>
                <a:latin typeface="Calibri"/>
              </a:rPr>
              <a:t>The modernized VALERI effort has the following impact for taxpayers, Veterans, servicers, lenders, and VA stakeholders:</a:t>
            </a:r>
          </a:p>
        </p:txBody>
      </p:sp>
      <p:sp>
        <p:nvSpPr>
          <p:cNvPr id="129" name="TextBox 128"/>
          <p:cNvSpPr txBox="1"/>
          <p:nvPr/>
        </p:nvSpPr>
        <p:spPr>
          <a:xfrm>
            <a:off x="7019894" y="1747272"/>
            <a:ext cx="3314392" cy="892552"/>
          </a:xfrm>
          <a:prstGeom prst="rect">
            <a:avLst/>
          </a:prstGeom>
          <a:noFill/>
        </p:spPr>
        <p:txBody>
          <a:bodyPr wrap="square" lIns="0" tIns="0" rIns="0" bIns="0" rtlCol="0">
            <a:spAutoFit/>
          </a:bodyPr>
          <a:lstStyle/>
          <a:p>
            <a:pPr>
              <a:buSzPct val="100000"/>
              <a:defRPr/>
            </a:pPr>
            <a:r>
              <a:rPr lang="en-US" sz="1600" b="1" dirty="0">
                <a:solidFill>
                  <a:srgbClr val="C6262E"/>
                </a:solidFill>
                <a:latin typeface="Calibri"/>
                <a:cs typeface="Calibri" panose="020F0502020204030204" pitchFamily="34" charset="0"/>
              </a:rPr>
              <a:t>Expanded Oversight and Transparency </a:t>
            </a:r>
          </a:p>
          <a:p>
            <a:pPr>
              <a:buSzPct val="100000"/>
              <a:defRPr/>
            </a:pPr>
            <a:r>
              <a:rPr lang="en-US" sz="1400" dirty="0">
                <a:solidFill>
                  <a:srgbClr val="313131"/>
                </a:solidFill>
                <a:latin typeface="Calibri"/>
                <a:cs typeface="Calibri" panose="020F0502020204030204" pitchFamily="34" charset="0"/>
              </a:rPr>
              <a:t>Targeted risk-based oversight model enables VA to remain informed and to ensure program integrity.</a:t>
            </a:r>
          </a:p>
        </p:txBody>
      </p:sp>
      <p:sp>
        <p:nvSpPr>
          <p:cNvPr id="130" name="TextBox 129"/>
          <p:cNvSpPr txBox="1"/>
          <p:nvPr/>
        </p:nvSpPr>
        <p:spPr>
          <a:xfrm>
            <a:off x="2574961" y="3227832"/>
            <a:ext cx="3314392" cy="1107996"/>
          </a:xfrm>
          <a:prstGeom prst="rect">
            <a:avLst/>
          </a:prstGeom>
          <a:noFill/>
        </p:spPr>
        <p:txBody>
          <a:bodyPr wrap="square" lIns="0" tIns="0" rIns="0" bIns="0" rtlCol="0">
            <a:spAutoFit/>
          </a:bodyPr>
          <a:lstStyle/>
          <a:p>
            <a:pPr>
              <a:buSzPct val="100000"/>
              <a:defRPr/>
            </a:pPr>
            <a:r>
              <a:rPr lang="en-US" sz="1600" b="1" dirty="0">
                <a:solidFill>
                  <a:srgbClr val="F3CF45">
                    <a:lumMod val="75000"/>
                  </a:srgbClr>
                </a:solidFill>
                <a:latin typeface="Calibri"/>
                <a:cs typeface="Calibri" panose="020F0502020204030204" pitchFamily="34" charset="0"/>
              </a:rPr>
              <a:t>Improved Veteran Experience </a:t>
            </a:r>
          </a:p>
          <a:p>
            <a:pPr>
              <a:buSzPct val="100000"/>
              <a:defRPr/>
            </a:pPr>
            <a:r>
              <a:rPr lang="en-US" sz="1400" dirty="0">
                <a:solidFill>
                  <a:srgbClr val="313131"/>
                </a:solidFill>
                <a:latin typeface="Calibri"/>
                <a:cs typeface="Calibri" panose="020F0502020204030204" pitchFamily="34" charset="0"/>
              </a:rPr>
              <a:t>Customer Relationship Management (CRM) best practices enable borrowers to see real-time, relevant loan information throughout the loan lifecycle.</a:t>
            </a:r>
          </a:p>
        </p:txBody>
      </p:sp>
      <p:sp>
        <p:nvSpPr>
          <p:cNvPr id="131" name="TextBox 130"/>
          <p:cNvSpPr txBox="1"/>
          <p:nvPr/>
        </p:nvSpPr>
        <p:spPr>
          <a:xfrm>
            <a:off x="2574961" y="4572001"/>
            <a:ext cx="3314392" cy="1354217"/>
          </a:xfrm>
          <a:prstGeom prst="rect">
            <a:avLst/>
          </a:prstGeom>
          <a:noFill/>
        </p:spPr>
        <p:txBody>
          <a:bodyPr wrap="square" lIns="0" tIns="0" rIns="0" bIns="0" rtlCol="0">
            <a:spAutoFit/>
          </a:bodyPr>
          <a:lstStyle/>
          <a:p>
            <a:pPr>
              <a:buSzPct val="100000"/>
              <a:defRPr/>
            </a:pPr>
            <a:r>
              <a:rPr lang="en-US" sz="1600" b="1" dirty="0">
                <a:solidFill>
                  <a:srgbClr val="003F72"/>
                </a:solidFill>
                <a:latin typeface="Calibri"/>
                <a:cs typeface="Calibri" panose="020F0502020204030204" pitchFamily="34" charset="0"/>
              </a:rPr>
              <a:t>Modernized Business Processes and System Usability </a:t>
            </a:r>
          </a:p>
          <a:p>
            <a:pPr>
              <a:buSzPct val="100000"/>
              <a:defRPr/>
            </a:pPr>
            <a:r>
              <a:rPr lang="en-US" sz="1400" dirty="0">
                <a:solidFill>
                  <a:srgbClr val="313131"/>
                </a:solidFill>
                <a:latin typeface="Calibri"/>
                <a:cs typeface="Calibri" panose="020F0502020204030204" pitchFamily="34" charset="0"/>
              </a:rPr>
              <a:t>Users of the redesigned VALERI experience business agility, data integrity, cost improvements, risk reduction, user productivity, and system transparency.</a:t>
            </a:r>
          </a:p>
        </p:txBody>
      </p:sp>
      <p:grpSp>
        <p:nvGrpSpPr>
          <p:cNvPr id="135" name="Group 134"/>
          <p:cNvGrpSpPr/>
          <p:nvPr/>
        </p:nvGrpSpPr>
        <p:grpSpPr>
          <a:xfrm>
            <a:off x="1828800" y="4572000"/>
            <a:ext cx="594360" cy="594360"/>
            <a:chOff x="4216715" y="3938439"/>
            <a:chExt cx="914400" cy="914400"/>
          </a:xfrm>
        </p:grpSpPr>
        <p:sp>
          <p:nvSpPr>
            <p:cNvPr id="136" name="Oval 135"/>
            <p:cNvSpPr/>
            <p:nvPr/>
          </p:nvSpPr>
          <p:spPr bwMode="gray">
            <a:xfrm>
              <a:off x="4216715" y="3938439"/>
              <a:ext cx="914400" cy="914400"/>
            </a:xfrm>
            <a:prstGeom prst="ellipse">
              <a:avLst/>
            </a:prstGeom>
            <a:solidFill>
              <a:srgbClr val="003F72"/>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37" name="8-Point Star 18"/>
            <p:cNvSpPr/>
            <p:nvPr/>
          </p:nvSpPr>
          <p:spPr>
            <a:xfrm rot="20024235" flipH="1">
              <a:off x="4338605" y="4060329"/>
              <a:ext cx="670619" cy="670619"/>
            </a:xfrm>
            <a:custGeom>
              <a:avLst/>
              <a:gdLst/>
              <a:ahLst/>
              <a:cxnLst/>
              <a:rect l="l" t="t" r="r" b="b"/>
              <a:pathLst>
                <a:path w="3040380" h="3040380">
                  <a:moveTo>
                    <a:pt x="1520190" y="971550"/>
                  </a:moveTo>
                  <a:cubicBezTo>
                    <a:pt x="1217184" y="971550"/>
                    <a:pt x="971550" y="1217184"/>
                    <a:pt x="971550" y="1520190"/>
                  </a:cubicBezTo>
                  <a:cubicBezTo>
                    <a:pt x="971550" y="1823196"/>
                    <a:pt x="1217184" y="2068830"/>
                    <a:pt x="1520190" y="2068830"/>
                  </a:cubicBezTo>
                  <a:cubicBezTo>
                    <a:pt x="1823196" y="2068830"/>
                    <a:pt x="2068830" y="1823196"/>
                    <a:pt x="2068830" y="1520190"/>
                  </a:cubicBezTo>
                  <a:cubicBezTo>
                    <a:pt x="2068830" y="1217184"/>
                    <a:pt x="1823196" y="971550"/>
                    <a:pt x="1520190" y="971550"/>
                  </a:cubicBezTo>
                  <a:close/>
                  <a:moveTo>
                    <a:pt x="1520190" y="0"/>
                  </a:moveTo>
                  <a:cubicBezTo>
                    <a:pt x="1586792" y="0"/>
                    <a:pt x="1652393" y="4283"/>
                    <a:pt x="1716539" y="14094"/>
                  </a:cubicBezTo>
                  <a:lnTo>
                    <a:pt x="1824743" y="350145"/>
                  </a:lnTo>
                  <a:cubicBezTo>
                    <a:pt x="1933334" y="374378"/>
                    <a:pt x="2037036" y="417195"/>
                    <a:pt x="2131002" y="478094"/>
                  </a:cubicBezTo>
                  <a:lnTo>
                    <a:pt x="2446152" y="316463"/>
                  </a:lnTo>
                  <a:cubicBezTo>
                    <a:pt x="2551357" y="395501"/>
                    <a:pt x="2644879" y="489023"/>
                    <a:pt x="2723917" y="594229"/>
                  </a:cubicBezTo>
                  <a:lnTo>
                    <a:pt x="2564636" y="904796"/>
                  </a:lnTo>
                  <a:cubicBezTo>
                    <a:pt x="2569646" y="911341"/>
                    <a:pt x="2573744" y="918462"/>
                    <a:pt x="2577779" y="925640"/>
                  </a:cubicBezTo>
                  <a:cubicBezTo>
                    <a:pt x="2630072" y="1018660"/>
                    <a:pt x="2668781" y="1115626"/>
                    <a:pt x="2689512" y="1215405"/>
                  </a:cubicBezTo>
                  <a:lnTo>
                    <a:pt x="3026287" y="1323842"/>
                  </a:lnTo>
                  <a:cubicBezTo>
                    <a:pt x="3036097" y="1387988"/>
                    <a:pt x="3040380" y="1453589"/>
                    <a:pt x="3040380" y="1520190"/>
                  </a:cubicBezTo>
                  <a:cubicBezTo>
                    <a:pt x="3040380" y="1586792"/>
                    <a:pt x="3036097" y="1652393"/>
                    <a:pt x="3026287" y="1716539"/>
                  </a:cubicBezTo>
                  <a:lnTo>
                    <a:pt x="2690239" y="1824742"/>
                  </a:lnTo>
                  <a:cubicBezTo>
                    <a:pt x="2666005" y="1933335"/>
                    <a:pt x="2623188" y="2037037"/>
                    <a:pt x="2562287" y="2131005"/>
                  </a:cubicBezTo>
                  <a:lnTo>
                    <a:pt x="2723917" y="2446152"/>
                  </a:lnTo>
                  <a:cubicBezTo>
                    <a:pt x="2644879" y="2551357"/>
                    <a:pt x="2551357" y="2644879"/>
                    <a:pt x="2446151" y="2723917"/>
                  </a:cubicBezTo>
                  <a:lnTo>
                    <a:pt x="2135585" y="2564637"/>
                  </a:lnTo>
                  <a:cubicBezTo>
                    <a:pt x="2129042" y="2569647"/>
                    <a:pt x="2121921" y="2573744"/>
                    <a:pt x="2114744" y="2577779"/>
                  </a:cubicBezTo>
                  <a:cubicBezTo>
                    <a:pt x="2021723" y="2630072"/>
                    <a:pt x="1924755" y="2668781"/>
                    <a:pt x="1824976" y="2689511"/>
                  </a:cubicBezTo>
                  <a:lnTo>
                    <a:pt x="1716539" y="3026287"/>
                  </a:lnTo>
                  <a:cubicBezTo>
                    <a:pt x="1652393" y="3036097"/>
                    <a:pt x="1586792" y="3040380"/>
                    <a:pt x="1520190" y="3040380"/>
                  </a:cubicBezTo>
                  <a:cubicBezTo>
                    <a:pt x="1453589" y="3040380"/>
                    <a:pt x="1387987" y="3036097"/>
                    <a:pt x="1323841" y="3026287"/>
                  </a:cubicBezTo>
                  <a:lnTo>
                    <a:pt x="1215638" y="2690237"/>
                  </a:lnTo>
                  <a:cubicBezTo>
                    <a:pt x="1107045" y="2666005"/>
                    <a:pt x="1003344" y="2623186"/>
                    <a:pt x="909378" y="2562286"/>
                  </a:cubicBezTo>
                  <a:lnTo>
                    <a:pt x="594229" y="2723917"/>
                  </a:lnTo>
                  <a:cubicBezTo>
                    <a:pt x="489023" y="2644879"/>
                    <a:pt x="395501" y="2551357"/>
                    <a:pt x="316463" y="2446152"/>
                  </a:cubicBezTo>
                  <a:lnTo>
                    <a:pt x="475745" y="2135582"/>
                  </a:lnTo>
                  <a:cubicBezTo>
                    <a:pt x="470736" y="2129039"/>
                    <a:pt x="466639" y="2121919"/>
                    <a:pt x="462604" y="2114742"/>
                  </a:cubicBezTo>
                  <a:cubicBezTo>
                    <a:pt x="410311" y="2021723"/>
                    <a:pt x="371603" y="1924756"/>
                    <a:pt x="350872" y="1824977"/>
                  </a:cubicBezTo>
                  <a:lnTo>
                    <a:pt x="14094" y="1716539"/>
                  </a:lnTo>
                  <a:cubicBezTo>
                    <a:pt x="4283" y="1652393"/>
                    <a:pt x="0" y="1586792"/>
                    <a:pt x="0" y="1520190"/>
                  </a:cubicBezTo>
                  <a:cubicBezTo>
                    <a:pt x="0" y="1453589"/>
                    <a:pt x="4283" y="1387988"/>
                    <a:pt x="14093" y="1323841"/>
                  </a:cubicBezTo>
                  <a:lnTo>
                    <a:pt x="350147" y="1215637"/>
                  </a:lnTo>
                  <a:cubicBezTo>
                    <a:pt x="374379" y="1107046"/>
                    <a:pt x="417197" y="1003347"/>
                    <a:pt x="478096" y="909381"/>
                  </a:cubicBezTo>
                  <a:lnTo>
                    <a:pt x="316464" y="594228"/>
                  </a:lnTo>
                  <a:cubicBezTo>
                    <a:pt x="395501" y="489023"/>
                    <a:pt x="489023" y="395501"/>
                    <a:pt x="594229" y="316463"/>
                  </a:cubicBezTo>
                  <a:lnTo>
                    <a:pt x="904800" y="475746"/>
                  </a:lnTo>
                  <a:cubicBezTo>
                    <a:pt x="911343" y="470736"/>
                    <a:pt x="918463" y="466639"/>
                    <a:pt x="925641" y="462604"/>
                  </a:cubicBezTo>
                  <a:cubicBezTo>
                    <a:pt x="1018661" y="410311"/>
                    <a:pt x="1115626" y="371603"/>
                    <a:pt x="1215403" y="350873"/>
                  </a:cubicBezTo>
                  <a:lnTo>
                    <a:pt x="1323841" y="14093"/>
                  </a:lnTo>
                  <a:cubicBezTo>
                    <a:pt x="1387988" y="4283"/>
                    <a:pt x="1453589" y="0"/>
                    <a:pt x="1520190" y="0"/>
                  </a:cubicBezTo>
                  <a:close/>
                </a:path>
              </a:pathLst>
            </a:custGeom>
            <a:solidFill>
              <a:srgbClr val="FFFFFF"/>
            </a:solidFill>
            <a:ln w="10795" cap="flat" cmpd="sng" algn="ctr">
              <a:solidFill>
                <a:srgbClr val="003F72"/>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rgbClr val="0083BE"/>
                </a:solidFill>
                <a:latin typeface="Calibri" panose="020F0502020204030204"/>
              </a:endParaRPr>
            </a:p>
          </p:txBody>
        </p:sp>
      </p:grpSp>
      <p:grpSp>
        <p:nvGrpSpPr>
          <p:cNvPr id="186" name="Group 185"/>
          <p:cNvGrpSpPr/>
          <p:nvPr/>
        </p:nvGrpSpPr>
        <p:grpSpPr>
          <a:xfrm>
            <a:off x="1823514" y="3227832"/>
            <a:ext cx="594360" cy="594360"/>
            <a:chOff x="445343" y="1100099"/>
            <a:chExt cx="4546424" cy="4546424"/>
          </a:xfrm>
        </p:grpSpPr>
        <p:sp>
          <p:nvSpPr>
            <p:cNvPr id="187" name="Oval 186"/>
            <p:cNvSpPr/>
            <p:nvPr/>
          </p:nvSpPr>
          <p:spPr bwMode="gray">
            <a:xfrm>
              <a:off x="445343" y="1100099"/>
              <a:ext cx="4546424" cy="4546424"/>
            </a:xfrm>
            <a:prstGeom prst="ellipse">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188" name="Group 187"/>
            <p:cNvGrpSpPr/>
            <p:nvPr/>
          </p:nvGrpSpPr>
          <p:grpSpPr>
            <a:xfrm rot="19507311">
              <a:off x="2472906" y="2521889"/>
              <a:ext cx="1762889" cy="2514284"/>
              <a:chOff x="4941970" y="2515191"/>
              <a:chExt cx="1762889" cy="2514284"/>
            </a:xfrm>
          </p:grpSpPr>
          <p:sp>
            <p:nvSpPr>
              <p:cNvPr id="241" name="Rounded Rectangle 240"/>
              <p:cNvSpPr/>
              <p:nvPr/>
            </p:nvSpPr>
            <p:spPr bwMode="gray">
              <a:xfrm>
                <a:off x="4941970" y="2515191"/>
                <a:ext cx="1762889" cy="2514284"/>
              </a:xfrm>
              <a:prstGeom prst="roundRect">
                <a:avLst>
                  <a:gd name="adj" fmla="val 24011"/>
                </a:avLst>
              </a:prstGeom>
              <a:solidFill>
                <a:srgbClr val="FFFFFF"/>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42" name="Group 241"/>
              <p:cNvGrpSpPr/>
              <p:nvPr/>
            </p:nvGrpSpPr>
            <p:grpSpPr>
              <a:xfrm>
                <a:off x="5017237" y="2622539"/>
                <a:ext cx="1612355" cy="2299588"/>
                <a:chOff x="3997526" y="2710195"/>
                <a:chExt cx="1529998" cy="2182128"/>
              </a:xfrm>
            </p:grpSpPr>
            <p:sp>
              <p:nvSpPr>
                <p:cNvPr id="243" name="Rounded Rectangle 242"/>
                <p:cNvSpPr/>
                <p:nvPr/>
              </p:nvSpPr>
              <p:spPr bwMode="gray">
                <a:xfrm>
                  <a:off x="3997526" y="2710195"/>
                  <a:ext cx="1529998" cy="2182128"/>
                </a:xfrm>
                <a:prstGeom prst="roundRect">
                  <a:avLst>
                    <a:gd name="adj" fmla="val 24011"/>
                  </a:avLst>
                </a:prstGeom>
                <a:solidFill>
                  <a:srgbClr val="F3CF45"/>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44" name="Rounded Rectangle 243"/>
                <p:cNvSpPr/>
                <p:nvPr/>
              </p:nvSpPr>
              <p:spPr bwMode="gray">
                <a:xfrm>
                  <a:off x="4067530" y="2780198"/>
                  <a:ext cx="1389988" cy="2042122"/>
                </a:xfrm>
                <a:prstGeom prst="roundRect">
                  <a:avLst>
                    <a:gd name="adj" fmla="val 23545"/>
                  </a:avLst>
                </a:prstGeom>
                <a:solidFill>
                  <a:srgbClr val="FFFFFF"/>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45" name="Group 244"/>
                <p:cNvGrpSpPr/>
                <p:nvPr/>
              </p:nvGrpSpPr>
              <p:grpSpPr>
                <a:xfrm>
                  <a:off x="4361235" y="3649538"/>
                  <a:ext cx="835163" cy="927623"/>
                  <a:chOff x="4439761" y="3337448"/>
                  <a:chExt cx="835163" cy="927623"/>
                </a:xfrm>
              </p:grpSpPr>
              <p:sp>
                <p:nvSpPr>
                  <p:cNvPr id="246" name="Rounded Rectangle 245"/>
                  <p:cNvSpPr/>
                  <p:nvPr/>
                </p:nvSpPr>
                <p:spPr bwMode="gray">
                  <a:xfrm rot="16200000">
                    <a:off x="4043337" y="3733873"/>
                    <a:ext cx="927622" cy="134774"/>
                  </a:xfrm>
                  <a:prstGeom prst="roundRect">
                    <a:avLst>
                      <a:gd name="adj" fmla="val 29777"/>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47" name="Rounded Rectangle 246"/>
                  <p:cNvSpPr/>
                  <p:nvPr/>
                </p:nvSpPr>
                <p:spPr bwMode="gray">
                  <a:xfrm rot="16200000">
                    <a:off x="4495046" y="3832951"/>
                    <a:ext cx="724590" cy="139648"/>
                  </a:xfrm>
                  <a:prstGeom prst="roundRect">
                    <a:avLst>
                      <a:gd name="adj" fmla="val 29777"/>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48" name="Rounded Rectangle 247"/>
                  <p:cNvSpPr/>
                  <p:nvPr/>
                </p:nvSpPr>
                <p:spPr bwMode="gray">
                  <a:xfrm rot="16200000">
                    <a:off x="4743726" y="3733872"/>
                    <a:ext cx="927622" cy="134774"/>
                  </a:xfrm>
                  <a:prstGeom prst="roundRect">
                    <a:avLst>
                      <a:gd name="adj" fmla="val 29777"/>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grpSp>
        <p:sp>
          <p:nvSpPr>
            <p:cNvPr id="189" name="Oval 188"/>
            <p:cNvSpPr/>
            <p:nvPr/>
          </p:nvSpPr>
          <p:spPr bwMode="gray">
            <a:xfrm>
              <a:off x="1470013" y="2388639"/>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0" name="Oval 189"/>
            <p:cNvSpPr/>
            <p:nvPr/>
          </p:nvSpPr>
          <p:spPr bwMode="gray">
            <a:xfrm>
              <a:off x="1466495" y="2189178"/>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1" name="Oval 190"/>
            <p:cNvSpPr/>
            <p:nvPr/>
          </p:nvSpPr>
          <p:spPr bwMode="gray">
            <a:xfrm>
              <a:off x="1516952" y="1992374"/>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2" name="Oval 191"/>
            <p:cNvSpPr/>
            <p:nvPr/>
          </p:nvSpPr>
          <p:spPr bwMode="gray">
            <a:xfrm>
              <a:off x="1607920" y="1857280"/>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3" name="Oval 192"/>
            <p:cNvSpPr/>
            <p:nvPr/>
          </p:nvSpPr>
          <p:spPr bwMode="gray">
            <a:xfrm>
              <a:off x="1756685" y="1747689"/>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4" name="Oval 193"/>
            <p:cNvSpPr/>
            <p:nvPr/>
          </p:nvSpPr>
          <p:spPr bwMode="gray">
            <a:xfrm>
              <a:off x="1925620" y="1667896"/>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5" name="Oval 194"/>
            <p:cNvSpPr/>
            <p:nvPr/>
          </p:nvSpPr>
          <p:spPr bwMode="gray">
            <a:xfrm>
              <a:off x="2086678" y="1647718"/>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6" name="Oval 195"/>
            <p:cNvSpPr/>
            <p:nvPr/>
          </p:nvSpPr>
          <p:spPr bwMode="gray">
            <a:xfrm>
              <a:off x="2262052" y="1652987"/>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7" name="Oval 196"/>
            <p:cNvSpPr/>
            <p:nvPr/>
          </p:nvSpPr>
          <p:spPr bwMode="gray">
            <a:xfrm>
              <a:off x="2445709" y="1694484"/>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8" name="Oval 197"/>
            <p:cNvSpPr/>
            <p:nvPr/>
          </p:nvSpPr>
          <p:spPr bwMode="gray">
            <a:xfrm>
              <a:off x="2607329" y="1749586"/>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199" name="Oval 198"/>
            <p:cNvSpPr/>
            <p:nvPr/>
          </p:nvSpPr>
          <p:spPr bwMode="gray">
            <a:xfrm>
              <a:off x="2769498" y="1829572"/>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0" name="Oval 199"/>
            <p:cNvSpPr/>
            <p:nvPr/>
          </p:nvSpPr>
          <p:spPr bwMode="gray">
            <a:xfrm>
              <a:off x="2910924" y="1932299"/>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1" name="Oval 200"/>
            <p:cNvSpPr/>
            <p:nvPr/>
          </p:nvSpPr>
          <p:spPr bwMode="gray">
            <a:xfrm>
              <a:off x="3044701" y="2027345"/>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2" name="Oval 201"/>
            <p:cNvSpPr/>
            <p:nvPr/>
          </p:nvSpPr>
          <p:spPr bwMode="gray">
            <a:xfrm>
              <a:off x="3186127" y="2158040"/>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3" name="Oval 202"/>
            <p:cNvSpPr/>
            <p:nvPr/>
          </p:nvSpPr>
          <p:spPr bwMode="gray">
            <a:xfrm>
              <a:off x="3338439" y="2236591"/>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4" name="Oval 203"/>
            <p:cNvSpPr/>
            <p:nvPr/>
          </p:nvSpPr>
          <p:spPr bwMode="gray">
            <a:xfrm>
              <a:off x="3503751" y="2296451"/>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5" name="Oval 204"/>
            <p:cNvSpPr/>
            <p:nvPr/>
          </p:nvSpPr>
          <p:spPr bwMode="gray">
            <a:xfrm>
              <a:off x="3663708" y="2365618"/>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6" name="Oval 205"/>
            <p:cNvSpPr/>
            <p:nvPr/>
          </p:nvSpPr>
          <p:spPr bwMode="gray">
            <a:xfrm>
              <a:off x="3788072" y="2478042"/>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07" name="Oval 206"/>
            <p:cNvSpPr/>
            <p:nvPr/>
          </p:nvSpPr>
          <p:spPr bwMode="gray">
            <a:xfrm>
              <a:off x="3837436" y="2658850"/>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08" name="Group 207"/>
            <p:cNvGrpSpPr/>
            <p:nvPr/>
          </p:nvGrpSpPr>
          <p:grpSpPr>
            <a:xfrm>
              <a:off x="1514244" y="2514378"/>
              <a:ext cx="187215" cy="185298"/>
              <a:chOff x="1935858" y="2762880"/>
              <a:chExt cx="187215" cy="185298"/>
            </a:xfrm>
          </p:grpSpPr>
          <p:sp>
            <p:nvSpPr>
              <p:cNvPr id="239" name="Oval 238"/>
              <p:cNvSpPr/>
              <p:nvPr/>
            </p:nvSpPr>
            <p:spPr bwMode="gray">
              <a:xfrm>
                <a:off x="1935858" y="2762880"/>
                <a:ext cx="187215" cy="185298"/>
              </a:xfrm>
              <a:prstGeom prst="ellipse">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40" name="Oval 239"/>
              <p:cNvSpPr/>
              <p:nvPr/>
            </p:nvSpPr>
            <p:spPr bwMode="gray">
              <a:xfrm>
                <a:off x="1958753" y="2785541"/>
                <a:ext cx="141425" cy="139977"/>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209" name="Group 208"/>
            <p:cNvGrpSpPr/>
            <p:nvPr/>
          </p:nvGrpSpPr>
          <p:grpSpPr>
            <a:xfrm rot="2700000">
              <a:off x="1249385" y="2301469"/>
              <a:ext cx="1762889" cy="2514284"/>
              <a:chOff x="4941970" y="2515191"/>
              <a:chExt cx="1762889" cy="2514284"/>
            </a:xfrm>
          </p:grpSpPr>
          <p:sp>
            <p:nvSpPr>
              <p:cNvPr id="231" name="Rounded Rectangle 230"/>
              <p:cNvSpPr/>
              <p:nvPr/>
            </p:nvSpPr>
            <p:spPr bwMode="gray">
              <a:xfrm>
                <a:off x="4941970" y="2515191"/>
                <a:ext cx="1762889" cy="2514284"/>
              </a:xfrm>
              <a:prstGeom prst="roundRect">
                <a:avLst>
                  <a:gd name="adj" fmla="val 24011"/>
                </a:avLst>
              </a:prstGeom>
              <a:solidFill>
                <a:srgbClr val="FFFFFF"/>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32" name="Group 231"/>
              <p:cNvGrpSpPr/>
              <p:nvPr/>
            </p:nvGrpSpPr>
            <p:grpSpPr>
              <a:xfrm>
                <a:off x="5017237" y="2622539"/>
                <a:ext cx="1612355" cy="2299588"/>
                <a:chOff x="3997526" y="2710195"/>
                <a:chExt cx="1529998" cy="2182128"/>
              </a:xfrm>
            </p:grpSpPr>
            <p:sp>
              <p:nvSpPr>
                <p:cNvPr id="233" name="Rounded Rectangle 232"/>
                <p:cNvSpPr/>
                <p:nvPr/>
              </p:nvSpPr>
              <p:spPr bwMode="gray">
                <a:xfrm>
                  <a:off x="3997526" y="2710195"/>
                  <a:ext cx="1529998" cy="2182128"/>
                </a:xfrm>
                <a:prstGeom prst="roundRect">
                  <a:avLst>
                    <a:gd name="adj" fmla="val 24011"/>
                  </a:avLst>
                </a:prstGeom>
                <a:solidFill>
                  <a:srgbClr val="F3CF45"/>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34" name="Rounded Rectangle 233"/>
                <p:cNvSpPr/>
                <p:nvPr/>
              </p:nvSpPr>
              <p:spPr bwMode="gray">
                <a:xfrm>
                  <a:off x="4067530" y="2780198"/>
                  <a:ext cx="1389988" cy="2042122"/>
                </a:xfrm>
                <a:prstGeom prst="roundRect">
                  <a:avLst>
                    <a:gd name="adj" fmla="val 23545"/>
                  </a:avLst>
                </a:prstGeom>
                <a:solidFill>
                  <a:srgbClr val="FFFFFF"/>
                </a:solidFill>
                <a:ln w="7620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35" name="Group 234"/>
                <p:cNvGrpSpPr/>
                <p:nvPr/>
              </p:nvGrpSpPr>
              <p:grpSpPr>
                <a:xfrm>
                  <a:off x="4361235" y="3649538"/>
                  <a:ext cx="835163" cy="927623"/>
                  <a:chOff x="4439761" y="3337448"/>
                  <a:chExt cx="835163" cy="927623"/>
                </a:xfrm>
              </p:grpSpPr>
              <p:sp>
                <p:nvSpPr>
                  <p:cNvPr id="236" name="Rounded Rectangle 235"/>
                  <p:cNvSpPr/>
                  <p:nvPr/>
                </p:nvSpPr>
                <p:spPr bwMode="gray">
                  <a:xfrm rot="16200000">
                    <a:off x="4043337" y="3733873"/>
                    <a:ext cx="927622" cy="134774"/>
                  </a:xfrm>
                  <a:prstGeom prst="roundRect">
                    <a:avLst>
                      <a:gd name="adj" fmla="val 29777"/>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37" name="Rounded Rectangle 236"/>
                  <p:cNvSpPr/>
                  <p:nvPr/>
                </p:nvSpPr>
                <p:spPr bwMode="gray">
                  <a:xfrm rot="16200000">
                    <a:off x="4495046" y="3832951"/>
                    <a:ext cx="724590" cy="139648"/>
                  </a:xfrm>
                  <a:prstGeom prst="roundRect">
                    <a:avLst>
                      <a:gd name="adj" fmla="val 29777"/>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38" name="Rounded Rectangle 237"/>
                  <p:cNvSpPr/>
                  <p:nvPr/>
                </p:nvSpPr>
                <p:spPr bwMode="gray">
                  <a:xfrm rot="16200000">
                    <a:off x="4743726" y="3733872"/>
                    <a:ext cx="927622" cy="134774"/>
                  </a:xfrm>
                  <a:prstGeom prst="roundRect">
                    <a:avLst>
                      <a:gd name="adj" fmla="val 29777"/>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grpSp>
        <p:grpSp>
          <p:nvGrpSpPr>
            <p:cNvPr id="210" name="Group 209"/>
            <p:cNvGrpSpPr/>
            <p:nvPr/>
          </p:nvGrpSpPr>
          <p:grpSpPr>
            <a:xfrm rot="2700000">
              <a:off x="2510309" y="2885611"/>
              <a:ext cx="295200" cy="292178"/>
              <a:chOff x="5375476" y="2848037"/>
              <a:chExt cx="295200" cy="292178"/>
            </a:xfrm>
          </p:grpSpPr>
          <p:sp>
            <p:nvSpPr>
              <p:cNvPr id="229" name="Oval 228"/>
              <p:cNvSpPr/>
              <p:nvPr/>
            </p:nvSpPr>
            <p:spPr bwMode="gray">
              <a:xfrm rot="18900000">
                <a:off x="5375476" y="2848037"/>
                <a:ext cx="295200" cy="292178"/>
              </a:xfrm>
              <a:prstGeom prst="ellipse">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30" name="Oval 229"/>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211" name="Group 210"/>
            <p:cNvGrpSpPr/>
            <p:nvPr/>
          </p:nvGrpSpPr>
          <p:grpSpPr>
            <a:xfrm rot="2700000">
              <a:off x="2358079" y="2907586"/>
              <a:ext cx="220301" cy="218046"/>
              <a:chOff x="5375476" y="2848037"/>
              <a:chExt cx="295200" cy="292178"/>
            </a:xfrm>
          </p:grpSpPr>
          <p:sp>
            <p:nvSpPr>
              <p:cNvPr id="227" name="Oval 226"/>
              <p:cNvSpPr/>
              <p:nvPr/>
            </p:nvSpPr>
            <p:spPr bwMode="gray">
              <a:xfrm rot="18900000">
                <a:off x="5375476" y="2848037"/>
                <a:ext cx="295200" cy="292178"/>
              </a:xfrm>
              <a:prstGeom prst="ellipse">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28" name="Oval 227"/>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212" name="Group 211"/>
            <p:cNvGrpSpPr/>
            <p:nvPr/>
          </p:nvGrpSpPr>
          <p:grpSpPr>
            <a:xfrm rot="2700000">
              <a:off x="2203099" y="2873011"/>
              <a:ext cx="220301" cy="218046"/>
              <a:chOff x="5375476" y="2848037"/>
              <a:chExt cx="295200" cy="292178"/>
            </a:xfrm>
          </p:grpSpPr>
          <p:sp>
            <p:nvSpPr>
              <p:cNvPr id="225" name="Oval 224"/>
              <p:cNvSpPr/>
              <p:nvPr/>
            </p:nvSpPr>
            <p:spPr bwMode="gray">
              <a:xfrm rot="18900000">
                <a:off x="5375476" y="2848037"/>
                <a:ext cx="295200" cy="292178"/>
              </a:xfrm>
              <a:prstGeom prst="ellipse">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26" name="Oval 225"/>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213" name="Group 212"/>
            <p:cNvGrpSpPr/>
            <p:nvPr/>
          </p:nvGrpSpPr>
          <p:grpSpPr>
            <a:xfrm rot="2700000">
              <a:off x="2055160" y="2821041"/>
              <a:ext cx="220301" cy="218046"/>
              <a:chOff x="5375476" y="2848037"/>
              <a:chExt cx="295200" cy="292178"/>
            </a:xfrm>
          </p:grpSpPr>
          <p:sp>
            <p:nvSpPr>
              <p:cNvPr id="223" name="Oval 222"/>
              <p:cNvSpPr/>
              <p:nvPr/>
            </p:nvSpPr>
            <p:spPr bwMode="gray">
              <a:xfrm rot="18900000">
                <a:off x="5375476" y="2848037"/>
                <a:ext cx="295200" cy="292178"/>
              </a:xfrm>
              <a:prstGeom prst="ellipse">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24" name="Oval 223"/>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214" name="Group 213"/>
            <p:cNvGrpSpPr/>
            <p:nvPr/>
          </p:nvGrpSpPr>
          <p:grpSpPr>
            <a:xfrm rot="2700000">
              <a:off x="1905097" y="2781282"/>
              <a:ext cx="220301" cy="218046"/>
              <a:chOff x="5375476" y="2848037"/>
              <a:chExt cx="295200" cy="292178"/>
            </a:xfrm>
          </p:grpSpPr>
          <p:sp>
            <p:nvSpPr>
              <p:cNvPr id="221" name="Oval 220"/>
              <p:cNvSpPr/>
              <p:nvPr/>
            </p:nvSpPr>
            <p:spPr bwMode="gray">
              <a:xfrm rot="18900000">
                <a:off x="5375476" y="2848037"/>
                <a:ext cx="295200" cy="292178"/>
              </a:xfrm>
              <a:prstGeom prst="ellipse">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22" name="Oval 221"/>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215" name="Group 214"/>
            <p:cNvGrpSpPr/>
            <p:nvPr/>
          </p:nvGrpSpPr>
          <p:grpSpPr>
            <a:xfrm rot="2700000">
              <a:off x="1756644" y="2714772"/>
              <a:ext cx="220301" cy="218046"/>
              <a:chOff x="5375476" y="2848037"/>
              <a:chExt cx="295200" cy="292178"/>
            </a:xfrm>
          </p:grpSpPr>
          <p:sp>
            <p:nvSpPr>
              <p:cNvPr id="219" name="Oval 218"/>
              <p:cNvSpPr/>
              <p:nvPr/>
            </p:nvSpPr>
            <p:spPr bwMode="gray">
              <a:xfrm rot="18900000">
                <a:off x="5375476" y="2848037"/>
                <a:ext cx="295200" cy="292178"/>
              </a:xfrm>
              <a:prstGeom prst="ellipse">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20" name="Oval 219"/>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nvGrpSpPr>
            <p:cNvPr id="216" name="Group 215"/>
            <p:cNvGrpSpPr/>
            <p:nvPr/>
          </p:nvGrpSpPr>
          <p:grpSpPr>
            <a:xfrm rot="2700000">
              <a:off x="1616951" y="2631599"/>
              <a:ext cx="220301" cy="218046"/>
              <a:chOff x="5375476" y="2848037"/>
              <a:chExt cx="295200" cy="292178"/>
            </a:xfrm>
          </p:grpSpPr>
          <p:sp>
            <p:nvSpPr>
              <p:cNvPr id="217" name="Oval 216"/>
              <p:cNvSpPr/>
              <p:nvPr/>
            </p:nvSpPr>
            <p:spPr bwMode="gray">
              <a:xfrm rot="18900000">
                <a:off x="5375476" y="2848037"/>
                <a:ext cx="295200" cy="292178"/>
              </a:xfrm>
              <a:prstGeom prst="ellipse">
                <a:avLst/>
              </a:prstGeom>
              <a:solidFill>
                <a:srgbClr val="F3CF45"/>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18" name="Oval 217"/>
              <p:cNvSpPr/>
              <p:nvPr/>
            </p:nvSpPr>
            <p:spPr bwMode="gray">
              <a:xfrm rot="18900000">
                <a:off x="5423987" y="2896052"/>
                <a:ext cx="198178" cy="196149"/>
              </a:xfrm>
              <a:prstGeom prst="ellipse">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grpSp>
      <p:grpSp>
        <p:nvGrpSpPr>
          <p:cNvPr id="2" name="Group 1"/>
          <p:cNvGrpSpPr/>
          <p:nvPr/>
        </p:nvGrpSpPr>
        <p:grpSpPr>
          <a:xfrm>
            <a:off x="6268716" y="1747272"/>
            <a:ext cx="594360" cy="594360"/>
            <a:chOff x="4744716" y="1747272"/>
            <a:chExt cx="594360" cy="594360"/>
          </a:xfrm>
        </p:grpSpPr>
        <p:sp>
          <p:nvSpPr>
            <p:cNvPr id="249" name="Oval 248"/>
            <p:cNvSpPr/>
            <p:nvPr/>
          </p:nvSpPr>
          <p:spPr bwMode="gray">
            <a:xfrm>
              <a:off x="4744716" y="1747272"/>
              <a:ext cx="594360" cy="594360"/>
            </a:xfrm>
            <a:prstGeom prst="ellipse">
              <a:avLst/>
            </a:prstGeom>
            <a:solidFill>
              <a:srgbClr val="C6262E"/>
            </a:solidFill>
            <a:ln w="19050" algn="ctr">
              <a:solidFill>
                <a:srgbClr val="FFFFFF"/>
              </a:solid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50" name="Freeform 249"/>
            <p:cNvSpPr>
              <a:spLocks noEditPoints="1"/>
            </p:cNvSpPr>
            <p:nvPr/>
          </p:nvSpPr>
          <p:spPr bwMode="auto">
            <a:xfrm>
              <a:off x="4827524" y="1908389"/>
              <a:ext cx="412887" cy="275257"/>
            </a:xfrm>
            <a:custGeom>
              <a:avLst/>
              <a:gdLst>
                <a:gd name="T0" fmla="*/ 174 w 181"/>
                <a:gd name="T1" fmla="*/ 69 h 126"/>
                <a:gd name="T2" fmla="*/ 136 w 181"/>
                <a:gd name="T3" fmla="*/ 21 h 126"/>
                <a:gd name="T4" fmla="*/ 136 w 181"/>
                <a:gd name="T5" fmla="*/ 18 h 126"/>
                <a:gd name="T6" fmla="*/ 115 w 181"/>
                <a:gd name="T7" fmla="*/ 0 h 126"/>
                <a:gd name="T8" fmla="*/ 94 w 181"/>
                <a:gd name="T9" fmla="*/ 18 h 126"/>
                <a:gd name="T10" fmla="*/ 88 w 181"/>
                <a:gd name="T11" fmla="*/ 18 h 126"/>
                <a:gd name="T12" fmla="*/ 67 w 181"/>
                <a:gd name="T13" fmla="*/ 0 h 126"/>
                <a:gd name="T14" fmla="*/ 47 w 181"/>
                <a:gd name="T15" fmla="*/ 18 h 126"/>
                <a:gd name="T16" fmla="*/ 47 w 181"/>
                <a:gd name="T17" fmla="*/ 21 h 126"/>
                <a:gd name="T18" fmla="*/ 6 w 181"/>
                <a:gd name="T19" fmla="*/ 71 h 126"/>
                <a:gd name="T20" fmla="*/ 0 w 181"/>
                <a:gd name="T21" fmla="*/ 90 h 126"/>
                <a:gd name="T22" fmla="*/ 36 w 181"/>
                <a:gd name="T23" fmla="*/ 126 h 126"/>
                <a:gd name="T24" fmla="*/ 73 w 181"/>
                <a:gd name="T25" fmla="*/ 90 h 126"/>
                <a:gd name="T26" fmla="*/ 72 w 181"/>
                <a:gd name="T27" fmla="*/ 83 h 126"/>
                <a:gd name="T28" fmla="*/ 91 w 181"/>
                <a:gd name="T29" fmla="*/ 94 h 126"/>
                <a:gd name="T30" fmla="*/ 109 w 181"/>
                <a:gd name="T31" fmla="*/ 85 h 126"/>
                <a:gd name="T32" fmla="*/ 108 w 181"/>
                <a:gd name="T33" fmla="*/ 90 h 126"/>
                <a:gd name="T34" fmla="*/ 144 w 181"/>
                <a:gd name="T35" fmla="*/ 126 h 126"/>
                <a:gd name="T36" fmla="*/ 181 w 181"/>
                <a:gd name="T37" fmla="*/ 90 h 126"/>
                <a:gd name="T38" fmla="*/ 174 w 181"/>
                <a:gd name="T39" fmla="*/ 69 h 126"/>
                <a:gd name="T40" fmla="*/ 144 w 181"/>
                <a:gd name="T41" fmla="*/ 123 h 126"/>
                <a:gd name="T42" fmla="*/ 112 w 181"/>
                <a:gd name="T43" fmla="*/ 90 h 126"/>
                <a:gd name="T44" fmla="*/ 115 w 181"/>
                <a:gd name="T45" fmla="*/ 76 h 126"/>
                <a:gd name="T46" fmla="*/ 144 w 181"/>
                <a:gd name="T47" fmla="*/ 57 h 126"/>
                <a:gd name="T48" fmla="*/ 173 w 181"/>
                <a:gd name="T49" fmla="*/ 74 h 126"/>
                <a:gd name="T50" fmla="*/ 177 w 181"/>
                <a:gd name="T51" fmla="*/ 90 h 126"/>
                <a:gd name="T52" fmla="*/ 144 w 181"/>
                <a:gd name="T53" fmla="*/ 123 h 126"/>
                <a:gd name="T54" fmla="*/ 103 w 181"/>
                <a:gd name="T55" fmla="*/ 77 h 126"/>
                <a:gd name="T56" fmla="*/ 91 w 181"/>
                <a:gd name="T57" fmla="*/ 86 h 126"/>
                <a:gd name="T58" fmla="*/ 79 w 181"/>
                <a:gd name="T59" fmla="*/ 78 h 126"/>
                <a:gd name="T60" fmla="*/ 78 w 181"/>
                <a:gd name="T61" fmla="*/ 72 h 126"/>
                <a:gd name="T62" fmla="*/ 91 w 181"/>
                <a:gd name="T63" fmla="*/ 59 h 126"/>
                <a:gd name="T64" fmla="*/ 104 w 181"/>
                <a:gd name="T65" fmla="*/ 72 h 126"/>
                <a:gd name="T66" fmla="*/ 103 w 181"/>
                <a:gd name="T67" fmla="*/ 77 h 126"/>
                <a:gd name="T68" fmla="*/ 36 w 181"/>
                <a:gd name="T69" fmla="*/ 123 h 126"/>
                <a:gd name="T70" fmla="*/ 4 w 181"/>
                <a:gd name="T71" fmla="*/ 90 h 126"/>
                <a:gd name="T72" fmla="*/ 5 w 181"/>
                <a:gd name="T73" fmla="*/ 81 h 126"/>
                <a:gd name="T74" fmla="*/ 36 w 181"/>
                <a:gd name="T75" fmla="*/ 57 h 126"/>
                <a:gd name="T76" fmla="*/ 67 w 181"/>
                <a:gd name="T77" fmla="*/ 78 h 126"/>
                <a:gd name="T78" fmla="*/ 69 w 181"/>
                <a:gd name="T79" fmla="*/ 90 h 126"/>
                <a:gd name="T80" fmla="*/ 36 w 181"/>
                <a:gd name="T81" fmla="*/ 1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74" y="69"/>
                  </a:moveTo>
                  <a:cubicBezTo>
                    <a:pt x="163" y="48"/>
                    <a:pt x="144" y="29"/>
                    <a:pt x="136" y="21"/>
                  </a:cubicBezTo>
                  <a:cubicBezTo>
                    <a:pt x="136" y="20"/>
                    <a:pt x="136" y="19"/>
                    <a:pt x="136" y="18"/>
                  </a:cubicBezTo>
                  <a:cubicBezTo>
                    <a:pt x="136" y="8"/>
                    <a:pt x="127" y="0"/>
                    <a:pt x="115" y="0"/>
                  </a:cubicBezTo>
                  <a:cubicBezTo>
                    <a:pt x="104" y="0"/>
                    <a:pt x="94" y="8"/>
                    <a:pt x="94" y="18"/>
                  </a:cubicBezTo>
                  <a:cubicBezTo>
                    <a:pt x="88" y="18"/>
                    <a:pt x="88" y="18"/>
                    <a:pt x="88" y="18"/>
                  </a:cubicBezTo>
                  <a:cubicBezTo>
                    <a:pt x="88" y="8"/>
                    <a:pt x="79" y="0"/>
                    <a:pt x="67" y="0"/>
                  </a:cubicBezTo>
                  <a:cubicBezTo>
                    <a:pt x="56" y="0"/>
                    <a:pt x="47" y="8"/>
                    <a:pt x="47" y="18"/>
                  </a:cubicBezTo>
                  <a:cubicBezTo>
                    <a:pt x="47" y="19"/>
                    <a:pt x="47" y="20"/>
                    <a:pt x="47" y="21"/>
                  </a:cubicBezTo>
                  <a:cubicBezTo>
                    <a:pt x="21" y="44"/>
                    <a:pt x="10" y="61"/>
                    <a:pt x="6" y="71"/>
                  </a:cubicBezTo>
                  <a:cubicBezTo>
                    <a:pt x="2" y="77"/>
                    <a:pt x="0" y="83"/>
                    <a:pt x="0" y="90"/>
                  </a:cubicBezTo>
                  <a:cubicBezTo>
                    <a:pt x="0" y="110"/>
                    <a:pt x="17" y="126"/>
                    <a:pt x="36" y="126"/>
                  </a:cubicBezTo>
                  <a:cubicBezTo>
                    <a:pt x="56" y="126"/>
                    <a:pt x="73" y="110"/>
                    <a:pt x="73" y="90"/>
                  </a:cubicBezTo>
                  <a:cubicBezTo>
                    <a:pt x="73" y="87"/>
                    <a:pt x="72" y="85"/>
                    <a:pt x="72" y="83"/>
                  </a:cubicBezTo>
                  <a:cubicBezTo>
                    <a:pt x="76" y="89"/>
                    <a:pt x="83" y="94"/>
                    <a:pt x="91" y="94"/>
                  </a:cubicBezTo>
                  <a:cubicBezTo>
                    <a:pt x="98" y="94"/>
                    <a:pt x="105" y="90"/>
                    <a:pt x="109" y="85"/>
                  </a:cubicBezTo>
                  <a:cubicBezTo>
                    <a:pt x="108" y="86"/>
                    <a:pt x="108" y="88"/>
                    <a:pt x="108" y="90"/>
                  </a:cubicBezTo>
                  <a:cubicBezTo>
                    <a:pt x="108" y="110"/>
                    <a:pt x="125" y="126"/>
                    <a:pt x="144" y="126"/>
                  </a:cubicBezTo>
                  <a:cubicBezTo>
                    <a:pt x="164" y="126"/>
                    <a:pt x="181" y="110"/>
                    <a:pt x="181" y="90"/>
                  </a:cubicBezTo>
                  <a:cubicBezTo>
                    <a:pt x="181" y="82"/>
                    <a:pt x="178" y="75"/>
                    <a:pt x="174" y="69"/>
                  </a:cubicBezTo>
                  <a:close/>
                  <a:moveTo>
                    <a:pt x="144" y="123"/>
                  </a:moveTo>
                  <a:cubicBezTo>
                    <a:pt x="126" y="123"/>
                    <a:pt x="112" y="108"/>
                    <a:pt x="112" y="90"/>
                  </a:cubicBezTo>
                  <a:cubicBezTo>
                    <a:pt x="112" y="85"/>
                    <a:pt x="113" y="80"/>
                    <a:pt x="115" y="76"/>
                  </a:cubicBezTo>
                  <a:cubicBezTo>
                    <a:pt x="120" y="65"/>
                    <a:pt x="131" y="57"/>
                    <a:pt x="144" y="57"/>
                  </a:cubicBezTo>
                  <a:cubicBezTo>
                    <a:pt x="157" y="57"/>
                    <a:pt x="167" y="64"/>
                    <a:pt x="173" y="74"/>
                  </a:cubicBezTo>
                  <a:cubicBezTo>
                    <a:pt x="176" y="79"/>
                    <a:pt x="177" y="84"/>
                    <a:pt x="177" y="90"/>
                  </a:cubicBezTo>
                  <a:cubicBezTo>
                    <a:pt x="177" y="108"/>
                    <a:pt x="163" y="123"/>
                    <a:pt x="144" y="123"/>
                  </a:cubicBezTo>
                  <a:close/>
                  <a:moveTo>
                    <a:pt x="103" y="77"/>
                  </a:moveTo>
                  <a:cubicBezTo>
                    <a:pt x="102" y="82"/>
                    <a:pt x="97" y="86"/>
                    <a:pt x="91" y="86"/>
                  </a:cubicBezTo>
                  <a:cubicBezTo>
                    <a:pt x="86" y="86"/>
                    <a:pt x="81" y="82"/>
                    <a:pt x="79" y="78"/>
                  </a:cubicBezTo>
                  <a:cubicBezTo>
                    <a:pt x="78" y="76"/>
                    <a:pt x="78" y="74"/>
                    <a:pt x="78" y="72"/>
                  </a:cubicBezTo>
                  <a:cubicBezTo>
                    <a:pt x="78" y="65"/>
                    <a:pt x="84" y="59"/>
                    <a:pt x="91" y="59"/>
                  </a:cubicBezTo>
                  <a:cubicBezTo>
                    <a:pt x="98" y="59"/>
                    <a:pt x="104" y="65"/>
                    <a:pt x="104" y="72"/>
                  </a:cubicBezTo>
                  <a:cubicBezTo>
                    <a:pt x="104" y="74"/>
                    <a:pt x="104" y="75"/>
                    <a:pt x="103" y="77"/>
                  </a:cubicBezTo>
                  <a:close/>
                  <a:moveTo>
                    <a:pt x="36" y="123"/>
                  </a:moveTo>
                  <a:cubicBezTo>
                    <a:pt x="18" y="123"/>
                    <a:pt x="4" y="108"/>
                    <a:pt x="4" y="90"/>
                  </a:cubicBezTo>
                  <a:cubicBezTo>
                    <a:pt x="4" y="87"/>
                    <a:pt x="4" y="84"/>
                    <a:pt x="5" y="81"/>
                  </a:cubicBezTo>
                  <a:cubicBezTo>
                    <a:pt x="9" y="67"/>
                    <a:pt x="22" y="57"/>
                    <a:pt x="36" y="57"/>
                  </a:cubicBezTo>
                  <a:cubicBezTo>
                    <a:pt x="50" y="57"/>
                    <a:pt x="62" y="66"/>
                    <a:pt x="67" y="78"/>
                  </a:cubicBezTo>
                  <a:cubicBezTo>
                    <a:pt x="69" y="82"/>
                    <a:pt x="69" y="86"/>
                    <a:pt x="69" y="90"/>
                  </a:cubicBezTo>
                  <a:cubicBezTo>
                    <a:pt x="69" y="108"/>
                    <a:pt x="55" y="123"/>
                    <a:pt x="36" y="123"/>
                  </a:cubicBezTo>
                  <a:close/>
                </a:path>
              </a:pathLst>
            </a:custGeom>
            <a:solidFill>
              <a:srgbClr val="FFFFFF"/>
            </a:solidFill>
            <a:ln w="38100">
              <a:noFill/>
            </a:ln>
            <a:extLst/>
          </p:spPr>
          <p:txBody>
            <a:bodyPr vert="horz" wrap="square" lIns="85725" tIns="42863" rIns="85725" bIns="42863" numCol="1" anchor="t" anchorCtr="0" compatLnSpc="1">
              <a:prstTxWarp prst="textNoShape">
                <a:avLst/>
              </a:prstTxWarp>
            </a:bodyPr>
            <a:lstStyle/>
            <a:p>
              <a:pPr>
                <a:defRPr/>
              </a:pPr>
              <a:endParaRPr lang="en-US" sz="2025" kern="0" dirty="0">
                <a:solidFill>
                  <a:srgbClr val="003F72"/>
                </a:solidFill>
                <a:latin typeface="Calibri"/>
              </a:endParaRPr>
            </a:p>
          </p:txBody>
        </p:sp>
      </p:grpSp>
      <p:sp>
        <p:nvSpPr>
          <p:cNvPr id="127" name="TextBox 126"/>
          <p:cNvSpPr txBox="1"/>
          <p:nvPr/>
        </p:nvSpPr>
        <p:spPr>
          <a:xfrm>
            <a:off x="2570081" y="1750919"/>
            <a:ext cx="3319272" cy="1323439"/>
          </a:xfrm>
          <a:prstGeom prst="rect">
            <a:avLst/>
          </a:prstGeom>
          <a:noFill/>
        </p:spPr>
        <p:txBody>
          <a:bodyPr wrap="square" lIns="0" tIns="0" rIns="0" bIns="0" rtlCol="0">
            <a:spAutoFit/>
          </a:bodyPr>
          <a:lstStyle/>
          <a:p>
            <a:pPr>
              <a:buSzPct val="100000"/>
              <a:defRPr/>
            </a:pPr>
            <a:r>
              <a:rPr lang="en-US" sz="1600" b="1" dirty="0">
                <a:solidFill>
                  <a:srgbClr val="598527"/>
                </a:solidFill>
                <a:latin typeface="Calibri"/>
                <a:cs typeface="Calibri" panose="020F0502020204030204" pitchFamily="34" charset="0"/>
              </a:rPr>
              <a:t>Saved Time and Costs </a:t>
            </a:r>
          </a:p>
          <a:p>
            <a:pPr>
              <a:buSzPct val="100000"/>
              <a:defRPr/>
            </a:pPr>
            <a:r>
              <a:rPr lang="en-US" sz="1400" dirty="0">
                <a:solidFill>
                  <a:srgbClr val="000000"/>
                </a:solidFill>
                <a:latin typeface="Calibri"/>
                <a:cs typeface="Calibri" panose="020F0502020204030204" pitchFamily="34" charset="0"/>
              </a:rPr>
              <a:t>Veterans, Taxpayers, Servicers, and Lenders experience time and cost savings as a result of advanced automation and oversight, improved data integrity, and consolidated data.</a:t>
            </a:r>
            <a:endParaRPr lang="en-US" sz="1200" dirty="0">
              <a:solidFill>
                <a:srgbClr val="000000"/>
              </a:solidFill>
              <a:latin typeface="Calibri"/>
              <a:cs typeface="Calibri" panose="020F0502020204030204" pitchFamily="34" charset="0"/>
            </a:endParaRPr>
          </a:p>
        </p:txBody>
      </p:sp>
      <p:sp>
        <p:nvSpPr>
          <p:cNvPr id="128" name="TextBox 127"/>
          <p:cNvSpPr txBox="1"/>
          <p:nvPr/>
        </p:nvSpPr>
        <p:spPr>
          <a:xfrm>
            <a:off x="7025180" y="2873514"/>
            <a:ext cx="3319272" cy="1600438"/>
          </a:xfrm>
          <a:prstGeom prst="rect">
            <a:avLst/>
          </a:prstGeom>
          <a:noFill/>
        </p:spPr>
        <p:txBody>
          <a:bodyPr wrap="square" lIns="0" tIns="0" rIns="0" bIns="0" rtlCol="0">
            <a:spAutoFit/>
          </a:bodyPr>
          <a:lstStyle/>
          <a:p>
            <a:pPr>
              <a:buSzPct val="100000"/>
              <a:defRPr/>
            </a:pPr>
            <a:r>
              <a:rPr lang="en-US" sz="1600" b="1" dirty="0">
                <a:solidFill>
                  <a:srgbClr val="F7955B"/>
                </a:solidFill>
                <a:latin typeface="Calibri"/>
                <a:cs typeface="Calibri" panose="020F0502020204030204" pitchFamily="34" charset="0"/>
              </a:rPr>
              <a:t>Enhanced Business Intelligence, Data Analytics, and Reports </a:t>
            </a:r>
          </a:p>
          <a:p>
            <a:pPr>
              <a:buSzPct val="100000"/>
              <a:defRPr/>
            </a:pPr>
            <a:r>
              <a:rPr lang="en-US" sz="1400" dirty="0">
                <a:solidFill>
                  <a:srgbClr val="000000"/>
                </a:solidFill>
                <a:latin typeface="Calibri"/>
                <a:cs typeface="Calibri" panose="020F0502020204030204" pitchFamily="34" charset="0"/>
              </a:rPr>
              <a:t>The redesigned VALERI collects sizable, robust, integrated meta-data throughout all loan lifecycle phases and utilizes business intelligence tools to create dashboards in areas new to VA.</a:t>
            </a:r>
            <a:r>
              <a:rPr lang="en-US" sz="1600" b="1" dirty="0">
                <a:solidFill>
                  <a:srgbClr val="000000"/>
                </a:solidFill>
                <a:latin typeface="Calibri"/>
                <a:cs typeface="Calibri" panose="020F0502020204030204" pitchFamily="34" charset="0"/>
              </a:rPr>
              <a:t> </a:t>
            </a:r>
            <a:endParaRPr lang="en-US" sz="1400" dirty="0">
              <a:solidFill>
                <a:srgbClr val="000000"/>
              </a:solidFill>
              <a:latin typeface="Calibri"/>
              <a:cs typeface="Calibri" panose="020F0502020204030204" pitchFamily="34" charset="0"/>
            </a:endParaRPr>
          </a:p>
        </p:txBody>
      </p:sp>
      <p:sp>
        <p:nvSpPr>
          <p:cNvPr id="251" name="TextBox 250"/>
          <p:cNvSpPr txBox="1"/>
          <p:nvPr/>
        </p:nvSpPr>
        <p:spPr>
          <a:xfrm>
            <a:off x="7019894" y="4654532"/>
            <a:ext cx="3319272" cy="1107996"/>
          </a:xfrm>
          <a:prstGeom prst="rect">
            <a:avLst/>
          </a:prstGeom>
          <a:noFill/>
        </p:spPr>
        <p:txBody>
          <a:bodyPr wrap="square" lIns="0" tIns="0" rIns="0" bIns="0" rtlCol="0">
            <a:spAutoFit/>
          </a:bodyPr>
          <a:lstStyle/>
          <a:p>
            <a:pPr>
              <a:buSzPct val="100000"/>
              <a:defRPr/>
            </a:pPr>
            <a:r>
              <a:rPr lang="en-US" sz="1600" b="1" dirty="0">
                <a:solidFill>
                  <a:srgbClr val="772432"/>
                </a:solidFill>
                <a:latin typeface="Calibri"/>
                <a:cs typeface="Calibri" panose="020F0502020204030204" pitchFamily="34" charset="0"/>
              </a:rPr>
              <a:t>Advanced Program Management</a:t>
            </a:r>
          </a:p>
          <a:p>
            <a:pPr>
              <a:buSzPct val="100000"/>
              <a:defRPr/>
            </a:pPr>
            <a:r>
              <a:rPr lang="en-US" sz="1400" dirty="0">
                <a:solidFill>
                  <a:srgbClr val="313131"/>
                </a:solidFill>
                <a:latin typeface="Calibri"/>
                <a:cs typeface="Calibri" panose="020F0502020204030204" pitchFamily="34" charset="0"/>
              </a:rPr>
              <a:t>The redesigned VALERI’s enhanced analytics and functionality enable VA to better manage organizational risk and plan for future policy, legislation, and regulation changes.</a:t>
            </a:r>
          </a:p>
        </p:txBody>
      </p:sp>
      <p:grpSp>
        <p:nvGrpSpPr>
          <p:cNvPr id="252" name="Group 251"/>
          <p:cNvGrpSpPr/>
          <p:nvPr/>
        </p:nvGrpSpPr>
        <p:grpSpPr>
          <a:xfrm>
            <a:off x="1823894" y="1743643"/>
            <a:ext cx="594360" cy="594360"/>
            <a:chOff x="6380798" y="1945798"/>
            <a:chExt cx="594360" cy="594360"/>
          </a:xfrm>
        </p:grpSpPr>
        <p:sp>
          <p:nvSpPr>
            <p:cNvPr id="253" name="Oval 252"/>
            <p:cNvSpPr/>
            <p:nvPr/>
          </p:nvSpPr>
          <p:spPr bwMode="gray">
            <a:xfrm>
              <a:off x="6380798" y="1945798"/>
              <a:ext cx="594360" cy="594360"/>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54" name="Oval 253"/>
            <p:cNvSpPr/>
            <p:nvPr/>
          </p:nvSpPr>
          <p:spPr bwMode="gray">
            <a:xfrm>
              <a:off x="6606378" y="2028673"/>
              <a:ext cx="317070" cy="317443"/>
            </a:xfrm>
            <a:prstGeom prst="ellipse">
              <a:avLst/>
            </a:prstGeom>
            <a:solidFill>
              <a:srgbClr val="FFFFFF"/>
            </a:solidFill>
            <a:ln w="3175" algn="ctr">
              <a:noFill/>
              <a:miter lim="800000"/>
              <a:headEnd/>
              <a:tailEnd/>
            </a:ln>
          </p:spPr>
          <p:txBody>
            <a:bodyPr wrap="square" lIns="88900" tIns="88900" rIns="88900" bIns="88900" rtlCol="0" anchor="ctr"/>
            <a:lstStyle/>
            <a:p>
              <a:pPr algn="ctr">
                <a:lnSpc>
                  <a:spcPct val="106000"/>
                </a:lnSpc>
                <a:defRPr/>
              </a:pPr>
              <a:endParaRPr lang="en-US" sz="5400" kern="0" dirty="0">
                <a:solidFill>
                  <a:srgbClr val="FFFFFF"/>
                </a:solidFill>
                <a:latin typeface="Myriad Pro" panose="020B0503030403020204" pitchFamily="34" charset="0"/>
              </a:endParaRPr>
            </a:p>
          </p:txBody>
        </p:sp>
        <p:grpSp>
          <p:nvGrpSpPr>
            <p:cNvPr id="255" name="Group 254"/>
            <p:cNvGrpSpPr/>
            <p:nvPr/>
          </p:nvGrpSpPr>
          <p:grpSpPr>
            <a:xfrm>
              <a:off x="6621900" y="2044850"/>
              <a:ext cx="284767" cy="285102"/>
              <a:chOff x="19869483" y="9287813"/>
              <a:chExt cx="226478" cy="226750"/>
            </a:xfrm>
          </p:grpSpPr>
          <p:sp>
            <p:nvSpPr>
              <p:cNvPr id="257" name="Oval 256"/>
              <p:cNvSpPr/>
              <p:nvPr/>
            </p:nvSpPr>
            <p:spPr bwMode="gray">
              <a:xfrm>
                <a:off x="19869483" y="9287813"/>
                <a:ext cx="226478" cy="226750"/>
              </a:xfrm>
              <a:prstGeom prst="ellipse">
                <a:avLst/>
              </a:prstGeom>
              <a:solidFill>
                <a:srgbClr val="FFFFFF"/>
              </a:solidFill>
              <a:ln w="9525" algn="ctr">
                <a:solidFill>
                  <a:srgbClr val="598527"/>
                </a:solidFill>
                <a:miter lim="800000"/>
                <a:headEnd/>
                <a:tailEnd/>
              </a:ln>
            </p:spPr>
            <p:txBody>
              <a:bodyPr wrap="square" lIns="88900" tIns="88900" rIns="88900" bIns="88900" rtlCol="0" anchor="ctr"/>
              <a:lstStyle/>
              <a:p>
                <a:pPr algn="ctr">
                  <a:lnSpc>
                    <a:spcPct val="106000"/>
                  </a:lnSpc>
                  <a:defRPr/>
                </a:pPr>
                <a:endParaRPr lang="en-US" sz="5400" kern="0" dirty="0">
                  <a:solidFill>
                    <a:srgbClr val="FFFFFF"/>
                  </a:solidFill>
                  <a:latin typeface="Myriad Pro" panose="020B0503030403020204" pitchFamily="34" charset="0"/>
                </a:endParaRPr>
              </a:p>
            </p:txBody>
          </p:sp>
          <p:cxnSp>
            <p:nvCxnSpPr>
              <p:cNvPr id="258" name="Straight Connector 257"/>
              <p:cNvCxnSpPr/>
              <p:nvPr/>
            </p:nvCxnSpPr>
            <p:spPr>
              <a:xfrm>
                <a:off x="19982723" y="9320870"/>
                <a:ext cx="0" cy="90793"/>
              </a:xfrm>
              <a:prstGeom prst="line">
                <a:avLst/>
              </a:prstGeom>
              <a:noFill/>
              <a:ln w="12700" cap="flat" cmpd="sng" algn="ctr">
                <a:solidFill>
                  <a:srgbClr val="598527"/>
                </a:solidFill>
                <a:prstDash val="solid"/>
              </a:ln>
              <a:effectLst/>
            </p:spPr>
          </p:cxnSp>
          <p:cxnSp>
            <p:nvCxnSpPr>
              <p:cNvPr id="259" name="Straight Connector 258"/>
              <p:cNvCxnSpPr/>
              <p:nvPr/>
            </p:nvCxnSpPr>
            <p:spPr>
              <a:xfrm>
                <a:off x="19977173" y="9412990"/>
                <a:ext cx="72763" cy="0"/>
              </a:xfrm>
              <a:prstGeom prst="line">
                <a:avLst/>
              </a:prstGeom>
              <a:noFill/>
              <a:ln w="12700" cap="flat" cmpd="sng" algn="ctr">
                <a:solidFill>
                  <a:srgbClr val="598527"/>
                </a:solidFill>
                <a:prstDash val="solid"/>
              </a:ln>
              <a:effectLst/>
            </p:spPr>
          </p:cxnSp>
          <p:sp>
            <p:nvSpPr>
              <p:cNvPr id="260" name="Oval 259"/>
              <p:cNvSpPr/>
              <p:nvPr/>
            </p:nvSpPr>
            <p:spPr bwMode="gray">
              <a:xfrm>
                <a:off x="19976758" y="9299924"/>
                <a:ext cx="10712" cy="10725"/>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61" name="Oval 260"/>
              <p:cNvSpPr/>
              <p:nvPr/>
            </p:nvSpPr>
            <p:spPr bwMode="gray">
              <a:xfrm>
                <a:off x="20070978" y="9405238"/>
                <a:ext cx="10712" cy="10725"/>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62" name="Oval 261"/>
              <p:cNvSpPr/>
              <p:nvPr/>
            </p:nvSpPr>
            <p:spPr bwMode="gray">
              <a:xfrm>
                <a:off x="20063251" y="9355851"/>
                <a:ext cx="10712" cy="10725"/>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63" name="Oval 262"/>
              <p:cNvSpPr/>
              <p:nvPr/>
            </p:nvSpPr>
            <p:spPr bwMode="gray">
              <a:xfrm>
                <a:off x="20055647" y="9449225"/>
                <a:ext cx="10712" cy="10725"/>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64" name="Oval 263"/>
              <p:cNvSpPr/>
              <p:nvPr/>
            </p:nvSpPr>
            <p:spPr bwMode="gray">
              <a:xfrm>
                <a:off x="19982176" y="9490695"/>
                <a:ext cx="10712" cy="10725"/>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65" name="Oval 264"/>
              <p:cNvSpPr/>
              <p:nvPr/>
            </p:nvSpPr>
            <p:spPr bwMode="gray">
              <a:xfrm>
                <a:off x="20024310" y="9477489"/>
                <a:ext cx="10712" cy="10725"/>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66" name="Oval 265"/>
              <p:cNvSpPr/>
              <p:nvPr/>
            </p:nvSpPr>
            <p:spPr bwMode="gray">
              <a:xfrm>
                <a:off x="20026461" y="9317681"/>
                <a:ext cx="10712" cy="10725"/>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67" name="Oval 266"/>
              <p:cNvSpPr/>
              <p:nvPr/>
            </p:nvSpPr>
            <p:spPr bwMode="gray">
              <a:xfrm>
                <a:off x="19921487" y="9318203"/>
                <a:ext cx="10712" cy="10725"/>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68" name="Oval 267"/>
              <p:cNvSpPr/>
              <p:nvPr/>
            </p:nvSpPr>
            <p:spPr bwMode="gray">
              <a:xfrm>
                <a:off x="19892361" y="9354756"/>
                <a:ext cx="10712" cy="10725"/>
              </a:xfrm>
              <a:prstGeom prst="ellipse">
                <a:avLst/>
              </a:prstGeom>
              <a:solidFill>
                <a:srgbClr val="598527"/>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sp>
          <p:nvSpPr>
            <p:cNvPr id="256" name="Oval 255"/>
            <p:cNvSpPr/>
            <p:nvPr/>
          </p:nvSpPr>
          <p:spPr bwMode="gray">
            <a:xfrm>
              <a:off x="6432508" y="2137375"/>
              <a:ext cx="319532" cy="319908"/>
            </a:xfrm>
            <a:prstGeom prst="ellipse">
              <a:avLst/>
            </a:prstGeom>
            <a:solidFill>
              <a:srgbClr val="598527"/>
            </a:solidFill>
            <a:ln w="12700" algn="ctr">
              <a:solidFill>
                <a:srgbClr val="FFFFFF"/>
              </a:solidFill>
              <a:miter lim="800000"/>
              <a:headEnd/>
              <a:tailEnd/>
            </a:ln>
          </p:spPr>
          <p:txBody>
            <a:bodyPr wrap="square" lIns="88900" tIns="88900" rIns="88900" bIns="88900" rtlCol="0" anchor="ctr"/>
            <a:lstStyle/>
            <a:p>
              <a:pPr algn="ctr">
                <a:lnSpc>
                  <a:spcPct val="106000"/>
                </a:lnSpc>
                <a:defRPr/>
              </a:pPr>
              <a:r>
                <a:rPr lang="en-US" sz="1600" b="1" kern="0" dirty="0">
                  <a:solidFill>
                    <a:srgbClr val="FFFFFF"/>
                  </a:solidFill>
                  <a:latin typeface="Myriad Pro" panose="020B0503030403020204" pitchFamily="34" charset="0"/>
                </a:rPr>
                <a:t>$</a:t>
              </a:r>
            </a:p>
          </p:txBody>
        </p:sp>
      </p:grpSp>
      <p:grpSp>
        <p:nvGrpSpPr>
          <p:cNvPr id="5" name="Group 4"/>
          <p:cNvGrpSpPr/>
          <p:nvPr/>
        </p:nvGrpSpPr>
        <p:grpSpPr>
          <a:xfrm>
            <a:off x="6268716" y="2873514"/>
            <a:ext cx="594360" cy="594360"/>
            <a:chOff x="4744716" y="2873514"/>
            <a:chExt cx="594360" cy="594360"/>
          </a:xfrm>
        </p:grpSpPr>
        <p:sp>
          <p:nvSpPr>
            <p:cNvPr id="269" name="Oval 268"/>
            <p:cNvSpPr/>
            <p:nvPr/>
          </p:nvSpPr>
          <p:spPr bwMode="gray">
            <a:xfrm>
              <a:off x="4744716" y="2873514"/>
              <a:ext cx="594360" cy="594360"/>
            </a:xfrm>
            <a:prstGeom prst="ellipse">
              <a:avLst/>
            </a:prstGeom>
            <a:solidFill>
              <a:srgbClr val="F7955B"/>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70" name="Rounded Rectangle 269"/>
            <p:cNvSpPr/>
            <p:nvPr/>
          </p:nvSpPr>
          <p:spPr bwMode="gray">
            <a:xfrm>
              <a:off x="4870295" y="2945458"/>
              <a:ext cx="343203" cy="446899"/>
            </a:xfrm>
            <a:prstGeom prst="roundRect">
              <a:avLst>
                <a:gd name="adj" fmla="val 19119"/>
              </a:avLst>
            </a:prstGeom>
            <a:solidFill>
              <a:srgbClr val="FFFFFF"/>
            </a:solidFill>
            <a:ln w="571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71" name="Rounded Rectangle 270"/>
            <p:cNvSpPr/>
            <p:nvPr/>
          </p:nvSpPr>
          <p:spPr bwMode="gray">
            <a:xfrm>
              <a:off x="4893611" y="2968686"/>
              <a:ext cx="296572" cy="400444"/>
            </a:xfrm>
            <a:prstGeom prst="roundRect">
              <a:avLst/>
            </a:prstGeom>
            <a:solidFill>
              <a:srgbClr val="FFFFFF"/>
            </a:solidFill>
            <a:ln w="12700" algn="ctr">
              <a:solidFill>
                <a:srgbClr val="F7955B"/>
              </a:solid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72" name="Group 271"/>
            <p:cNvGrpSpPr/>
            <p:nvPr/>
          </p:nvGrpSpPr>
          <p:grpSpPr>
            <a:xfrm rot="2904728">
              <a:off x="4915745" y="3003785"/>
              <a:ext cx="119787" cy="121247"/>
              <a:chOff x="32486289" y="8230122"/>
              <a:chExt cx="8326772" cy="8428268"/>
            </a:xfrm>
          </p:grpSpPr>
          <p:sp>
            <p:nvSpPr>
              <p:cNvPr id="273" name="Pie 272"/>
              <p:cNvSpPr/>
              <p:nvPr/>
            </p:nvSpPr>
            <p:spPr>
              <a:xfrm>
                <a:off x="32486289" y="8977435"/>
                <a:ext cx="7680961" cy="7680955"/>
              </a:xfrm>
              <a:prstGeom prst="pie">
                <a:avLst>
                  <a:gd name="adj1" fmla="val 20520000"/>
                  <a:gd name="adj2" fmla="val 3240000"/>
                </a:avLst>
              </a:prstGeom>
              <a:solidFill>
                <a:srgbClr val="F7955B">
                  <a:hueOff val="0"/>
                  <a:satOff val="0"/>
                  <a:lumOff val="0"/>
                  <a:alphaOff val="0"/>
                </a:srgbClr>
              </a:solidFill>
              <a:ln w="6350" cap="flat" cmpd="sng" algn="ctr">
                <a:solidFill>
                  <a:srgbClr val="FFFFFF"/>
                </a:solidFill>
                <a:prstDash val="solid"/>
              </a:ln>
              <a:effectLst/>
            </p:spPr>
          </p:sp>
          <p:sp>
            <p:nvSpPr>
              <p:cNvPr id="274" name="Pie 273"/>
              <p:cNvSpPr/>
              <p:nvPr/>
            </p:nvSpPr>
            <p:spPr>
              <a:xfrm>
                <a:off x="32486289" y="8977435"/>
                <a:ext cx="7680961" cy="7680955"/>
              </a:xfrm>
              <a:prstGeom prst="pie">
                <a:avLst>
                  <a:gd name="adj1" fmla="val 3240000"/>
                  <a:gd name="adj2" fmla="val 7560000"/>
                </a:avLst>
              </a:prstGeom>
              <a:solidFill>
                <a:srgbClr val="F7955B">
                  <a:hueOff val="0"/>
                  <a:satOff val="0"/>
                  <a:lumOff val="0"/>
                  <a:alphaOff val="0"/>
                </a:srgbClr>
              </a:solidFill>
              <a:ln w="6350" cap="flat" cmpd="sng" algn="ctr">
                <a:solidFill>
                  <a:srgbClr val="FFFFFF"/>
                </a:solidFill>
                <a:prstDash val="solid"/>
              </a:ln>
              <a:effectLst/>
            </p:spPr>
          </p:sp>
          <p:sp>
            <p:nvSpPr>
              <p:cNvPr id="275" name="Pie 274"/>
              <p:cNvSpPr/>
              <p:nvPr/>
            </p:nvSpPr>
            <p:spPr>
              <a:xfrm>
                <a:off x="32486289" y="8977435"/>
                <a:ext cx="7680961" cy="7680955"/>
              </a:xfrm>
              <a:prstGeom prst="pie">
                <a:avLst>
                  <a:gd name="adj1" fmla="val 7560000"/>
                  <a:gd name="adj2" fmla="val 11880000"/>
                </a:avLst>
              </a:prstGeom>
              <a:solidFill>
                <a:srgbClr val="F7955B">
                  <a:hueOff val="0"/>
                  <a:satOff val="0"/>
                  <a:lumOff val="0"/>
                  <a:alphaOff val="0"/>
                </a:srgbClr>
              </a:solidFill>
              <a:ln w="6350" cap="flat" cmpd="sng" algn="ctr">
                <a:solidFill>
                  <a:srgbClr val="FFFFFF"/>
                </a:solidFill>
                <a:prstDash val="solid"/>
              </a:ln>
              <a:effectLst/>
            </p:spPr>
          </p:sp>
          <p:grpSp>
            <p:nvGrpSpPr>
              <p:cNvPr id="276" name="Group 275"/>
              <p:cNvGrpSpPr/>
              <p:nvPr/>
            </p:nvGrpSpPr>
            <p:grpSpPr>
              <a:xfrm>
                <a:off x="32486289" y="8230122"/>
                <a:ext cx="8326772" cy="8428268"/>
                <a:chOff x="32486289" y="8230122"/>
                <a:chExt cx="8326772" cy="8428268"/>
              </a:xfrm>
            </p:grpSpPr>
            <p:sp>
              <p:nvSpPr>
                <p:cNvPr id="277" name="Pie 276"/>
                <p:cNvSpPr/>
                <p:nvPr/>
              </p:nvSpPr>
              <p:spPr>
                <a:xfrm>
                  <a:off x="33132100" y="8230122"/>
                  <a:ext cx="7680961" cy="7680952"/>
                </a:xfrm>
                <a:prstGeom prst="pie">
                  <a:avLst>
                    <a:gd name="adj1" fmla="val 16200000"/>
                    <a:gd name="adj2" fmla="val 20520000"/>
                  </a:avLst>
                </a:prstGeom>
                <a:solidFill>
                  <a:srgbClr val="F7955B">
                    <a:hueOff val="0"/>
                    <a:satOff val="0"/>
                    <a:lumOff val="0"/>
                    <a:alphaOff val="0"/>
                  </a:srgbClr>
                </a:solidFill>
                <a:ln w="6350" cap="flat" cmpd="sng" algn="ctr">
                  <a:solidFill>
                    <a:srgbClr val="FFFFFF"/>
                  </a:solidFill>
                  <a:prstDash val="solid"/>
                </a:ln>
                <a:effectLst/>
              </p:spPr>
            </p:sp>
            <p:sp>
              <p:nvSpPr>
                <p:cNvPr id="278" name="Pie 277"/>
                <p:cNvSpPr/>
                <p:nvPr/>
              </p:nvSpPr>
              <p:spPr>
                <a:xfrm>
                  <a:off x="32486289" y="8977435"/>
                  <a:ext cx="7680961" cy="7680955"/>
                </a:xfrm>
                <a:prstGeom prst="pie">
                  <a:avLst>
                    <a:gd name="adj1" fmla="val 11880000"/>
                    <a:gd name="adj2" fmla="val 16200000"/>
                  </a:avLst>
                </a:prstGeom>
                <a:solidFill>
                  <a:srgbClr val="F7955B">
                    <a:hueOff val="0"/>
                    <a:satOff val="0"/>
                    <a:lumOff val="0"/>
                    <a:alphaOff val="0"/>
                  </a:srgbClr>
                </a:solidFill>
                <a:ln w="6350" cap="flat" cmpd="sng" algn="ctr">
                  <a:solidFill>
                    <a:srgbClr val="FFFFFF"/>
                  </a:solidFill>
                  <a:prstDash val="solid"/>
                </a:ln>
                <a:effectLst/>
              </p:spPr>
            </p:sp>
          </p:grpSp>
        </p:grpSp>
        <p:cxnSp>
          <p:nvCxnSpPr>
            <p:cNvPr id="279" name="Straight Connector 278"/>
            <p:cNvCxnSpPr/>
            <p:nvPr/>
          </p:nvCxnSpPr>
          <p:spPr>
            <a:xfrm>
              <a:off x="5069638" y="3016178"/>
              <a:ext cx="0" cy="133267"/>
            </a:xfrm>
            <a:prstGeom prst="line">
              <a:avLst/>
            </a:prstGeom>
            <a:noFill/>
            <a:ln w="28575" cap="flat" cmpd="sng" algn="ctr">
              <a:solidFill>
                <a:srgbClr val="F7955B"/>
              </a:solidFill>
              <a:prstDash val="solid"/>
            </a:ln>
            <a:effectLst/>
          </p:spPr>
        </p:cxnSp>
        <p:cxnSp>
          <p:nvCxnSpPr>
            <p:cNvPr id="280" name="Straight Connector 279"/>
            <p:cNvCxnSpPr/>
            <p:nvPr/>
          </p:nvCxnSpPr>
          <p:spPr>
            <a:xfrm>
              <a:off x="5109779" y="3063161"/>
              <a:ext cx="0" cy="86284"/>
            </a:xfrm>
            <a:prstGeom prst="line">
              <a:avLst/>
            </a:prstGeom>
            <a:noFill/>
            <a:ln w="28575" cap="flat" cmpd="sng" algn="ctr">
              <a:solidFill>
                <a:srgbClr val="F7955B"/>
              </a:solidFill>
              <a:prstDash val="solid"/>
            </a:ln>
            <a:effectLst/>
          </p:spPr>
        </p:cxnSp>
        <p:cxnSp>
          <p:nvCxnSpPr>
            <p:cNvPr id="281" name="Straight Connector 280"/>
            <p:cNvCxnSpPr/>
            <p:nvPr/>
          </p:nvCxnSpPr>
          <p:spPr>
            <a:xfrm>
              <a:off x="5149920" y="3038434"/>
              <a:ext cx="0" cy="111012"/>
            </a:xfrm>
            <a:prstGeom prst="line">
              <a:avLst/>
            </a:prstGeom>
            <a:noFill/>
            <a:ln w="28575" cap="flat" cmpd="sng" algn="ctr">
              <a:solidFill>
                <a:srgbClr val="F7955B"/>
              </a:solidFill>
              <a:prstDash val="solid"/>
            </a:ln>
            <a:effectLst/>
          </p:spPr>
        </p:cxnSp>
        <p:cxnSp>
          <p:nvCxnSpPr>
            <p:cNvPr id="282" name="Straight Connector 281"/>
            <p:cNvCxnSpPr/>
            <p:nvPr/>
          </p:nvCxnSpPr>
          <p:spPr>
            <a:xfrm flipH="1">
              <a:off x="4918456" y="3207893"/>
              <a:ext cx="246880" cy="0"/>
            </a:xfrm>
            <a:prstGeom prst="line">
              <a:avLst/>
            </a:prstGeom>
            <a:noFill/>
            <a:ln w="12700" cap="flat" cmpd="sng" algn="ctr">
              <a:solidFill>
                <a:srgbClr val="F7955B"/>
              </a:solidFill>
              <a:prstDash val="solid"/>
            </a:ln>
            <a:effectLst/>
          </p:spPr>
        </p:cxnSp>
        <p:cxnSp>
          <p:nvCxnSpPr>
            <p:cNvPr id="283" name="Straight Connector 282"/>
            <p:cNvCxnSpPr/>
            <p:nvPr/>
          </p:nvCxnSpPr>
          <p:spPr>
            <a:xfrm flipH="1">
              <a:off x="4918456" y="3239544"/>
              <a:ext cx="246880" cy="0"/>
            </a:xfrm>
            <a:prstGeom prst="line">
              <a:avLst/>
            </a:prstGeom>
            <a:noFill/>
            <a:ln w="12700" cap="flat" cmpd="sng" algn="ctr">
              <a:solidFill>
                <a:srgbClr val="F7955B"/>
              </a:solidFill>
              <a:prstDash val="solid"/>
            </a:ln>
            <a:effectLst/>
          </p:spPr>
        </p:cxnSp>
        <p:cxnSp>
          <p:nvCxnSpPr>
            <p:cNvPr id="284" name="Straight Connector 283"/>
            <p:cNvCxnSpPr/>
            <p:nvPr/>
          </p:nvCxnSpPr>
          <p:spPr>
            <a:xfrm flipH="1">
              <a:off x="4918456" y="3271196"/>
              <a:ext cx="246880" cy="0"/>
            </a:xfrm>
            <a:prstGeom prst="line">
              <a:avLst/>
            </a:prstGeom>
            <a:noFill/>
            <a:ln w="12700" cap="flat" cmpd="sng" algn="ctr">
              <a:solidFill>
                <a:srgbClr val="F7955B"/>
              </a:solidFill>
              <a:prstDash val="solid"/>
            </a:ln>
            <a:effectLst/>
          </p:spPr>
        </p:cxnSp>
        <p:sp>
          <p:nvSpPr>
            <p:cNvPr id="285" name="Oval 284"/>
            <p:cNvSpPr/>
            <p:nvPr/>
          </p:nvSpPr>
          <p:spPr bwMode="gray">
            <a:xfrm>
              <a:off x="5109779" y="3289696"/>
              <a:ext cx="74175" cy="74175"/>
            </a:xfrm>
            <a:prstGeom prst="ellipse">
              <a:avLst/>
            </a:prstGeom>
            <a:solidFill>
              <a:srgbClr val="F7955B"/>
            </a:solidFill>
            <a:ln w="19050" algn="ctr">
              <a:noFill/>
              <a:miter lim="800000"/>
              <a:headEnd/>
              <a:tailEnd/>
            </a:ln>
          </p:spPr>
          <p:txBody>
            <a:bodyPr wrap="square" lIns="0" tIns="0" rIns="0" bIns="0" rtlCol="0" anchor="ctr"/>
            <a:lstStyle/>
            <a:p>
              <a:pPr algn="ctr">
                <a:lnSpc>
                  <a:spcPct val="106000"/>
                </a:lnSpc>
                <a:defRPr/>
              </a:pPr>
              <a:r>
                <a:rPr lang="en-US" sz="400" kern="0" dirty="0">
                  <a:solidFill>
                    <a:srgbClr val="FFFFFF"/>
                  </a:solidFill>
                  <a:latin typeface="Myriad Pro" panose="020B0503030403020204" pitchFamily="34" charset="0"/>
                </a:rPr>
                <a:t>✔</a:t>
              </a:r>
              <a:endParaRPr lang="en-US" sz="200" b="1" kern="0" dirty="0">
                <a:solidFill>
                  <a:srgbClr val="FFFFFF"/>
                </a:solidFill>
                <a:latin typeface="Myriad Pro" panose="020B0503030403020204" pitchFamily="34" charset="0"/>
              </a:endParaRPr>
            </a:p>
          </p:txBody>
        </p:sp>
      </p:grpSp>
      <p:grpSp>
        <p:nvGrpSpPr>
          <p:cNvPr id="286" name="Group 285"/>
          <p:cNvGrpSpPr/>
          <p:nvPr/>
        </p:nvGrpSpPr>
        <p:grpSpPr>
          <a:xfrm>
            <a:off x="6268716" y="4654532"/>
            <a:ext cx="594360" cy="594360"/>
            <a:chOff x="39212654" y="5132628"/>
            <a:chExt cx="914400" cy="914400"/>
          </a:xfrm>
        </p:grpSpPr>
        <p:sp>
          <p:nvSpPr>
            <p:cNvPr id="287" name="Oval 286"/>
            <p:cNvSpPr/>
            <p:nvPr/>
          </p:nvSpPr>
          <p:spPr bwMode="gray">
            <a:xfrm>
              <a:off x="39212654" y="5132628"/>
              <a:ext cx="914400" cy="914400"/>
            </a:xfrm>
            <a:prstGeom prst="ellipse">
              <a:avLst/>
            </a:prstGeom>
            <a:solidFill>
              <a:srgbClr val="772432"/>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88" name="Group 287"/>
            <p:cNvGrpSpPr/>
            <p:nvPr/>
          </p:nvGrpSpPr>
          <p:grpSpPr>
            <a:xfrm>
              <a:off x="39406087" y="5246613"/>
              <a:ext cx="527534" cy="686430"/>
              <a:chOff x="48681309" y="3468754"/>
              <a:chExt cx="822960" cy="1078992"/>
            </a:xfrm>
          </p:grpSpPr>
          <p:sp>
            <p:nvSpPr>
              <p:cNvPr id="289" name="Rounded Rectangle 288"/>
              <p:cNvSpPr/>
              <p:nvPr/>
            </p:nvSpPr>
            <p:spPr bwMode="gray">
              <a:xfrm>
                <a:off x="48681309" y="3468754"/>
                <a:ext cx="822960" cy="1078992"/>
              </a:xfrm>
              <a:prstGeom prst="roundRect">
                <a:avLst>
                  <a:gd name="adj" fmla="val 19119"/>
                </a:avLst>
              </a:prstGeom>
              <a:solidFill>
                <a:srgbClr val="FFFFFF"/>
              </a:solidFill>
              <a:ln w="571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90" name="Rounded Rectangle 289"/>
              <p:cNvSpPr/>
              <p:nvPr/>
            </p:nvSpPr>
            <p:spPr bwMode="gray">
              <a:xfrm>
                <a:off x="48735783" y="3526278"/>
                <a:ext cx="713904" cy="963946"/>
              </a:xfrm>
              <a:prstGeom prst="roundRect">
                <a:avLst/>
              </a:prstGeom>
              <a:solidFill>
                <a:srgbClr val="FFFFFF"/>
              </a:solidFill>
              <a:ln w="12700" algn="ctr">
                <a:solidFill>
                  <a:srgbClr val="772432"/>
                </a:solid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91" name="Group 290"/>
              <p:cNvGrpSpPr/>
              <p:nvPr/>
            </p:nvGrpSpPr>
            <p:grpSpPr>
              <a:xfrm>
                <a:off x="48797607" y="3610494"/>
                <a:ext cx="590256" cy="795514"/>
                <a:chOff x="48003437" y="3265953"/>
                <a:chExt cx="590256" cy="795514"/>
              </a:xfrm>
            </p:grpSpPr>
            <p:cxnSp>
              <p:nvCxnSpPr>
                <p:cNvPr id="292" name="Straight Connector 291"/>
                <p:cNvCxnSpPr/>
                <p:nvPr/>
              </p:nvCxnSpPr>
              <p:spPr>
                <a:xfrm flipH="1">
                  <a:off x="48182213" y="3370342"/>
                  <a:ext cx="411480" cy="0"/>
                </a:xfrm>
                <a:prstGeom prst="line">
                  <a:avLst/>
                </a:prstGeom>
                <a:noFill/>
                <a:ln w="12700" cap="flat" cmpd="sng" algn="ctr">
                  <a:solidFill>
                    <a:srgbClr val="772432"/>
                  </a:solidFill>
                  <a:prstDash val="solid"/>
                </a:ln>
                <a:effectLst/>
              </p:spPr>
            </p:cxnSp>
            <p:cxnSp>
              <p:nvCxnSpPr>
                <p:cNvPr id="293" name="Straight Connector 292"/>
                <p:cNvCxnSpPr/>
                <p:nvPr/>
              </p:nvCxnSpPr>
              <p:spPr>
                <a:xfrm flipH="1">
                  <a:off x="48182213" y="3575160"/>
                  <a:ext cx="411480" cy="0"/>
                </a:xfrm>
                <a:prstGeom prst="line">
                  <a:avLst/>
                </a:prstGeom>
                <a:noFill/>
                <a:ln w="12700" cap="flat" cmpd="sng" algn="ctr">
                  <a:solidFill>
                    <a:srgbClr val="772432"/>
                  </a:solidFill>
                  <a:prstDash val="solid"/>
                </a:ln>
                <a:effectLst/>
              </p:spPr>
            </p:cxnSp>
            <p:cxnSp>
              <p:nvCxnSpPr>
                <p:cNvPr id="294" name="Straight Connector 293"/>
                <p:cNvCxnSpPr/>
                <p:nvPr/>
              </p:nvCxnSpPr>
              <p:spPr>
                <a:xfrm flipH="1">
                  <a:off x="48182213" y="3984797"/>
                  <a:ext cx="411480" cy="0"/>
                </a:xfrm>
                <a:prstGeom prst="line">
                  <a:avLst/>
                </a:prstGeom>
                <a:noFill/>
                <a:ln w="12700" cap="flat" cmpd="sng" algn="ctr">
                  <a:solidFill>
                    <a:srgbClr val="772432"/>
                  </a:solidFill>
                  <a:prstDash val="solid"/>
                </a:ln>
                <a:effectLst/>
              </p:spPr>
            </p:cxnSp>
            <p:sp>
              <p:nvSpPr>
                <p:cNvPr id="295" name="Oval 294"/>
                <p:cNvSpPr/>
                <p:nvPr/>
              </p:nvSpPr>
              <p:spPr bwMode="gray">
                <a:xfrm>
                  <a:off x="48003437" y="3265953"/>
                  <a:ext cx="178555" cy="178555"/>
                </a:xfrm>
                <a:prstGeom prst="ellipse">
                  <a:avLst/>
                </a:prstGeom>
                <a:noFill/>
                <a:ln w="19050" algn="ctr">
                  <a:noFill/>
                  <a:miter lim="800000"/>
                  <a:headEnd/>
                  <a:tailEnd/>
                </a:ln>
              </p:spPr>
              <p:txBody>
                <a:bodyPr wrap="square" lIns="0" tIns="0" rIns="0" bIns="0" rtlCol="0" anchor="ctr"/>
                <a:lstStyle/>
                <a:p>
                  <a:pPr algn="ctr">
                    <a:lnSpc>
                      <a:spcPct val="106000"/>
                    </a:lnSpc>
                    <a:defRPr/>
                  </a:pPr>
                  <a:r>
                    <a:rPr lang="en-US" sz="800" kern="0" dirty="0">
                      <a:solidFill>
                        <a:srgbClr val="772432"/>
                      </a:solidFill>
                      <a:latin typeface="Myriad Pro" panose="020B0503030403020204" pitchFamily="34" charset="0"/>
                    </a:rPr>
                    <a:t>✔</a:t>
                  </a:r>
                  <a:endParaRPr lang="en-US" sz="600" b="1" kern="0" dirty="0">
                    <a:solidFill>
                      <a:srgbClr val="772432"/>
                    </a:solidFill>
                    <a:latin typeface="Myriad Pro" panose="020B0503030403020204" pitchFamily="34" charset="0"/>
                  </a:endParaRPr>
                </a:p>
              </p:txBody>
            </p:sp>
            <p:cxnSp>
              <p:nvCxnSpPr>
                <p:cNvPr id="296" name="Straight Connector 295"/>
                <p:cNvCxnSpPr/>
                <p:nvPr/>
              </p:nvCxnSpPr>
              <p:spPr>
                <a:xfrm flipH="1">
                  <a:off x="48182213" y="3779978"/>
                  <a:ext cx="411480" cy="0"/>
                </a:xfrm>
                <a:prstGeom prst="line">
                  <a:avLst/>
                </a:prstGeom>
                <a:noFill/>
                <a:ln w="12700" cap="flat" cmpd="sng" algn="ctr">
                  <a:solidFill>
                    <a:srgbClr val="772432"/>
                  </a:solidFill>
                  <a:prstDash val="solid"/>
                </a:ln>
                <a:effectLst/>
              </p:spPr>
            </p:cxnSp>
            <p:sp>
              <p:nvSpPr>
                <p:cNvPr id="297" name="Oval 296"/>
                <p:cNvSpPr/>
                <p:nvPr/>
              </p:nvSpPr>
              <p:spPr bwMode="gray">
                <a:xfrm>
                  <a:off x="48003437" y="3471606"/>
                  <a:ext cx="178555" cy="178555"/>
                </a:xfrm>
                <a:prstGeom prst="ellipse">
                  <a:avLst/>
                </a:prstGeom>
                <a:noFill/>
                <a:ln w="19050" algn="ctr">
                  <a:noFill/>
                  <a:miter lim="800000"/>
                  <a:headEnd/>
                  <a:tailEnd/>
                </a:ln>
              </p:spPr>
              <p:txBody>
                <a:bodyPr wrap="square" lIns="0" tIns="0" rIns="0" bIns="0" rtlCol="0" anchor="ctr"/>
                <a:lstStyle/>
                <a:p>
                  <a:pPr algn="ctr">
                    <a:lnSpc>
                      <a:spcPct val="106000"/>
                    </a:lnSpc>
                    <a:defRPr/>
                  </a:pPr>
                  <a:r>
                    <a:rPr lang="en-US" sz="800" kern="0" dirty="0">
                      <a:solidFill>
                        <a:srgbClr val="772432"/>
                      </a:solidFill>
                      <a:latin typeface="Myriad Pro" panose="020B0503030403020204" pitchFamily="34" charset="0"/>
                    </a:rPr>
                    <a:t>✔</a:t>
                  </a:r>
                  <a:endParaRPr lang="en-US" sz="600" b="1" kern="0" dirty="0">
                    <a:solidFill>
                      <a:srgbClr val="772432"/>
                    </a:solidFill>
                    <a:latin typeface="Myriad Pro" panose="020B0503030403020204" pitchFamily="34" charset="0"/>
                  </a:endParaRPr>
                </a:p>
              </p:txBody>
            </p:sp>
            <p:sp>
              <p:nvSpPr>
                <p:cNvPr id="298" name="Oval 297"/>
                <p:cNvSpPr/>
                <p:nvPr/>
              </p:nvSpPr>
              <p:spPr bwMode="gray">
                <a:xfrm>
                  <a:off x="48003437" y="3677259"/>
                  <a:ext cx="178555" cy="178555"/>
                </a:xfrm>
                <a:prstGeom prst="ellipse">
                  <a:avLst/>
                </a:prstGeom>
                <a:noFill/>
                <a:ln w="19050" algn="ctr">
                  <a:noFill/>
                  <a:miter lim="800000"/>
                  <a:headEnd/>
                  <a:tailEnd/>
                </a:ln>
              </p:spPr>
              <p:txBody>
                <a:bodyPr wrap="square" lIns="0" tIns="0" rIns="0" bIns="0" rtlCol="0" anchor="ctr"/>
                <a:lstStyle/>
                <a:p>
                  <a:pPr algn="ctr">
                    <a:lnSpc>
                      <a:spcPct val="106000"/>
                    </a:lnSpc>
                    <a:defRPr/>
                  </a:pPr>
                  <a:r>
                    <a:rPr lang="en-US" sz="800" kern="0" dirty="0">
                      <a:solidFill>
                        <a:srgbClr val="772432"/>
                      </a:solidFill>
                      <a:latin typeface="Myriad Pro" panose="020B0503030403020204" pitchFamily="34" charset="0"/>
                    </a:rPr>
                    <a:t>✔</a:t>
                  </a:r>
                  <a:endParaRPr lang="en-US" sz="600" b="1" kern="0" dirty="0">
                    <a:solidFill>
                      <a:srgbClr val="772432"/>
                    </a:solidFill>
                    <a:latin typeface="Myriad Pro" panose="020B0503030403020204" pitchFamily="34" charset="0"/>
                  </a:endParaRPr>
                </a:p>
              </p:txBody>
            </p:sp>
            <p:sp>
              <p:nvSpPr>
                <p:cNvPr id="299" name="Oval 298"/>
                <p:cNvSpPr/>
                <p:nvPr/>
              </p:nvSpPr>
              <p:spPr bwMode="gray">
                <a:xfrm>
                  <a:off x="48003437" y="3882912"/>
                  <a:ext cx="178555" cy="178555"/>
                </a:xfrm>
                <a:prstGeom prst="ellipse">
                  <a:avLst/>
                </a:prstGeom>
                <a:noFill/>
                <a:ln w="19050" algn="ctr">
                  <a:noFill/>
                  <a:miter lim="800000"/>
                  <a:headEnd/>
                  <a:tailEnd/>
                </a:ln>
              </p:spPr>
              <p:txBody>
                <a:bodyPr wrap="square" lIns="0" tIns="0" rIns="0" bIns="0" rtlCol="0" anchor="ctr"/>
                <a:lstStyle/>
                <a:p>
                  <a:pPr algn="ctr">
                    <a:lnSpc>
                      <a:spcPct val="106000"/>
                    </a:lnSpc>
                    <a:defRPr/>
                  </a:pPr>
                  <a:r>
                    <a:rPr lang="en-US" sz="800" kern="0" dirty="0">
                      <a:solidFill>
                        <a:srgbClr val="772432"/>
                      </a:solidFill>
                      <a:latin typeface="Myriad Pro" panose="020B0503030403020204" pitchFamily="34" charset="0"/>
                    </a:rPr>
                    <a:t>✔</a:t>
                  </a:r>
                  <a:endParaRPr lang="en-US" sz="600" b="1" kern="0" dirty="0">
                    <a:solidFill>
                      <a:srgbClr val="772432"/>
                    </a:solidFill>
                    <a:latin typeface="Myriad Pro" panose="020B0503030403020204" pitchFamily="34" charset="0"/>
                  </a:endParaRPr>
                </a:p>
              </p:txBody>
            </p:sp>
          </p:grpSp>
        </p:grpSp>
      </p:grpSp>
      <p:pic>
        <p:nvPicPr>
          <p:cNvPr id="132" name="Picture 2" descr="C:\Users\vacoGrovem\AppData\Local\Microsoft\Windows\Temporary Internet Files\Content.Outlook\83QVOJUE\CHOOSE-VA-rev.png">
            <a:extLst>
              <a:ext uri="{FF2B5EF4-FFF2-40B4-BE49-F238E27FC236}">
                <a16:creationId xmlns:a16="http://schemas.microsoft.com/office/drawing/2014/main" id="{E5BC1BC7-4BEA-4148-B94E-CA6CB7B23B1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542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alpha val="73000"/>
          </a:schemeClr>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D983F1FA-211D-3044-9E35-958DFBC26156}" type="slidenum">
              <a:rPr lang="en-US">
                <a:solidFill>
                  <a:prstClr val="white"/>
                </a:solidFill>
                <a:latin typeface="Calibri"/>
              </a:rPr>
              <a:pPr>
                <a:defRPr/>
              </a:pPr>
              <a:t>5</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dirty="0"/>
              <a:t>Modernized VALERI Addresses Current Challenges</a:t>
            </a:r>
          </a:p>
        </p:txBody>
      </p:sp>
      <p:grpSp>
        <p:nvGrpSpPr>
          <p:cNvPr id="129" name="Group 128">
            <a:extLst>
              <a:ext uri="{FF2B5EF4-FFF2-40B4-BE49-F238E27FC236}">
                <a16:creationId xmlns:a16="http://schemas.microsoft.com/office/drawing/2014/main" id="{6B2A00DA-1473-4793-9D00-7F5B42349863}"/>
              </a:ext>
            </a:extLst>
          </p:cNvPr>
          <p:cNvGrpSpPr/>
          <p:nvPr/>
        </p:nvGrpSpPr>
        <p:grpSpPr>
          <a:xfrm>
            <a:off x="1752600" y="785858"/>
            <a:ext cx="8686800" cy="4624343"/>
            <a:chOff x="228600" y="838200"/>
            <a:chExt cx="8686800" cy="4624343"/>
          </a:xfrm>
        </p:grpSpPr>
        <p:sp>
          <p:nvSpPr>
            <p:cNvPr id="207" name="Rectangle 206">
              <a:extLst>
                <a:ext uri="{FF2B5EF4-FFF2-40B4-BE49-F238E27FC236}">
                  <a16:creationId xmlns:a16="http://schemas.microsoft.com/office/drawing/2014/main" id="{F60880C9-8A49-4A45-A456-EAFA63B453DF}"/>
                </a:ext>
              </a:extLst>
            </p:cNvPr>
            <p:cNvSpPr/>
            <p:nvPr/>
          </p:nvSpPr>
          <p:spPr>
            <a:xfrm>
              <a:off x="228600" y="838200"/>
              <a:ext cx="8686800" cy="4624343"/>
            </a:xfrm>
            <a:prstGeom prst="rect">
              <a:avLst/>
            </a:prstGeom>
          </p:spPr>
          <p:txBody>
            <a:bodyPr wrap="square">
              <a:spAutoFit/>
            </a:bodyPr>
            <a:lstStyle/>
            <a:p>
              <a:pPr>
                <a:lnSpc>
                  <a:spcPct val="120000"/>
                </a:lnSpc>
                <a:spcAft>
                  <a:spcPts val="300"/>
                </a:spcAft>
              </a:pPr>
              <a:r>
                <a:rPr lang="en-US" b="1" dirty="0">
                  <a:solidFill>
                    <a:srgbClr val="0083BE"/>
                  </a:solidFill>
                  <a:latin typeface="Calibri"/>
                </a:rPr>
                <a:t>Single Platform to Integrate Business Lines</a:t>
              </a:r>
              <a:endParaRPr lang="en-US" dirty="0">
                <a:solidFill>
                  <a:srgbClr val="0083BE"/>
                </a:solidFill>
                <a:latin typeface="Calibri"/>
              </a:endParaRPr>
            </a:p>
            <a:p>
              <a:pPr marL="1828800" lvl="1" indent="-228600">
                <a:spcBef>
                  <a:spcPts val="600"/>
                </a:spcBef>
                <a:buClr>
                  <a:srgbClr val="0083BE"/>
                </a:buClr>
                <a:buFont typeface="Arial" pitchFamily="34" charset="0"/>
                <a:buChar char="•"/>
                <a:defRPr/>
              </a:pPr>
              <a:r>
                <a:rPr lang="en-US" sz="1600" dirty="0">
                  <a:solidFill>
                    <a:srgbClr val="3C3C3B"/>
                  </a:solidFill>
                  <a:latin typeface="Calibri" panose="020F0502020204030204" pitchFamily="34" charset="0"/>
                  <a:cs typeface="Calibri" panose="020F0502020204030204" pitchFamily="34" charset="0"/>
                </a:rPr>
                <a:t>VALERI has the ability to integrate Loan Origination, Property Valuation, &amp; Mortgage Servicing</a:t>
              </a:r>
            </a:p>
            <a:p>
              <a:pPr marL="1828800" lvl="1" indent="-228600">
                <a:spcBef>
                  <a:spcPts val="600"/>
                </a:spcBef>
                <a:buClr>
                  <a:srgbClr val="0083BE"/>
                </a:buClr>
                <a:buFont typeface="Arial" pitchFamily="34" charset="0"/>
                <a:buChar char="•"/>
                <a:defRPr/>
              </a:pPr>
              <a:r>
                <a:rPr lang="en-US" sz="1600" dirty="0">
                  <a:solidFill>
                    <a:srgbClr val="3C3C3B"/>
                  </a:solidFill>
                  <a:latin typeface="Calibri" panose="020F0502020204030204" pitchFamily="34" charset="0"/>
                  <a:cs typeface="Calibri" panose="020F0502020204030204" pitchFamily="34" charset="0"/>
                </a:rPr>
                <a:t>The redesigned VALERI will provide a modern, supportable, robust platform for LGY benefits delivery</a:t>
              </a:r>
            </a:p>
            <a:p>
              <a:pPr marL="1828800" lvl="1" indent="-228600">
                <a:spcBef>
                  <a:spcPts val="600"/>
                </a:spcBef>
                <a:buClr>
                  <a:srgbClr val="0083BE"/>
                </a:buClr>
                <a:buFont typeface="Arial" pitchFamily="34" charset="0"/>
                <a:buChar char="•"/>
                <a:defRPr/>
              </a:pPr>
              <a:r>
                <a:rPr lang="en-US" sz="1600" dirty="0">
                  <a:solidFill>
                    <a:srgbClr val="3C3C3B"/>
                  </a:solidFill>
                  <a:latin typeface="Calibri" panose="020F0502020204030204" pitchFamily="34" charset="0"/>
                  <a:cs typeface="Calibri" panose="020F0502020204030204" pitchFamily="34" charset="0"/>
                </a:rPr>
                <a:t>Improves business intelligence and interoperability with other information systems while reducing ownership costs</a:t>
              </a:r>
            </a:p>
            <a:p>
              <a:pPr>
                <a:lnSpc>
                  <a:spcPct val="120000"/>
                </a:lnSpc>
                <a:spcAft>
                  <a:spcPts val="300"/>
                </a:spcAft>
              </a:pPr>
              <a:endParaRPr lang="en-US" sz="1400" b="1" dirty="0">
                <a:solidFill>
                  <a:srgbClr val="C62630"/>
                </a:solidFill>
                <a:latin typeface="Calibri"/>
              </a:endParaRPr>
            </a:p>
            <a:p>
              <a:pPr>
                <a:lnSpc>
                  <a:spcPct val="120000"/>
                </a:lnSpc>
                <a:spcAft>
                  <a:spcPts val="300"/>
                </a:spcAft>
              </a:pPr>
              <a:r>
                <a:rPr lang="en-US" b="1" dirty="0">
                  <a:solidFill>
                    <a:srgbClr val="003F72"/>
                  </a:solidFill>
                  <a:latin typeface="Calibri"/>
                </a:rPr>
                <a:t>End-to-End Solution Development</a:t>
              </a:r>
              <a:endParaRPr lang="en-US" dirty="0">
                <a:solidFill>
                  <a:srgbClr val="003F72"/>
                </a:solidFill>
                <a:latin typeface="Calibri"/>
              </a:endParaRPr>
            </a:p>
            <a:p>
              <a:pPr marL="1828800" lvl="1" indent="-228600">
                <a:spcBef>
                  <a:spcPts val="600"/>
                </a:spcBef>
                <a:buClr>
                  <a:srgbClr val="003F72"/>
                </a:buClr>
                <a:buFont typeface="Arial" pitchFamily="34" charset="0"/>
                <a:buChar char="•"/>
                <a:defRPr/>
              </a:pPr>
              <a:r>
                <a:rPr lang="en-US" sz="1600" dirty="0">
                  <a:solidFill>
                    <a:srgbClr val="3C3C3B"/>
                  </a:solidFill>
                  <a:latin typeface="Calibri" panose="020F0502020204030204" pitchFamily="34" charset="0"/>
                  <a:cs typeface="Calibri" panose="020F0502020204030204" pitchFamily="34" charset="0"/>
                </a:rPr>
                <a:t>Provides increasingly sophisticated capabilities across VA front-end access points </a:t>
              </a:r>
            </a:p>
            <a:p>
              <a:pPr marL="1828800" lvl="1" indent="-228600">
                <a:spcBef>
                  <a:spcPts val="600"/>
                </a:spcBef>
                <a:buClr>
                  <a:srgbClr val="003F72"/>
                </a:buClr>
                <a:buFont typeface="Arial" pitchFamily="34" charset="0"/>
                <a:buChar char="•"/>
                <a:defRPr/>
              </a:pPr>
              <a:r>
                <a:rPr lang="en-US" sz="1600" dirty="0">
                  <a:solidFill>
                    <a:srgbClr val="3C3C3B"/>
                  </a:solidFill>
                  <a:latin typeface="Calibri" panose="020F0502020204030204" pitchFamily="34" charset="0"/>
                  <a:cs typeface="Calibri" panose="020F0502020204030204" pitchFamily="34" charset="0"/>
                </a:rPr>
                <a:t>Creates an integrated customer service approach to better serve Veterans and their families </a:t>
              </a:r>
            </a:p>
            <a:p>
              <a:pPr marL="1828800" lvl="1" indent="-228600">
                <a:spcBef>
                  <a:spcPts val="600"/>
                </a:spcBef>
                <a:buClr>
                  <a:srgbClr val="003F72"/>
                </a:buClr>
                <a:buFont typeface="Arial" pitchFamily="34" charset="0"/>
                <a:buChar char="•"/>
                <a:defRPr/>
              </a:pPr>
              <a:r>
                <a:rPr lang="en-US" sz="1600" dirty="0">
                  <a:solidFill>
                    <a:srgbClr val="3C3C3B"/>
                  </a:solidFill>
                  <a:latin typeface="Calibri" panose="020F0502020204030204" pitchFamily="34" charset="0"/>
                  <a:cs typeface="Calibri" panose="020F0502020204030204" pitchFamily="34" charset="0"/>
                </a:rPr>
                <a:t>Customer service extends to stakeholders like lenders, servicers and appraisers</a:t>
              </a:r>
            </a:p>
            <a:p>
              <a:pPr marL="1828800" lvl="1" indent="-228600">
                <a:spcBef>
                  <a:spcPts val="600"/>
                </a:spcBef>
                <a:buClr>
                  <a:srgbClr val="003F72"/>
                </a:buClr>
                <a:buFont typeface="Arial" pitchFamily="34" charset="0"/>
                <a:buChar char="•"/>
                <a:defRPr/>
              </a:pPr>
              <a:r>
                <a:rPr lang="en-US" sz="1600" dirty="0">
                  <a:solidFill>
                    <a:srgbClr val="3C3C3B"/>
                  </a:solidFill>
                  <a:latin typeface="Calibri" panose="020F0502020204030204" pitchFamily="34" charset="0"/>
                  <a:cs typeface="Calibri" panose="020F0502020204030204" pitchFamily="34" charset="0"/>
                </a:rPr>
                <a:t>Program remains adaptable and innovative so VA Home Loan is the product of choice</a:t>
              </a:r>
            </a:p>
          </p:txBody>
        </p:sp>
        <p:grpSp>
          <p:nvGrpSpPr>
            <p:cNvPr id="212" name="Group 211">
              <a:extLst>
                <a:ext uri="{FF2B5EF4-FFF2-40B4-BE49-F238E27FC236}">
                  <a16:creationId xmlns:a16="http://schemas.microsoft.com/office/drawing/2014/main" id="{ABE70377-A9FC-4CCA-A506-0CAA58CD960B}"/>
                </a:ext>
              </a:extLst>
            </p:cNvPr>
            <p:cNvGrpSpPr/>
            <p:nvPr/>
          </p:nvGrpSpPr>
          <p:grpSpPr>
            <a:xfrm>
              <a:off x="395489" y="3578036"/>
              <a:ext cx="1289050" cy="1289050"/>
              <a:chOff x="609600" y="1600200"/>
              <a:chExt cx="1289050" cy="1289050"/>
            </a:xfrm>
          </p:grpSpPr>
          <p:sp>
            <p:nvSpPr>
              <p:cNvPr id="222" name="Oval 221">
                <a:extLst>
                  <a:ext uri="{FF2B5EF4-FFF2-40B4-BE49-F238E27FC236}">
                    <a16:creationId xmlns:a16="http://schemas.microsoft.com/office/drawing/2014/main" id="{933772F4-4C5D-45D0-BEF9-1C1552E69ECA}"/>
                  </a:ext>
                </a:extLst>
              </p:cNvPr>
              <p:cNvSpPr/>
              <p:nvPr/>
            </p:nvSpPr>
            <p:spPr bwMode="gray">
              <a:xfrm>
                <a:off x="609600" y="1600200"/>
                <a:ext cx="1289050" cy="1289050"/>
              </a:xfrm>
              <a:prstGeom prst="ellipse">
                <a:avLst/>
              </a:prstGeom>
              <a:solidFill>
                <a:schemeClr val="tx2"/>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nvGrpSpPr>
              <p:cNvPr id="223" name="Group 222">
                <a:extLst>
                  <a:ext uri="{FF2B5EF4-FFF2-40B4-BE49-F238E27FC236}">
                    <a16:creationId xmlns:a16="http://schemas.microsoft.com/office/drawing/2014/main" id="{29867612-C210-4EF1-9AA9-68FF928C59B0}"/>
                  </a:ext>
                </a:extLst>
              </p:cNvPr>
              <p:cNvGrpSpPr/>
              <p:nvPr/>
            </p:nvGrpSpPr>
            <p:grpSpPr>
              <a:xfrm>
                <a:off x="735177" y="1725777"/>
                <a:ext cx="1037896" cy="1037895"/>
                <a:chOff x="2344057" y="4913086"/>
                <a:chExt cx="1371601" cy="1371600"/>
              </a:xfrm>
              <a:solidFill>
                <a:srgbClr val="FFFFFF"/>
              </a:solidFill>
            </p:grpSpPr>
            <p:sp>
              <p:nvSpPr>
                <p:cNvPr id="225" name="Circular Arrow 49">
                  <a:extLst>
                    <a:ext uri="{FF2B5EF4-FFF2-40B4-BE49-F238E27FC236}">
                      <a16:creationId xmlns:a16="http://schemas.microsoft.com/office/drawing/2014/main" id="{E9299762-150B-4ED1-9F1E-EA5048771956}"/>
                    </a:ext>
                  </a:extLst>
                </p:cNvPr>
                <p:cNvSpPr/>
                <p:nvPr/>
              </p:nvSpPr>
              <p:spPr bwMode="gray">
                <a:xfrm>
                  <a:off x="2344057" y="4913086"/>
                  <a:ext cx="1371600" cy="1371600"/>
                </a:xfrm>
                <a:prstGeom prst="circularArrow">
                  <a:avLst>
                    <a:gd name="adj1" fmla="val 2496"/>
                    <a:gd name="adj2" fmla="val 605571"/>
                    <a:gd name="adj3" fmla="val 20663985"/>
                    <a:gd name="adj4" fmla="val 10800000"/>
                    <a:gd name="adj5" fmla="val 7497"/>
                  </a:avLst>
                </a:prstGeom>
                <a:grp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26" name="Circular Arrow 50">
                  <a:extLst>
                    <a:ext uri="{FF2B5EF4-FFF2-40B4-BE49-F238E27FC236}">
                      <a16:creationId xmlns:a16="http://schemas.microsoft.com/office/drawing/2014/main" id="{02DE40EF-1DBF-458B-8070-96B8AADC003B}"/>
                    </a:ext>
                  </a:extLst>
                </p:cNvPr>
                <p:cNvSpPr/>
                <p:nvPr/>
              </p:nvSpPr>
              <p:spPr bwMode="gray">
                <a:xfrm rot="10800000">
                  <a:off x="2344058" y="4913086"/>
                  <a:ext cx="1371600" cy="1371600"/>
                </a:xfrm>
                <a:prstGeom prst="circularArrow">
                  <a:avLst>
                    <a:gd name="adj1" fmla="val 2496"/>
                    <a:gd name="adj2" fmla="val 605571"/>
                    <a:gd name="adj3" fmla="val 20663985"/>
                    <a:gd name="adj4" fmla="val 10800000"/>
                    <a:gd name="adj5" fmla="val 7497"/>
                  </a:avLst>
                </a:prstGeom>
                <a:grp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sp>
            <p:nvSpPr>
              <p:cNvPr id="224" name="8-Point Star 18">
                <a:extLst>
                  <a:ext uri="{FF2B5EF4-FFF2-40B4-BE49-F238E27FC236}">
                    <a16:creationId xmlns:a16="http://schemas.microsoft.com/office/drawing/2014/main" id="{5094C2D4-040F-4953-9F26-CB198066ADD8}"/>
                  </a:ext>
                </a:extLst>
              </p:cNvPr>
              <p:cNvSpPr/>
              <p:nvPr/>
            </p:nvSpPr>
            <p:spPr>
              <a:xfrm rot="20024235" flipH="1">
                <a:off x="990375" y="1973449"/>
                <a:ext cx="527500" cy="527500"/>
              </a:xfrm>
              <a:custGeom>
                <a:avLst/>
                <a:gdLst/>
                <a:ahLst/>
                <a:cxnLst/>
                <a:rect l="l" t="t" r="r" b="b"/>
                <a:pathLst>
                  <a:path w="3040380" h="3040380">
                    <a:moveTo>
                      <a:pt x="1520190" y="971550"/>
                    </a:moveTo>
                    <a:cubicBezTo>
                      <a:pt x="1217184" y="971550"/>
                      <a:pt x="971550" y="1217184"/>
                      <a:pt x="971550" y="1520190"/>
                    </a:cubicBezTo>
                    <a:cubicBezTo>
                      <a:pt x="971550" y="1823196"/>
                      <a:pt x="1217184" y="2068830"/>
                      <a:pt x="1520190" y="2068830"/>
                    </a:cubicBezTo>
                    <a:cubicBezTo>
                      <a:pt x="1823196" y="2068830"/>
                      <a:pt x="2068830" y="1823196"/>
                      <a:pt x="2068830" y="1520190"/>
                    </a:cubicBezTo>
                    <a:cubicBezTo>
                      <a:pt x="2068830" y="1217184"/>
                      <a:pt x="1823196" y="971550"/>
                      <a:pt x="1520190" y="971550"/>
                    </a:cubicBezTo>
                    <a:close/>
                    <a:moveTo>
                      <a:pt x="1520190" y="0"/>
                    </a:moveTo>
                    <a:cubicBezTo>
                      <a:pt x="1586792" y="0"/>
                      <a:pt x="1652393" y="4283"/>
                      <a:pt x="1716539" y="14094"/>
                    </a:cubicBezTo>
                    <a:lnTo>
                      <a:pt x="1824743" y="350145"/>
                    </a:lnTo>
                    <a:cubicBezTo>
                      <a:pt x="1933334" y="374378"/>
                      <a:pt x="2037036" y="417195"/>
                      <a:pt x="2131002" y="478094"/>
                    </a:cubicBezTo>
                    <a:lnTo>
                      <a:pt x="2446152" y="316463"/>
                    </a:lnTo>
                    <a:cubicBezTo>
                      <a:pt x="2551357" y="395501"/>
                      <a:pt x="2644879" y="489023"/>
                      <a:pt x="2723917" y="594229"/>
                    </a:cubicBezTo>
                    <a:lnTo>
                      <a:pt x="2564636" y="904796"/>
                    </a:lnTo>
                    <a:cubicBezTo>
                      <a:pt x="2569646" y="911341"/>
                      <a:pt x="2573744" y="918462"/>
                      <a:pt x="2577779" y="925640"/>
                    </a:cubicBezTo>
                    <a:cubicBezTo>
                      <a:pt x="2630072" y="1018660"/>
                      <a:pt x="2668781" y="1115626"/>
                      <a:pt x="2689512" y="1215405"/>
                    </a:cubicBezTo>
                    <a:lnTo>
                      <a:pt x="3026287" y="1323842"/>
                    </a:lnTo>
                    <a:cubicBezTo>
                      <a:pt x="3036097" y="1387988"/>
                      <a:pt x="3040380" y="1453589"/>
                      <a:pt x="3040380" y="1520190"/>
                    </a:cubicBezTo>
                    <a:cubicBezTo>
                      <a:pt x="3040380" y="1586792"/>
                      <a:pt x="3036097" y="1652393"/>
                      <a:pt x="3026287" y="1716539"/>
                    </a:cubicBezTo>
                    <a:lnTo>
                      <a:pt x="2690239" y="1824742"/>
                    </a:lnTo>
                    <a:cubicBezTo>
                      <a:pt x="2666005" y="1933335"/>
                      <a:pt x="2623188" y="2037037"/>
                      <a:pt x="2562287" y="2131005"/>
                    </a:cubicBezTo>
                    <a:lnTo>
                      <a:pt x="2723917" y="2446152"/>
                    </a:lnTo>
                    <a:cubicBezTo>
                      <a:pt x="2644879" y="2551357"/>
                      <a:pt x="2551357" y="2644879"/>
                      <a:pt x="2446151" y="2723917"/>
                    </a:cubicBezTo>
                    <a:lnTo>
                      <a:pt x="2135585" y="2564637"/>
                    </a:lnTo>
                    <a:cubicBezTo>
                      <a:pt x="2129042" y="2569647"/>
                      <a:pt x="2121921" y="2573744"/>
                      <a:pt x="2114744" y="2577779"/>
                    </a:cubicBezTo>
                    <a:cubicBezTo>
                      <a:pt x="2021723" y="2630072"/>
                      <a:pt x="1924755" y="2668781"/>
                      <a:pt x="1824976" y="2689511"/>
                    </a:cubicBezTo>
                    <a:lnTo>
                      <a:pt x="1716539" y="3026287"/>
                    </a:lnTo>
                    <a:cubicBezTo>
                      <a:pt x="1652393" y="3036097"/>
                      <a:pt x="1586792" y="3040380"/>
                      <a:pt x="1520190" y="3040380"/>
                    </a:cubicBezTo>
                    <a:cubicBezTo>
                      <a:pt x="1453589" y="3040380"/>
                      <a:pt x="1387987" y="3036097"/>
                      <a:pt x="1323841" y="3026287"/>
                    </a:cubicBezTo>
                    <a:lnTo>
                      <a:pt x="1215638" y="2690237"/>
                    </a:lnTo>
                    <a:cubicBezTo>
                      <a:pt x="1107045" y="2666005"/>
                      <a:pt x="1003344" y="2623186"/>
                      <a:pt x="909378" y="2562286"/>
                    </a:cubicBezTo>
                    <a:lnTo>
                      <a:pt x="594229" y="2723917"/>
                    </a:lnTo>
                    <a:cubicBezTo>
                      <a:pt x="489023" y="2644879"/>
                      <a:pt x="395501" y="2551357"/>
                      <a:pt x="316463" y="2446152"/>
                    </a:cubicBezTo>
                    <a:lnTo>
                      <a:pt x="475745" y="2135582"/>
                    </a:lnTo>
                    <a:cubicBezTo>
                      <a:pt x="470736" y="2129039"/>
                      <a:pt x="466639" y="2121919"/>
                      <a:pt x="462604" y="2114742"/>
                    </a:cubicBezTo>
                    <a:cubicBezTo>
                      <a:pt x="410311" y="2021723"/>
                      <a:pt x="371603" y="1924756"/>
                      <a:pt x="350872" y="1824977"/>
                    </a:cubicBezTo>
                    <a:lnTo>
                      <a:pt x="14094" y="1716539"/>
                    </a:lnTo>
                    <a:cubicBezTo>
                      <a:pt x="4283" y="1652393"/>
                      <a:pt x="0" y="1586792"/>
                      <a:pt x="0" y="1520190"/>
                    </a:cubicBezTo>
                    <a:cubicBezTo>
                      <a:pt x="0" y="1453589"/>
                      <a:pt x="4283" y="1387988"/>
                      <a:pt x="14093" y="1323841"/>
                    </a:cubicBezTo>
                    <a:lnTo>
                      <a:pt x="350147" y="1215637"/>
                    </a:lnTo>
                    <a:cubicBezTo>
                      <a:pt x="374379" y="1107046"/>
                      <a:pt x="417197" y="1003347"/>
                      <a:pt x="478096" y="909381"/>
                    </a:cubicBezTo>
                    <a:lnTo>
                      <a:pt x="316464" y="594228"/>
                    </a:lnTo>
                    <a:cubicBezTo>
                      <a:pt x="395501" y="489023"/>
                      <a:pt x="489023" y="395501"/>
                      <a:pt x="594229" y="316463"/>
                    </a:cubicBezTo>
                    <a:lnTo>
                      <a:pt x="904800" y="475746"/>
                    </a:lnTo>
                    <a:cubicBezTo>
                      <a:pt x="911343" y="470736"/>
                      <a:pt x="918463" y="466639"/>
                      <a:pt x="925641" y="462604"/>
                    </a:cubicBezTo>
                    <a:cubicBezTo>
                      <a:pt x="1018661" y="410311"/>
                      <a:pt x="1115626" y="371603"/>
                      <a:pt x="1215403" y="350873"/>
                    </a:cubicBezTo>
                    <a:lnTo>
                      <a:pt x="1323841" y="14093"/>
                    </a:lnTo>
                    <a:cubicBezTo>
                      <a:pt x="1387988" y="4283"/>
                      <a:pt x="1453589" y="0"/>
                      <a:pt x="1520190" y="0"/>
                    </a:cubicBezTo>
                    <a:close/>
                  </a:path>
                </a:pathLst>
              </a:custGeom>
              <a:solidFill>
                <a:srgbClr val="FFFFFF"/>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rgbClr val="0083BE"/>
                  </a:solidFill>
                  <a:latin typeface="Calibri" panose="020F0502020204030204"/>
                </a:endParaRPr>
              </a:p>
            </p:txBody>
          </p:sp>
        </p:grpSp>
        <p:grpSp>
          <p:nvGrpSpPr>
            <p:cNvPr id="63" name="Group 62">
              <a:extLst>
                <a:ext uri="{FF2B5EF4-FFF2-40B4-BE49-F238E27FC236}">
                  <a16:creationId xmlns:a16="http://schemas.microsoft.com/office/drawing/2014/main" id="{42B92DC9-55CC-462B-A80F-5C8EF3344FBB}"/>
                </a:ext>
              </a:extLst>
            </p:cNvPr>
            <p:cNvGrpSpPr/>
            <p:nvPr/>
          </p:nvGrpSpPr>
          <p:grpSpPr>
            <a:xfrm>
              <a:off x="395489" y="1346390"/>
              <a:ext cx="1289050" cy="1289050"/>
              <a:chOff x="380999" y="2481763"/>
              <a:chExt cx="1289050" cy="1289050"/>
            </a:xfrm>
          </p:grpSpPr>
          <p:sp>
            <p:nvSpPr>
              <p:cNvPr id="213" name="Oval 212">
                <a:extLst>
                  <a:ext uri="{FF2B5EF4-FFF2-40B4-BE49-F238E27FC236}">
                    <a16:creationId xmlns:a16="http://schemas.microsoft.com/office/drawing/2014/main" id="{6003BDD6-4F4C-4320-9174-1A7430BC1587}"/>
                  </a:ext>
                </a:extLst>
              </p:cNvPr>
              <p:cNvSpPr/>
              <p:nvPr/>
            </p:nvSpPr>
            <p:spPr bwMode="gray">
              <a:xfrm>
                <a:off x="380999" y="2481763"/>
                <a:ext cx="1289050" cy="1289050"/>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pic>
            <p:nvPicPr>
              <p:cNvPr id="221" name="Picture 220">
                <a:extLst>
                  <a:ext uri="{FF2B5EF4-FFF2-40B4-BE49-F238E27FC236}">
                    <a16:creationId xmlns:a16="http://schemas.microsoft.com/office/drawing/2014/main" id="{CE8E5D09-588F-45BB-B88B-625A2D715585}"/>
                  </a:ext>
                </a:extLst>
              </p:cNvPr>
              <p:cNvPicPr>
                <a:picLocks noChangeAspect="1"/>
              </p:cNvPicPr>
              <p:nvPr/>
            </p:nvPicPr>
            <p:blipFill>
              <a:blip r:embed="rId3">
                <a:lum bright="70000" contrast="-70000"/>
              </a:blip>
              <a:stretch>
                <a:fillRect/>
              </a:stretch>
            </p:blipFill>
            <p:spPr>
              <a:xfrm>
                <a:off x="582776" y="2669048"/>
                <a:ext cx="914479" cy="914479"/>
              </a:xfrm>
              <a:prstGeom prst="rect">
                <a:avLst/>
              </a:prstGeom>
            </p:spPr>
          </p:pic>
        </p:grpSp>
      </p:grpSp>
      <p:sp>
        <p:nvSpPr>
          <p:cNvPr id="230" name="Rectangle 229">
            <a:extLst>
              <a:ext uri="{FF2B5EF4-FFF2-40B4-BE49-F238E27FC236}">
                <a16:creationId xmlns:a16="http://schemas.microsoft.com/office/drawing/2014/main" id="{9A5B90FC-5CF4-4E89-90CA-BADB51322F27}"/>
              </a:ext>
            </a:extLst>
          </p:cNvPr>
          <p:cNvSpPr/>
          <p:nvPr/>
        </p:nvSpPr>
        <p:spPr>
          <a:xfrm>
            <a:off x="1985352" y="5498068"/>
            <a:ext cx="8221299" cy="369332"/>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lgn="ctr">
              <a:defRPr/>
            </a:pPr>
            <a:r>
              <a:rPr lang="en-US" b="1" kern="0" dirty="0">
                <a:solidFill>
                  <a:srgbClr val="373737"/>
                </a:solidFill>
                <a:latin typeface="Calibri"/>
              </a:rPr>
              <a:t>The first phase of the modernized VALERI is scheduled to go live on May 28</a:t>
            </a:r>
            <a:r>
              <a:rPr lang="en-US" b="1" kern="0" baseline="30000" dirty="0">
                <a:solidFill>
                  <a:srgbClr val="373737"/>
                </a:solidFill>
                <a:latin typeface="Calibri"/>
              </a:rPr>
              <a:t>th</a:t>
            </a:r>
            <a:r>
              <a:rPr lang="en-US" b="1" kern="0" dirty="0">
                <a:solidFill>
                  <a:srgbClr val="373737"/>
                </a:solidFill>
                <a:latin typeface="Calibri"/>
              </a:rPr>
              <a:t>, 2019</a:t>
            </a:r>
            <a:endParaRPr lang="en-US" kern="0" dirty="0">
              <a:solidFill>
                <a:srgbClr val="373737"/>
              </a:solidFill>
              <a:latin typeface="Calibri"/>
            </a:endParaRPr>
          </a:p>
        </p:txBody>
      </p:sp>
      <p:pic>
        <p:nvPicPr>
          <p:cNvPr id="16" name="Picture 2" descr="C:\Users\vacoGrovem\AppData\Local\Microsoft\Windows\Temporary Internet Files\Content.Outlook\83QVOJUE\CHOOSE-VA-rev.png">
            <a:extLst>
              <a:ext uri="{FF2B5EF4-FFF2-40B4-BE49-F238E27FC236}">
                <a16:creationId xmlns:a16="http://schemas.microsoft.com/office/drawing/2014/main" id="{77462542-61F5-4E61-8742-C5026EF72CF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55936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B52B587-81F2-41D6-851A-2E166F740107}"/>
              </a:ext>
            </a:extLst>
          </p:cNvPr>
          <p:cNvSpPr>
            <a:spLocks noGrp="1"/>
          </p:cNvSpPr>
          <p:nvPr>
            <p:ph type="ctrTitle"/>
          </p:nvPr>
        </p:nvSpPr>
        <p:spPr/>
        <p:txBody>
          <a:bodyPr/>
          <a:lstStyle/>
          <a:p>
            <a:r>
              <a:rPr lang="en-US" dirty="0"/>
              <a:t>Future of Origination at LGY</a:t>
            </a:r>
          </a:p>
        </p:txBody>
      </p:sp>
      <p:pic>
        <p:nvPicPr>
          <p:cNvPr id="4" name="Picture 2" descr="C:\Users\vacoGrovem\AppData\Local\Microsoft\Windows\Temporary Internet Files\Content.Outlook\83QVOJUE\CHOOSE-VA-rev.png">
            <a:extLst>
              <a:ext uri="{FF2B5EF4-FFF2-40B4-BE49-F238E27FC236}">
                <a16:creationId xmlns:a16="http://schemas.microsoft.com/office/drawing/2014/main" id="{620AFF4A-BA62-4A79-8FCE-B544157ED50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0556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a:solidFill>
                  <a:prstClr val="white"/>
                </a:solidFill>
                <a:latin typeface="Calibri"/>
              </a:rPr>
              <a:pPr/>
              <a:t>7</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dirty="0"/>
              <a:t>Objectives of Continued Transformation</a:t>
            </a:r>
          </a:p>
        </p:txBody>
      </p:sp>
      <p:sp>
        <p:nvSpPr>
          <p:cNvPr id="35" name="Block Arc 34"/>
          <p:cNvSpPr/>
          <p:nvPr/>
        </p:nvSpPr>
        <p:spPr>
          <a:xfrm>
            <a:off x="-1219200" y="228601"/>
            <a:ext cx="6390031" cy="6390031"/>
          </a:xfrm>
          <a:prstGeom prst="blockArc">
            <a:avLst>
              <a:gd name="adj1" fmla="val 19456610"/>
              <a:gd name="adj2" fmla="val 2423261"/>
              <a:gd name="adj3" fmla="val 0"/>
            </a:avLst>
          </a:prstGeom>
          <a:solidFill>
            <a:schemeClr val="accent2"/>
          </a:solidFill>
          <a:ln w="57150" cap="flat" cmpd="sng" algn="ctr">
            <a:solidFill>
              <a:schemeClr val="accent1"/>
            </a:solidFill>
            <a:prstDash val="solid"/>
          </a:ln>
          <a:effectLst/>
        </p:spPr>
      </p:sp>
      <p:grpSp>
        <p:nvGrpSpPr>
          <p:cNvPr id="34" name="Group 33"/>
          <p:cNvGrpSpPr/>
          <p:nvPr/>
        </p:nvGrpSpPr>
        <p:grpSpPr>
          <a:xfrm>
            <a:off x="2015666" y="2458803"/>
            <a:ext cx="2344839" cy="1780599"/>
            <a:chOff x="3091151" y="2278396"/>
            <a:chExt cx="2344839" cy="1780599"/>
          </a:xfrm>
        </p:grpSpPr>
        <p:sp>
          <p:nvSpPr>
            <p:cNvPr id="23" name="Freeform 22"/>
            <p:cNvSpPr/>
            <p:nvPr/>
          </p:nvSpPr>
          <p:spPr bwMode="gray">
            <a:xfrm>
              <a:off x="3603246" y="2278396"/>
              <a:ext cx="1832744" cy="1780599"/>
            </a:xfrm>
            <a:custGeom>
              <a:avLst/>
              <a:gdLst>
                <a:gd name="connsiteX0" fmla="*/ 422561 w 845122"/>
                <a:gd name="connsiteY0" fmla="*/ 365760 h 822960"/>
                <a:gd name="connsiteX1" fmla="*/ 468281 w 845122"/>
                <a:gd name="connsiteY1" fmla="*/ 411480 h 822960"/>
                <a:gd name="connsiteX2" fmla="*/ 422561 w 845122"/>
                <a:gd name="connsiteY2" fmla="*/ 457200 h 822960"/>
                <a:gd name="connsiteX3" fmla="*/ 376841 w 845122"/>
                <a:gd name="connsiteY3" fmla="*/ 411480 h 822960"/>
                <a:gd name="connsiteX4" fmla="*/ 422561 w 845122"/>
                <a:gd name="connsiteY4" fmla="*/ 365760 h 822960"/>
                <a:gd name="connsiteX5" fmla="*/ 422561 w 845122"/>
                <a:gd name="connsiteY5" fmla="*/ 274320 h 822960"/>
                <a:gd name="connsiteX6" fmla="*/ 285401 w 845122"/>
                <a:gd name="connsiteY6" fmla="*/ 411480 h 822960"/>
                <a:gd name="connsiteX7" fmla="*/ 422561 w 845122"/>
                <a:gd name="connsiteY7" fmla="*/ 548640 h 822960"/>
                <a:gd name="connsiteX8" fmla="*/ 559721 w 845122"/>
                <a:gd name="connsiteY8" fmla="*/ 411480 h 822960"/>
                <a:gd name="connsiteX9" fmla="*/ 422561 w 845122"/>
                <a:gd name="connsiteY9" fmla="*/ 274320 h 822960"/>
                <a:gd name="connsiteX10" fmla="*/ 422561 w 845122"/>
                <a:gd name="connsiteY10" fmla="*/ 182880 h 822960"/>
                <a:gd name="connsiteX11" fmla="*/ 651161 w 845122"/>
                <a:gd name="connsiteY11" fmla="*/ 411480 h 822960"/>
                <a:gd name="connsiteX12" fmla="*/ 422561 w 845122"/>
                <a:gd name="connsiteY12" fmla="*/ 640080 h 822960"/>
                <a:gd name="connsiteX13" fmla="*/ 193961 w 845122"/>
                <a:gd name="connsiteY13" fmla="*/ 411480 h 822960"/>
                <a:gd name="connsiteX14" fmla="*/ 422561 w 845122"/>
                <a:gd name="connsiteY14" fmla="*/ 182880 h 822960"/>
                <a:gd name="connsiteX15" fmla="*/ 422560 w 845122"/>
                <a:gd name="connsiteY15" fmla="*/ 91440 h 822960"/>
                <a:gd name="connsiteX16" fmla="*/ 102520 w 845122"/>
                <a:gd name="connsiteY16" fmla="*/ 411480 h 822960"/>
                <a:gd name="connsiteX17" fmla="*/ 422560 w 845122"/>
                <a:gd name="connsiteY17" fmla="*/ 731520 h 822960"/>
                <a:gd name="connsiteX18" fmla="*/ 742600 w 845122"/>
                <a:gd name="connsiteY18" fmla="*/ 411480 h 822960"/>
                <a:gd name="connsiteX19" fmla="*/ 422560 w 845122"/>
                <a:gd name="connsiteY19" fmla="*/ 91440 h 822960"/>
                <a:gd name="connsiteX20" fmla="*/ 422561 w 845122"/>
                <a:gd name="connsiteY20" fmla="*/ 0 h 822960"/>
                <a:gd name="connsiteX21" fmla="*/ 845122 w 845122"/>
                <a:gd name="connsiteY21" fmla="*/ 411480 h 822960"/>
                <a:gd name="connsiteX22" fmla="*/ 422561 w 845122"/>
                <a:gd name="connsiteY22" fmla="*/ 822960 h 822960"/>
                <a:gd name="connsiteX23" fmla="*/ 0 w 845122"/>
                <a:gd name="connsiteY23" fmla="*/ 411480 h 822960"/>
                <a:gd name="connsiteX24" fmla="*/ 422561 w 845122"/>
                <a:gd name="connsiteY24" fmla="*/ 0 h 8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45122" h="822960">
                  <a:moveTo>
                    <a:pt x="422561" y="365760"/>
                  </a:moveTo>
                  <a:cubicBezTo>
                    <a:pt x="447811" y="365760"/>
                    <a:pt x="468281" y="386230"/>
                    <a:pt x="468281" y="411480"/>
                  </a:cubicBezTo>
                  <a:cubicBezTo>
                    <a:pt x="468281" y="436730"/>
                    <a:pt x="447811" y="457200"/>
                    <a:pt x="422561" y="457200"/>
                  </a:cubicBezTo>
                  <a:cubicBezTo>
                    <a:pt x="397311" y="457200"/>
                    <a:pt x="376841" y="436730"/>
                    <a:pt x="376841" y="411480"/>
                  </a:cubicBezTo>
                  <a:cubicBezTo>
                    <a:pt x="376841" y="386230"/>
                    <a:pt x="397311" y="365760"/>
                    <a:pt x="422561" y="365760"/>
                  </a:cubicBezTo>
                  <a:close/>
                  <a:moveTo>
                    <a:pt x="422561" y="274320"/>
                  </a:moveTo>
                  <a:cubicBezTo>
                    <a:pt x="346810" y="274320"/>
                    <a:pt x="285401" y="335729"/>
                    <a:pt x="285401" y="411480"/>
                  </a:cubicBezTo>
                  <a:cubicBezTo>
                    <a:pt x="285401" y="487231"/>
                    <a:pt x="346810" y="548640"/>
                    <a:pt x="422561" y="548640"/>
                  </a:cubicBezTo>
                  <a:cubicBezTo>
                    <a:pt x="498312" y="548640"/>
                    <a:pt x="559721" y="487231"/>
                    <a:pt x="559721" y="411480"/>
                  </a:cubicBezTo>
                  <a:cubicBezTo>
                    <a:pt x="559721" y="335729"/>
                    <a:pt x="498312" y="274320"/>
                    <a:pt x="422561" y="274320"/>
                  </a:cubicBezTo>
                  <a:close/>
                  <a:moveTo>
                    <a:pt x="422561" y="182880"/>
                  </a:moveTo>
                  <a:cubicBezTo>
                    <a:pt x="548813" y="182880"/>
                    <a:pt x="651161" y="285228"/>
                    <a:pt x="651161" y="411480"/>
                  </a:cubicBezTo>
                  <a:cubicBezTo>
                    <a:pt x="651161" y="537732"/>
                    <a:pt x="548813" y="640080"/>
                    <a:pt x="422561" y="640080"/>
                  </a:cubicBezTo>
                  <a:cubicBezTo>
                    <a:pt x="296309" y="640080"/>
                    <a:pt x="193961" y="537732"/>
                    <a:pt x="193961" y="411480"/>
                  </a:cubicBezTo>
                  <a:cubicBezTo>
                    <a:pt x="193961" y="285228"/>
                    <a:pt x="296309" y="182880"/>
                    <a:pt x="422561" y="182880"/>
                  </a:cubicBezTo>
                  <a:close/>
                  <a:moveTo>
                    <a:pt x="422560" y="91440"/>
                  </a:moveTo>
                  <a:cubicBezTo>
                    <a:pt x="245807" y="91440"/>
                    <a:pt x="102520" y="234727"/>
                    <a:pt x="102520" y="411480"/>
                  </a:cubicBezTo>
                  <a:cubicBezTo>
                    <a:pt x="102520" y="588233"/>
                    <a:pt x="245807" y="731520"/>
                    <a:pt x="422560" y="731520"/>
                  </a:cubicBezTo>
                  <a:cubicBezTo>
                    <a:pt x="599313" y="731520"/>
                    <a:pt x="742600" y="588233"/>
                    <a:pt x="742600" y="411480"/>
                  </a:cubicBezTo>
                  <a:cubicBezTo>
                    <a:pt x="742600" y="234727"/>
                    <a:pt x="599313" y="91440"/>
                    <a:pt x="422560" y="91440"/>
                  </a:cubicBezTo>
                  <a:close/>
                  <a:moveTo>
                    <a:pt x="422561" y="0"/>
                  </a:moveTo>
                  <a:cubicBezTo>
                    <a:pt x="655935" y="0"/>
                    <a:pt x="845122" y="184226"/>
                    <a:pt x="845122" y="411480"/>
                  </a:cubicBezTo>
                  <a:cubicBezTo>
                    <a:pt x="845122" y="638734"/>
                    <a:pt x="655935" y="822960"/>
                    <a:pt x="422561" y="822960"/>
                  </a:cubicBezTo>
                  <a:cubicBezTo>
                    <a:pt x="189187" y="822960"/>
                    <a:pt x="0" y="638734"/>
                    <a:pt x="0" y="411480"/>
                  </a:cubicBezTo>
                  <a:cubicBezTo>
                    <a:pt x="0" y="184226"/>
                    <a:pt x="189187" y="0"/>
                    <a:pt x="422561" y="0"/>
                  </a:cubicBezTo>
                  <a:close/>
                </a:path>
              </a:pathLst>
            </a:custGeom>
            <a:solidFill>
              <a:schemeClr val="accent1"/>
            </a:solidFill>
            <a:ln w="19050" algn="ctr">
              <a:no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sp>
          <p:nvSpPr>
            <p:cNvPr id="24" name="Freeform 23"/>
            <p:cNvSpPr/>
            <p:nvPr/>
          </p:nvSpPr>
          <p:spPr bwMode="gray">
            <a:xfrm rot="7344245" flipH="1">
              <a:off x="3587217" y="1972649"/>
              <a:ext cx="578619" cy="1570752"/>
            </a:xfrm>
            <a:custGeom>
              <a:avLst/>
              <a:gdLst>
                <a:gd name="connsiteX0" fmla="*/ 182252 w 217904"/>
                <a:gd name="connsiteY0" fmla="*/ 590180 h 590180"/>
                <a:gd name="connsiteX1" fmla="*/ 108952 w 217904"/>
                <a:gd name="connsiteY1" fmla="*/ 540635 h 590180"/>
                <a:gd name="connsiteX2" fmla="*/ 35652 w 217904"/>
                <a:gd name="connsiteY2" fmla="*/ 590180 h 590180"/>
                <a:gd name="connsiteX3" fmla="*/ 35652 w 217904"/>
                <a:gd name="connsiteY3" fmla="*/ 445371 h 590180"/>
                <a:gd name="connsiteX4" fmla="*/ 84432 w 217904"/>
                <a:gd name="connsiteY4" fmla="*/ 412399 h 590180"/>
                <a:gd name="connsiteX5" fmla="*/ 84432 w 217904"/>
                <a:gd name="connsiteY5" fmla="*/ 80682 h 590180"/>
                <a:gd name="connsiteX6" fmla="*/ 38656 w 217904"/>
                <a:gd name="connsiteY6" fmla="*/ 126458 h 590180"/>
                <a:gd name="connsiteX7" fmla="*/ 8964 w 217904"/>
                <a:gd name="connsiteY7" fmla="*/ 126457 h 590180"/>
                <a:gd name="connsiteX8" fmla="*/ 6150 w 217904"/>
                <a:gd name="connsiteY8" fmla="*/ 123643 h 590180"/>
                <a:gd name="connsiteX9" fmla="*/ 6149 w 217904"/>
                <a:gd name="connsiteY9" fmla="*/ 93951 h 590180"/>
                <a:gd name="connsiteX10" fmla="*/ 93950 w 217904"/>
                <a:gd name="connsiteY10" fmla="*/ 6150 h 590180"/>
                <a:gd name="connsiteX11" fmla="*/ 108797 w 217904"/>
                <a:gd name="connsiteY11" fmla="*/ 0 h 590180"/>
                <a:gd name="connsiteX12" fmla="*/ 108952 w 217904"/>
                <a:gd name="connsiteY12" fmla="*/ 65 h 590180"/>
                <a:gd name="connsiteX13" fmla="*/ 109107 w 217904"/>
                <a:gd name="connsiteY13" fmla="*/ 0 h 590180"/>
                <a:gd name="connsiteX14" fmla="*/ 123954 w 217904"/>
                <a:gd name="connsiteY14" fmla="*/ 6150 h 590180"/>
                <a:gd name="connsiteX15" fmla="*/ 211754 w 217904"/>
                <a:gd name="connsiteY15" fmla="*/ 93950 h 590180"/>
                <a:gd name="connsiteX16" fmla="*/ 211754 w 217904"/>
                <a:gd name="connsiteY16" fmla="*/ 123643 h 590180"/>
                <a:gd name="connsiteX17" fmla="*/ 208940 w 217904"/>
                <a:gd name="connsiteY17" fmla="*/ 126457 h 590180"/>
                <a:gd name="connsiteX18" fmla="*/ 179248 w 217904"/>
                <a:gd name="connsiteY18" fmla="*/ 126457 h 590180"/>
                <a:gd name="connsiteX19" fmla="*/ 133472 w 217904"/>
                <a:gd name="connsiteY19" fmla="*/ 80681 h 590180"/>
                <a:gd name="connsiteX20" fmla="*/ 133472 w 217904"/>
                <a:gd name="connsiteY20" fmla="*/ 412399 h 590180"/>
                <a:gd name="connsiteX21" fmla="*/ 182252 w 217904"/>
                <a:gd name="connsiteY21" fmla="*/ 445371 h 59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7904" h="590180">
                  <a:moveTo>
                    <a:pt x="182252" y="590180"/>
                  </a:moveTo>
                  <a:lnTo>
                    <a:pt x="108952" y="540635"/>
                  </a:lnTo>
                  <a:lnTo>
                    <a:pt x="35652" y="590180"/>
                  </a:lnTo>
                  <a:lnTo>
                    <a:pt x="35652" y="445371"/>
                  </a:lnTo>
                  <a:lnTo>
                    <a:pt x="84432" y="412399"/>
                  </a:lnTo>
                  <a:lnTo>
                    <a:pt x="84432" y="80682"/>
                  </a:lnTo>
                  <a:lnTo>
                    <a:pt x="38656" y="126458"/>
                  </a:lnTo>
                  <a:cubicBezTo>
                    <a:pt x="30456" y="134657"/>
                    <a:pt x="17164" y="134657"/>
                    <a:pt x="8964" y="126457"/>
                  </a:cubicBezTo>
                  <a:lnTo>
                    <a:pt x="6150" y="123643"/>
                  </a:lnTo>
                  <a:cubicBezTo>
                    <a:pt x="-2050" y="115443"/>
                    <a:pt x="-2050" y="102150"/>
                    <a:pt x="6149" y="93951"/>
                  </a:cubicBezTo>
                  <a:lnTo>
                    <a:pt x="93950" y="6150"/>
                  </a:lnTo>
                  <a:cubicBezTo>
                    <a:pt x="98051" y="2050"/>
                    <a:pt x="103424" y="0"/>
                    <a:pt x="108797" y="0"/>
                  </a:cubicBezTo>
                  <a:lnTo>
                    <a:pt x="108952" y="65"/>
                  </a:lnTo>
                  <a:lnTo>
                    <a:pt x="109107" y="0"/>
                  </a:lnTo>
                  <a:cubicBezTo>
                    <a:pt x="114481" y="0"/>
                    <a:pt x="119854" y="2050"/>
                    <a:pt x="123954" y="6150"/>
                  </a:cubicBezTo>
                  <a:lnTo>
                    <a:pt x="211754" y="93950"/>
                  </a:lnTo>
                  <a:cubicBezTo>
                    <a:pt x="219954" y="102150"/>
                    <a:pt x="219954" y="115443"/>
                    <a:pt x="211754" y="123643"/>
                  </a:cubicBezTo>
                  <a:lnTo>
                    <a:pt x="208940" y="126457"/>
                  </a:lnTo>
                  <a:cubicBezTo>
                    <a:pt x="200741" y="134656"/>
                    <a:pt x="187448" y="134656"/>
                    <a:pt x="179248" y="126457"/>
                  </a:cubicBezTo>
                  <a:lnTo>
                    <a:pt x="133472" y="80681"/>
                  </a:lnTo>
                  <a:lnTo>
                    <a:pt x="133472" y="412399"/>
                  </a:lnTo>
                  <a:lnTo>
                    <a:pt x="182252" y="445371"/>
                  </a:lnTo>
                  <a:close/>
                </a:path>
              </a:pathLst>
            </a:custGeom>
            <a:solidFill>
              <a:schemeClr val="accent1">
                <a:lumMod val="60000"/>
                <a:lumOff val="40000"/>
              </a:schemeClr>
            </a:solidFill>
            <a:ln w="12700" algn="ctr">
              <a:solidFill>
                <a:schemeClr val="bg1"/>
              </a:solidFill>
              <a:miter lim="800000"/>
              <a:headEnd/>
              <a:tailEnd/>
            </a:ln>
          </p:spPr>
          <p:txBody>
            <a:bodyPr wrap="square" lIns="88900" tIns="88900" rIns="88900" bIns="88900" rtlCol="0" anchor="ctr"/>
            <a:lstStyle/>
            <a:p>
              <a:pPr algn="ctr">
                <a:lnSpc>
                  <a:spcPct val="106000"/>
                </a:lnSpc>
                <a:defRPr/>
              </a:pPr>
              <a:endParaRPr lang="en-US" sz="1600" b="1" kern="0" dirty="0">
                <a:solidFill>
                  <a:srgbClr val="0083BE"/>
                </a:solidFill>
                <a:latin typeface="Calibri"/>
              </a:endParaRPr>
            </a:p>
          </p:txBody>
        </p:sp>
      </p:grpSp>
      <p:sp>
        <p:nvSpPr>
          <p:cNvPr id="36" name="TextBox 35"/>
          <p:cNvSpPr txBox="1"/>
          <p:nvPr/>
        </p:nvSpPr>
        <p:spPr>
          <a:xfrm>
            <a:off x="5002000" y="1020608"/>
            <a:ext cx="5270363" cy="646331"/>
          </a:xfrm>
          <a:prstGeom prst="rect">
            <a:avLst/>
          </a:prstGeom>
          <a:noFill/>
        </p:spPr>
        <p:txBody>
          <a:bodyPr wrap="square" rtlCol="0">
            <a:spAutoFit/>
          </a:bodyPr>
          <a:lstStyle/>
          <a:p>
            <a:r>
              <a:rPr lang="en-US" dirty="0">
                <a:solidFill>
                  <a:srgbClr val="000000"/>
                </a:solidFill>
                <a:latin typeface="Calibri"/>
              </a:rPr>
              <a:t>Improve Program Performance and Increase Program Participation</a:t>
            </a:r>
          </a:p>
        </p:txBody>
      </p:sp>
      <p:sp>
        <p:nvSpPr>
          <p:cNvPr id="41" name="Oval 40"/>
          <p:cNvSpPr/>
          <p:nvPr/>
        </p:nvSpPr>
        <p:spPr>
          <a:xfrm>
            <a:off x="4287289" y="1061203"/>
            <a:ext cx="565141" cy="565141"/>
          </a:xfrm>
          <a:prstGeom prst="ellipse">
            <a:avLst/>
          </a:prstGeom>
          <a:solidFill>
            <a:schemeClr val="accent1">
              <a:lumMod val="60000"/>
              <a:lumOff val="40000"/>
            </a:schemeClr>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dirty="0">
                <a:solidFill>
                  <a:prstClr val="white"/>
                </a:solidFill>
                <a:latin typeface="Calibri"/>
              </a:rPr>
              <a:t>1</a:t>
            </a:r>
          </a:p>
        </p:txBody>
      </p:sp>
      <p:sp>
        <p:nvSpPr>
          <p:cNvPr id="37" name="TextBox 36"/>
          <p:cNvSpPr txBox="1"/>
          <p:nvPr/>
        </p:nvSpPr>
        <p:spPr>
          <a:xfrm>
            <a:off x="5470213" y="2063222"/>
            <a:ext cx="4844143" cy="646331"/>
          </a:xfrm>
          <a:prstGeom prst="rect">
            <a:avLst/>
          </a:prstGeom>
          <a:noFill/>
        </p:spPr>
        <p:txBody>
          <a:bodyPr wrap="square" rtlCol="0">
            <a:spAutoFit/>
          </a:bodyPr>
          <a:lstStyle/>
          <a:p>
            <a:r>
              <a:rPr lang="en-US" dirty="0">
                <a:solidFill>
                  <a:srgbClr val="000000"/>
                </a:solidFill>
                <a:latin typeface="Calibri"/>
              </a:rPr>
              <a:t>Increase Knowledge, Awareness, and Preference for VA Home Loan Program</a:t>
            </a:r>
          </a:p>
        </p:txBody>
      </p:sp>
      <p:sp>
        <p:nvSpPr>
          <p:cNvPr id="42" name="Oval 41"/>
          <p:cNvSpPr/>
          <p:nvPr/>
        </p:nvSpPr>
        <p:spPr>
          <a:xfrm>
            <a:off x="4730219" y="2103817"/>
            <a:ext cx="565141" cy="565141"/>
          </a:xfrm>
          <a:prstGeom prst="ellipse">
            <a:avLst/>
          </a:prstGeom>
          <a:solidFill>
            <a:schemeClr val="accent1">
              <a:lumMod val="60000"/>
              <a:lumOff val="40000"/>
            </a:schemeClr>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dirty="0">
                <a:solidFill>
                  <a:prstClr val="white"/>
                </a:solidFill>
                <a:latin typeface="Calibri"/>
              </a:rPr>
              <a:t>2</a:t>
            </a:r>
          </a:p>
        </p:txBody>
      </p:sp>
      <p:sp>
        <p:nvSpPr>
          <p:cNvPr id="38" name="TextBox 37"/>
          <p:cNvSpPr txBox="1"/>
          <p:nvPr/>
        </p:nvSpPr>
        <p:spPr>
          <a:xfrm>
            <a:off x="5687645" y="3105836"/>
            <a:ext cx="4626710" cy="646331"/>
          </a:xfrm>
          <a:prstGeom prst="rect">
            <a:avLst/>
          </a:prstGeom>
          <a:noFill/>
        </p:spPr>
        <p:txBody>
          <a:bodyPr wrap="square" rtlCol="0">
            <a:spAutoFit/>
          </a:bodyPr>
          <a:lstStyle/>
          <a:p>
            <a:r>
              <a:rPr lang="en-US" dirty="0">
                <a:solidFill>
                  <a:srgbClr val="000000"/>
                </a:solidFill>
                <a:latin typeface="Calibri"/>
              </a:rPr>
              <a:t>Foster Innovation through Advanced Mortgage Processes and Technology</a:t>
            </a:r>
          </a:p>
        </p:txBody>
      </p:sp>
      <p:sp>
        <p:nvSpPr>
          <p:cNvPr id="43" name="Oval 42"/>
          <p:cNvSpPr/>
          <p:nvPr/>
        </p:nvSpPr>
        <p:spPr>
          <a:xfrm>
            <a:off x="4930307" y="3146431"/>
            <a:ext cx="565141" cy="565141"/>
          </a:xfrm>
          <a:prstGeom prst="ellipse">
            <a:avLst/>
          </a:prstGeom>
          <a:solidFill>
            <a:schemeClr val="accent1">
              <a:lumMod val="60000"/>
              <a:lumOff val="40000"/>
            </a:schemeClr>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dirty="0">
                <a:solidFill>
                  <a:prstClr val="white"/>
                </a:solidFill>
                <a:latin typeface="Calibri"/>
              </a:rPr>
              <a:t>3</a:t>
            </a:r>
          </a:p>
        </p:txBody>
      </p:sp>
      <p:sp>
        <p:nvSpPr>
          <p:cNvPr id="39" name="TextBox 38"/>
          <p:cNvSpPr txBox="1"/>
          <p:nvPr/>
        </p:nvSpPr>
        <p:spPr>
          <a:xfrm>
            <a:off x="5535245" y="4148450"/>
            <a:ext cx="4737118" cy="646331"/>
          </a:xfrm>
          <a:prstGeom prst="rect">
            <a:avLst/>
          </a:prstGeom>
          <a:noFill/>
        </p:spPr>
        <p:txBody>
          <a:bodyPr wrap="square" rtlCol="0">
            <a:spAutoFit/>
          </a:bodyPr>
          <a:lstStyle/>
          <a:p>
            <a:r>
              <a:rPr lang="en-US" dirty="0">
                <a:solidFill>
                  <a:srgbClr val="000000"/>
                </a:solidFill>
                <a:latin typeface="Calibri"/>
              </a:rPr>
              <a:t>Deliver innovative, accessible and competitive Veteran products</a:t>
            </a:r>
          </a:p>
        </p:txBody>
      </p:sp>
      <p:sp>
        <p:nvSpPr>
          <p:cNvPr id="44" name="Oval 43"/>
          <p:cNvSpPr/>
          <p:nvPr/>
        </p:nvSpPr>
        <p:spPr>
          <a:xfrm>
            <a:off x="4741505" y="4189045"/>
            <a:ext cx="565141" cy="565141"/>
          </a:xfrm>
          <a:prstGeom prst="ellipse">
            <a:avLst/>
          </a:prstGeom>
          <a:solidFill>
            <a:schemeClr val="accent1">
              <a:lumMod val="60000"/>
              <a:lumOff val="40000"/>
            </a:schemeClr>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dirty="0">
                <a:solidFill>
                  <a:prstClr val="white"/>
                </a:solidFill>
                <a:latin typeface="Calibri"/>
              </a:rPr>
              <a:t>4</a:t>
            </a:r>
          </a:p>
        </p:txBody>
      </p:sp>
      <p:sp>
        <p:nvSpPr>
          <p:cNvPr id="40" name="TextBox 39"/>
          <p:cNvSpPr txBox="1"/>
          <p:nvPr/>
        </p:nvSpPr>
        <p:spPr>
          <a:xfrm>
            <a:off x="4992041" y="5191064"/>
            <a:ext cx="5322314" cy="646331"/>
          </a:xfrm>
          <a:prstGeom prst="rect">
            <a:avLst/>
          </a:prstGeom>
          <a:noFill/>
        </p:spPr>
        <p:txBody>
          <a:bodyPr wrap="square" rtlCol="0">
            <a:spAutoFit/>
          </a:bodyPr>
          <a:lstStyle/>
          <a:p>
            <a:r>
              <a:rPr lang="en-US" dirty="0">
                <a:solidFill>
                  <a:srgbClr val="000000"/>
                </a:solidFill>
                <a:latin typeface="Calibri"/>
              </a:rPr>
              <a:t>Deliver consistent, timely, accurate customer service and benefits to Veterans</a:t>
            </a:r>
          </a:p>
        </p:txBody>
      </p:sp>
      <p:sp>
        <p:nvSpPr>
          <p:cNvPr id="45" name="Oval 44"/>
          <p:cNvSpPr/>
          <p:nvPr/>
        </p:nvSpPr>
        <p:spPr>
          <a:xfrm>
            <a:off x="4175847" y="5231659"/>
            <a:ext cx="565141" cy="565141"/>
          </a:xfrm>
          <a:prstGeom prst="ellipse">
            <a:avLst/>
          </a:prstGeom>
          <a:solidFill>
            <a:schemeClr val="accent1">
              <a:lumMod val="60000"/>
              <a:lumOff val="40000"/>
            </a:schemeClr>
          </a:solidFill>
          <a:ln w="3810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dirty="0">
                <a:solidFill>
                  <a:prstClr val="white"/>
                </a:solidFill>
                <a:latin typeface="Calibri"/>
              </a:rPr>
              <a:t>5</a:t>
            </a:r>
          </a:p>
        </p:txBody>
      </p:sp>
      <p:pic>
        <p:nvPicPr>
          <p:cNvPr id="18" name="Picture 2" descr="C:\Users\vacoGrovem\AppData\Local\Microsoft\Windows\Temporary Internet Files\Content.Outlook\83QVOJUE\CHOOSE-VA-rev.png">
            <a:extLst>
              <a:ext uri="{FF2B5EF4-FFF2-40B4-BE49-F238E27FC236}">
                <a16:creationId xmlns:a16="http://schemas.microsoft.com/office/drawing/2014/main" id="{A5696332-3F66-4B53-9683-86545298F8B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0886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D983F1FA-211D-3044-9E35-958DFBC26156}" type="slidenum">
              <a:rPr lang="en-US">
                <a:solidFill>
                  <a:prstClr val="white"/>
                </a:solidFill>
                <a:latin typeface="Calibri"/>
              </a:rPr>
              <a:pPr>
                <a:defRPr/>
              </a:pPr>
              <a:t>8</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kern="0" dirty="0">
                <a:solidFill>
                  <a:srgbClr val="FFFFFF"/>
                </a:solidFill>
              </a:rPr>
              <a:t>Transforming the Guaranty Home Loan Program</a:t>
            </a:r>
            <a:endParaRPr lang="en-US" dirty="0"/>
          </a:p>
        </p:txBody>
      </p:sp>
      <p:sp>
        <p:nvSpPr>
          <p:cNvPr id="23" name="Trapezoid 48"/>
          <p:cNvSpPr/>
          <p:nvPr/>
        </p:nvSpPr>
        <p:spPr>
          <a:xfrm rot="5400000" flipH="1" flipV="1">
            <a:off x="4903933" y="4030218"/>
            <a:ext cx="1375286" cy="1066408"/>
          </a:xfrm>
          <a:custGeom>
            <a:avLst/>
            <a:gdLst>
              <a:gd name="connsiteX0" fmla="*/ 0 w 1261872"/>
              <a:gd name="connsiteY0" fmla="*/ 960120 h 960120"/>
              <a:gd name="connsiteX1" fmla="*/ 247087 w 1261872"/>
              <a:gd name="connsiteY1" fmla="*/ 0 h 960120"/>
              <a:gd name="connsiteX2" fmla="*/ 1014785 w 1261872"/>
              <a:gd name="connsiteY2" fmla="*/ 0 h 960120"/>
              <a:gd name="connsiteX3" fmla="*/ 1261872 w 1261872"/>
              <a:gd name="connsiteY3" fmla="*/ 960120 h 960120"/>
              <a:gd name="connsiteX4" fmla="*/ 0 w 1261872"/>
              <a:gd name="connsiteY4" fmla="*/ 960120 h 960120"/>
              <a:gd name="connsiteX0" fmla="*/ 0 w 1519610"/>
              <a:gd name="connsiteY0" fmla="*/ 969645 h 969645"/>
              <a:gd name="connsiteX1" fmla="*/ 247087 w 1519610"/>
              <a:gd name="connsiteY1" fmla="*/ 9525 h 969645"/>
              <a:gd name="connsiteX2" fmla="*/ 1519610 w 1519610"/>
              <a:gd name="connsiteY2" fmla="*/ 0 h 969645"/>
              <a:gd name="connsiteX3" fmla="*/ 1261872 w 1519610"/>
              <a:gd name="connsiteY3" fmla="*/ 969645 h 969645"/>
              <a:gd name="connsiteX4" fmla="*/ 0 w 1519610"/>
              <a:gd name="connsiteY4" fmla="*/ 969645 h 969645"/>
              <a:gd name="connsiteX0" fmla="*/ 0 w 1519610"/>
              <a:gd name="connsiteY0" fmla="*/ 969645 h 969645"/>
              <a:gd name="connsiteX1" fmla="*/ 770962 w 1519610"/>
              <a:gd name="connsiteY1" fmla="*/ 19053 h 969645"/>
              <a:gd name="connsiteX2" fmla="*/ 1519610 w 1519610"/>
              <a:gd name="connsiteY2" fmla="*/ 0 h 969645"/>
              <a:gd name="connsiteX3" fmla="*/ 1261872 w 1519610"/>
              <a:gd name="connsiteY3" fmla="*/ 969645 h 969645"/>
              <a:gd name="connsiteX4" fmla="*/ 0 w 1519610"/>
              <a:gd name="connsiteY4" fmla="*/ 969645 h 969645"/>
              <a:gd name="connsiteX0" fmla="*/ 0 w 1519610"/>
              <a:gd name="connsiteY0" fmla="*/ 978299 h 978299"/>
              <a:gd name="connsiteX1" fmla="*/ 784817 w 1519610"/>
              <a:gd name="connsiteY1" fmla="*/ 0 h 978299"/>
              <a:gd name="connsiteX2" fmla="*/ 1519610 w 1519610"/>
              <a:gd name="connsiteY2" fmla="*/ 8654 h 978299"/>
              <a:gd name="connsiteX3" fmla="*/ 1261872 w 1519610"/>
              <a:gd name="connsiteY3" fmla="*/ 978299 h 978299"/>
              <a:gd name="connsiteX4" fmla="*/ 0 w 1519610"/>
              <a:gd name="connsiteY4" fmla="*/ 978299 h 978299"/>
              <a:gd name="connsiteX0" fmla="*/ 0 w 1519610"/>
              <a:gd name="connsiteY0" fmla="*/ 969645 h 969645"/>
              <a:gd name="connsiteX1" fmla="*/ 781353 w 1519610"/>
              <a:gd name="connsiteY1" fmla="*/ 8668 h 969645"/>
              <a:gd name="connsiteX2" fmla="*/ 1519610 w 1519610"/>
              <a:gd name="connsiteY2" fmla="*/ 0 h 969645"/>
              <a:gd name="connsiteX3" fmla="*/ 1261872 w 1519610"/>
              <a:gd name="connsiteY3" fmla="*/ 969645 h 969645"/>
              <a:gd name="connsiteX4" fmla="*/ 0 w 1519610"/>
              <a:gd name="connsiteY4" fmla="*/ 969645 h 969645"/>
              <a:gd name="connsiteX0" fmla="*/ 0 w 1519610"/>
              <a:gd name="connsiteY0" fmla="*/ 974830 h 974830"/>
              <a:gd name="connsiteX1" fmla="*/ 781353 w 1519610"/>
              <a:gd name="connsiteY1" fmla="*/ 0 h 974830"/>
              <a:gd name="connsiteX2" fmla="*/ 1519610 w 1519610"/>
              <a:gd name="connsiteY2" fmla="*/ 5185 h 974830"/>
              <a:gd name="connsiteX3" fmla="*/ 1261872 w 1519610"/>
              <a:gd name="connsiteY3" fmla="*/ 974830 h 974830"/>
              <a:gd name="connsiteX4" fmla="*/ 0 w 1519610"/>
              <a:gd name="connsiteY4" fmla="*/ 974830 h 974830"/>
              <a:gd name="connsiteX0" fmla="*/ 0 w 1519610"/>
              <a:gd name="connsiteY0" fmla="*/ 971367 h 971367"/>
              <a:gd name="connsiteX1" fmla="*/ 784817 w 1519610"/>
              <a:gd name="connsiteY1" fmla="*/ 0 h 971367"/>
              <a:gd name="connsiteX2" fmla="*/ 1519610 w 1519610"/>
              <a:gd name="connsiteY2" fmla="*/ 1722 h 971367"/>
              <a:gd name="connsiteX3" fmla="*/ 1261872 w 1519610"/>
              <a:gd name="connsiteY3" fmla="*/ 971367 h 971367"/>
              <a:gd name="connsiteX4" fmla="*/ 0 w 1519610"/>
              <a:gd name="connsiteY4" fmla="*/ 971367 h 971367"/>
              <a:gd name="connsiteX0" fmla="*/ 0 w 1629647"/>
              <a:gd name="connsiteY0" fmla="*/ 979691 h 979691"/>
              <a:gd name="connsiteX1" fmla="*/ 784817 w 1629647"/>
              <a:gd name="connsiteY1" fmla="*/ 8324 h 979691"/>
              <a:gd name="connsiteX2" fmla="*/ 1629647 w 1629647"/>
              <a:gd name="connsiteY2" fmla="*/ 0 h 979691"/>
              <a:gd name="connsiteX3" fmla="*/ 1261872 w 1629647"/>
              <a:gd name="connsiteY3" fmla="*/ 979691 h 979691"/>
              <a:gd name="connsiteX4" fmla="*/ 0 w 1629647"/>
              <a:gd name="connsiteY4" fmla="*/ 979691 h 979691"/>
              <a:gd name="connsiteX0" fmla="*/ 0 w 1629647"/>
              <a:gd name="connsiteY0" fmla="*/ 979691 h 979691"/>
              <a:gd name="connsiteX1" fmla="*/ 784817 w 1629647"/>
              <a:gd name="connsiteY1" fmla="*/ 8324 h 979691"/>
              <a:gd name="connsiteX2" fmla="*/ 1629647 w 1629647"/>
              <a:gd name="connsiteY2" fmla="*/ 0 h 979691"/>
              <a:gd name="connsiteX3" fmla="*/ 1234364 w 1629647"/>
              <a:gd name="connsiteY3" fmla="*/ 979691 h 979691"/>
              <a:gd name="connsiteX4" fmla="*/ 0 w 1629647"/>
              <a:gd name="connsiteY4" fmla="*/ 979691 h 979691"/>
              <a:gd name="connsiteX0" fmla="*/ 0 w 1629647"/>
              <a:gd name="connsiteY0" fmla="*/ 979691 h 979691"/>
              <a:gd name="connsiteX1" fmla="*/ 784817 w 1629647"/>
              <a:gd name="connsiteY1" fmla="*/ 8324 h 979691"/>
              <a:gd name="connsiteX2" fmla="*/ 1629647 w 1629647"/>
              <a:gd name="connsiteY2" fmla="*/ 0 h 979691"/>
              <a:gd name="connsiteX3" fmla="*/ 1414666 w 1629647"/>
              <a:gd name="connsiteY3" fmla="*/ 512941 h 979691"/>
              <a:gd name="connsiteX4" fmla="*/ 1234364 w 1629647"/>
              <a:gd name="connsiteY4" fmla="*/ 979691 h 979691"/>
              <a:gd name="connsiteX5" fmla="*/ 0 w 1629647"/>
              <a:gd name="connsiteY5" fmla="*/ 979691 h 979691"/>
              <a:gd name="connsiteX0" fmla="*/ 0 w 1684664"/>
              <a:gd name="connsiteY0" fmla="*/ 971367 h 971367"/>
              <a:gd name="connsiteX1" fmla="*/ 784817 w 1684664"/>
              <a:gd name="connsiteY1" fmla="*/ 0 h 971367"/>
              <a:gd name="connsiteX2" fmla="*/ 1684664 w 1684664"/>
              <a:gd name="connsiteY2" fmla="*/ 1723 h 971367"/>
              <a:gd name="connsiteX3" fmla="*/ 1414666 w 1684664"/>
              <a:gd name="connsiteY3" fmla="*/ 504617 h 971367"/>
              <a:gd name="connsiteX4" fmla="*/ 1234364 w 1684664"/>
              <a:gd name="connsiteY4" fmla="*/ 971367 h 971367"/>
              <a:gd name="connsiteX5" fmla="*/ 0 w 1684664"/>
              <a:gd name="connsiteY5" fmla="*/ 971367 h 971367"/>
              <a:gd name="connsiteX0" fmla="*/ 0 w 1684664"/>
              <a:gd name="connsiteY0" fmla="*/ 969644 h 969644"/>
              <a:gd name="connsiteX1" fmla="*/ 812325 w 1684664"/>
              <a:gd name="connsiteY1" fmla="*/ 8327 h 969644"/>
              <a:gd name="connsiteX2" fmla="*/ 1684664 w 1684664"/>
              <a:gd name="connsiteY2" fmla="*/ 0 h 969644"/>
              <a:gd name="connsiteX3" fmla="*/ 1414666 w 1684664"/>
              <a:gd name="connsiteY3" fmla="*/ 502894 h 969644"/>
              <a:gd name="connsiteX4" fmla="*/ 1234364 w 1684664"/>
              <a:gd name="connsiteY4" fmla="*/ 969644 h 969644"/>
              <a:gd name="connsiteX5" fmla="*/ 0 w 1684664"/>
              <a:gd name="connsiteY5" fmla="*/ 969644 h 969644"/>
              <a:gd name="connsiteX0" fmla="*/ 0 w 1684664"/>
              <a:gd name="connsiteY0" fmla="*/ 969644 h 969644"/>
              <a:gd name="connsiteX1" fmla="*/ 798571 w 1684664"/>
              <a:gd name="connsiteY1" fmla="*/ 8330 h 969644"/>
              <a:gd name="connsiteX2" fmla="*/ 1684664 w 1684664"/>
              <a:gd name="connsiteY2" fmla="*/ 0 h 969644"/>
              <a:gd name="connsiteX3" fmla="*/ 1414666 w 1684664"/>
              <a:gd name="connsiteY3" fmla="*/ 502894 h 969644"/>
              <a:gd name="connsiteX4" fmla="*/ 1234364 w 1684664"/>
              <a:gd name="connsiteY4" fmla="*/ 969644 h 969644"/>
              <a:gd name="connsiteX5" fmla="*/ 0 w 1684664"/>
              <a:gd name="connsiteY5" fmla="*/ 969644 h 969644"/>
              <a:gd name="connsiteX0" fmla="*/ 0 w 1684664"/>
              <a:gd name="connsiteY0" fmla="*/ 969644 h 969644"/>
              <a:gd name="connsiteX1" fmla="*/ 798571 w 1684664"/>
              <a:gd name="connsiteY1" fmla="*/ 8330 h 969644"/>
              <a:gd name="connsiteX2" fmla="*/ 1684664 w 1684664"/>
              <a:gd name="connsiteY2" fmla="*/ 0 h 969644"/>
              <a:gd name="connsiteX3" fmla="*/ 1414666 w 1684664"/>
              <a:gd name="connsiteY3" fmla="*/ 502894 h 969644"/>
              <a:gd name="connsiteX4" fmla="*/ 1234364 w 1684664"/>
              <a:gd name="connsiteY4" fmla="*/ 969644 h 969644"/>
              <a:gd name="connsiteX5" fmla="*/ 0 w 1684664"/>
              <a:gd name="connsiteY5" fmla="*/ 969644 h 969644"/>
              <a:gd name="connsiteX0" fmla="*/ 0 w 1684664"/>
              <a:gd name="connsiteY0" fmla="*/ 972273 h 972273"/>
              <a:gd name="connsiteX1" fmla="*/ 825912 w 1684664"/>
              <a:gd name="connsiteY1" fmla="*/ 5968 h 972273"/>
              <a:gd name="connsiteX2" fmla="*/ 1684664 w 1684664"/>
              <a:gd name="connsiteY2" fmla="*/ 2629 h 972273"/>
              <a:gd name="connsiteX3" fmla="*/ 1414666 w 1684664"/>
              <a:gd name="connsiteY3" fmla="*/ 505523 h 972273"/>
              <a:gd name="connsiteX4" fmla="*/ 1234364 w 1684664"/>
              <a:gd name="connsiteY4" fmla="*/ 972273 h 972273"/>
              <a:gd name="connsiteX5" fmla="*/ 0 w 1684664"/>
              <a:gd name="connsiteY5" fmla="*/ 972273 h 972273"/>
              <a:gd name="connsiteX0" fmla="*/ 0 w 1684664"/>
              <a:gd name="connsiteY0" fmla="*/ 972273 h 972273"/>
              <a:gd name="connsiteX1" fmla="*/ 825912 w 1684664"/>
              <a:gd name="connsiteY1" fmla="*/ 5968 h 972273"/>
              <a:gd name="connsiteX2" fmla="*/ 1684664 w 1684664"/>
              <a:gd name="connsiteY2" fmla="*/ 2629 h 972273"/>
              <a:gd name="connsiteX3" fmla="*/ 1435171 w 1684664"/>
              <a:gd name="connsiteY3" fmla="*/ 510519 h 972273"/>
              <a:gd name="connsiteX4" fmla="*/ 1234364 w 1684664"/>
              <a:gd name="connsiteY4" fmla="*/ 972273 h 972273"/>
              <a:gd name="connsiteX5" fmla="*/ 0 w 1684664"/>
              <a:gd name="connsiteY5" fmla="*/ 972273 h 972273"/>
              <a:gd name="connsiteX0" fmla="*/ 0 w 1807702"/>
              <a:gd name="connsiteY0" fmla="*/ 972275 h 972275"/>
              <a:gd name="connsiteX1" fmla="*/ 948950 w 1807702"/>
              <a:gd name="connsiteY1" fmla="*/ 5968 h 972275"/>
              <a:gd name="connsiteX2" fmla="*/ 1807702 w 1807702"/>
              <a:gd name="connsiteY2" fmla="*/ 2629 h 972275"/>
              <a:gd name="connsiteX3" fmla="*/ 1558209 w 1807702"/>
              <a:gd name="connsiteY3" fmla="*/ 510519 h 972275"/>
              <a:gd name="connsiteX4" fmla="*/ 1357402 w 1807702"/>
              <a:gd name="connsiteY4" fmla="*/ 972273 h 972275"/>
              <a:gd name="connsiteX5" fmla="*/ 0 w 1807702"/>
              <a:gd name="connsiteY5" fmla="*/ 972275 h 972275"/>
              <a:gd name="connsiteX0" fmla="*/ 0 w 1807702"/>
              <a:gd name="connsiteY0" fmla="*/ 972275 h 972275"/>
              <a:gd name="connsiteX1" fmla="*/ 948950 w 1807702"/>
              <a:gd name="connsiteY1" fmla="*/ 5968 h 972275"/>
              <a:gd name="connsiteX2" fmla="*/ 1807702 w 1807702"/>
              <a:gd name="connsiteY2" fmla="*/ 2629 h 972275"/>
              <a:gd name="connsiteX3" fmla="*/ 1558209 w 1807702"/>
              <a:gd name="connsiteY3" fmla="*/ 510519 h 972275"/>
              <a:gd name="connsiteX4" fmla="*/ 1254872 w 1807702"/>
              <a:gd name="connsiteY4" fmla="*/ 972273 h 972275"/>
              <a:gd name="connsiteX5" fmla="*/ 0 w 1807702"/>
              <a:gd name="connsiteY5" fmla="*/ 972275 h 972275"/>
              <a:gd name="connsiteX0" fmla="*/ 0 w 1807702"/>
              <a:gd name="connsiteY0" fmla="*/ 972275 h 972275"/>
              <a:gd name="connsiteX1" fmla="*/ 948950 w 1807702"/>
              <a:gd name="connsiteY1" fmla="*/ 5968 h 972275"/>
              <a:gd name="connsiteX2" fmla="*/ 1807702 w 1807702"/>
              <a:gd name="connsiteY2" fmla="*/ 2629 h 972275"/>
              <a:gd name="connsiteX3" fmla="*/ 1524032 w 1807702"/>
              <a:gd name="connsiteY3" fmla="*/ 505526 h 972275"/>
              <a:gd name="connsiteX4" fmla="*/ 1254872 w 1807702"/>
              <a:gd name="connsiteY4" fmla="*/ 972273 h 972275"/>
              <a:gd name="connsiteX5" fmla="*/ 0 w 1807702"/>
              <a:gd name="connsiteY5" fmla="*/ 972275 h 972275"/>
              <a:gd name="connsiteX0" fmla="*/ 0 w 1757202"/>
              <a:gd name="connsiteY0" fmla="*/ 972275 h 972275"/>
              <a:gd name="connsiteX1" fmla="*/ 948950 w 1757202"/>
              <a:gd name="connsiteY1" fmla="*/ 5968 h 972275"/>
              <a:gd name="connsiteX2" fmla="*/ 1757202 w 1757202"/>
              <a:gd name="connsiteY2" fmla="*/ 2629 h 972275"/>
              <a:gd name="connsiteX3" fmla="*/ 1524032 w 1757202"/>
              <a:gd name="connsiteY3" fmla="*/ 505526 h 972275"/>
              <a:gd name="connsiteX4" fmla="*/ 1254872 w 1757202"/>
              <a:gd name="connsiteY4" fmla="*/ 972273 h 972275"/>
              <a:gd name="connsiteX5" fmla="*/ 0 w 1757202"/>
              <a:gd name="connsiteY5" fmla="*/ 972275 h 972275"/>
              <a:gd name="connsiteX0" fmla="*/ 0 w 1757202"/>
              <a:gd name="connsiteY0" fmla="*/ 972275 h 972275"/>
              <a:gd name="connsiteX1" fmla="*/ 939265 w 1757202"/>
              <a:gd name="connsiteY1" fmla="*/ 5968 h 972275"/>
              <a:gd name="connsiteX2" fmla="*/ 1757202 w 1757202"/>
              <a:gd name="connsiteY2" fmla="*/ 2629 h 972275"/>
              <a:gd name="connsiteX3" fmla="*/ 1524032 w 1757202"/>
              <a:gd name="connsiteY3" fmla="*/ 505526 h 972275"/>
              <a:gd name="connsiteX4" fmla="*/ 1254872 w 1757202"/>
              <a:gd name="connsiteY4" fmla="*/ 972273 h 972275"/>
              <a:gd name="connsiteX5" fmla="*/ 0 w 1757202"/>
              <a:gd name="connsiteY5" fmla="*/ 972275 h 972275"/>
              <a:gd name="connsiteX0" fmla="*/ 0 w 1757202"/>
              <a:gd name="connsiteY0" fmla="*/ 972275 h 972275"/>
              <a:gd name="connsiteX1" fmla="*/ 939265 w 1757202"/>
              <a:gd name="connsiteY1" fmla="*/ 5968 h 972275"/>
              <a:gd name="connsiteX2" fmla="*/ 1757202 w 1757202"/>
              <a:gd name="connsiteY2" fmla="*/ 2629 h 972275"/>
              <a:gd name="connsiteX3" fmla="*/ 1494977 w 1757202"/>
              <a:gd name="connsiteY3" fmla="*/ 505526 h 972275"/>
              <a:gd name="connsiteX4" fmla="*/ 1254872 w 1757202"/>
              <a:gd name="connsiteY4" fmla="*/ 972273 h 972275"/>
              <a:gd name="connsiteX5" fmla="*/ 0 w 1757202"/>
              <a:gd name="connsiteY5" fmla="*/ 972275 h 972275"/>
              <a:gd name="connsiteX0" fmla="*/ 0 w 1757202"/>
              <a:gd name="connsiteY0" fmla="*/ 972275 h 972275"/>
              <a:gd name="connsiteX1" fmla="*/ 939265 w 1757202"/>
              <a:gd name="connsiteY1" fmla="*/ 5968 h 972275"/>
              <a:gd name="connsiteX2" fmla="*/ 1757202 w 1757202"/>
              <a:gd name="connsiteY2" fmla="*/ 2629 h 972275"/>
              <a:gd name="connsiteX3" fmla="*/ 1494977 w 1757202"/>
              <a:gd name="connsiteY3" fmla="*/ 505526 h 972275"/>
              <a:gd name="connsiteX4" fmla="*/ 1216132 w 1757202"/>
              <a:gd name="connsiteY4" fmla="*/ 972275 h 972275"/>
              <a:gd name="connsiteX5" fmla="*/ 0 w 1757202"/>
              <a:gd name="connsiteY5" fmla="*/ 972275 h 972275"/>
              <a:gd name="connsiteX0" fmla="*/ 0 w 1757202"/>
              <a:gd name="connsiteY0" fmla="*/ 972274 h 972274"/>
              <a:gd name="connsiteX1" fmla="*/ 929579 w 1757202"/>
              <a:gd name="connsiteY1" fmla="*/ 5969 h 972274"/>
              <a:gd name="connsiteX2" fmla="*/ 1757202 w 1757202"/>
              <a:gd name="connsiteY2" fmla="*/ 2628 h 972274"/>
              <a:gd name="connsiteX3" fmla="*/ 1494977 w 1757202"/>
              <a:gd name="connsiteY3" fmla="*/ 505525 h 972274"/>
              <a:gd name="connsiteX4" fmla="*/ 1216132 w 1757202"/>
              <a:gd name="connsiteY4" fmla="*/ 972274 h 972274"/>
              <a:gd name="connsiteX5" fmla="*/ 0 w 1757202"/>
              <a:gd name="connsiteY5" fmla="*/ 972274 h 972274"/>
              <a:gd name="connsiteX0" fmla="*/ 0 w 1757202"/>
              <a:gd name="connsiteY0" fmla="*/ 969646 h 969646"/>
              <a:gd name="connsiteX1" fmla="*/ 929579 w 1757202"/>
              <a:gd name="connsiteY1" fmla="*/ 3341 h 969646"/>
              <a:gd name="connsiteX2" fmla="*/ 1757202 w 1757202"/>
              <a:gd name="connsiteY2" fmla="*/ 0 h 969646"/>
              <a:gd name="connsiteX3" fmla="*/ 1494977 w 1757202"/>
              <a:gd name="connsiteY3" fmla="*/ 502897 h 969646"/>
              <a:gd name="connsiteX4" fmla="*/ 1216132 w 1757202"/>
              <a:gd name="connsiteY4" fmla="*/ 969646 h 969646"/>
              <a:gd name="connsiteX5" fmla="*/ 0 w 1757202"/>
              <a:gd name="connsiteY5" fmla="*/ 969646 h 969646"/>
              <a:gd name="connsiteX0" fmla="*/ 0 w 1757202"/>
              <a:gd name="connsiteY0" fmla="*/ 973505 h 973505"/>
              <a:gd name="connsiteX1" fmla="*/ 929578 w 1757202"/>
              <a:gd name="connsiteY1" fmla="*/ 0 h 973505"/>
              <a:gd name="connsiteX2" fmla="*/ 1757202 w 1757202"/>
              <a:gd name="connsiteY2" fmla="*/ 3859 h 973505"/>
              <a:gd name="connsiteX3" fmla="*/ 1494977 w 1757202"/>
              <a:gd name="connsiteY3" fmla="*/ 506756 h 973505"/>
              <a:gd name="connsiteX4" fmla="*/ 1216132 w 1757202"/>
              <a:gd name="connsiteY4" fmla="*/ 973505 h 973505"/>
              <a:gd name="connsiteX5" fmla="*/ 0 w 1757202"/>
              <a:gd name="connsiteY5" fmla="*/ 973505 h 973505"/>
              <a:gd name="connsiteX0" fmla="*/ 0 w 1757202"/>
              <a:gd name="connsiteY0" fmla="*/ 973505 h 973505"/>
              <a:gd name="connsiteX1" fmla="*/ 929578 w 1757202"/>
              <a:gd name="connsiteY1" fmla="*/ 0 h 973505"/>
              <a:gd name="connsiteX2" fmla="*/ 1757202 w 1757202"/>
              <a:gd name="connsiteY2" fmla="*/ 3859 h 973505"/>
              <a:gd name="connsiteX3" fmla="*/ 1450216 w 1757202"/>
              <a:gd name="connsiteY3" fmla="*/ 506758 h 973505"/>
              <a:gd name="connsiteX4" fmla="*/ 1216132 w 1757202"/>
              <a:gd name="connsiteY4" fmla="*/ 973505 h 973505"/>
              <a:gd name="connsiteX5" fmla="*/ 0 w 1757202"/>
              <a:gd name="connsiteY5" fmla="*/ 973505 h 973505"/>
              <a:gd name="connsiteX0" fmla="*/ 0 w 1757202"/>
              <a:gd name="connsiteY0" fmla="*/ 973505 h 973505"/>
              <a:gd name="connsiteX1" fmla="*/ 929578 w 1757202"/>
              <a:gd name="connsiteY1" fmla="*/ 0 h 973505"/>
              <a:gd name="connsiteX2" fmla="*/ 1757202 w 1757202"/>
              <a:gd name="connsiteY2" fmla="*/ 3859 h 973505"/>
              <a:gd name="connsiteX3" fmla="*/ 1480056 w 1757202"/>
              <a:gd name="connsiteY3" fmla="*/ 506760 h 973505"/>
              <a:gd name="connsiteX4" fmla="*/ 1216132 w 1757202"/>
              <a:gd name="connsiteY4" fmla="*/ 973505 h 973505"/>
              <a:gd name="connsiteX5" fmla="*/ 0 w 1757202"/>
              <a:gd name="connsiteY5" fmla="*/ 973505 h 973505"/>
              <a:gd name="connsiteX0" fmla="*/ 0 w 1757202"/>
              <a:gd name="connsiteY0" fmla="*/ 973505 h 973505"/>
              <a:gd name="connsiteX1" fmla="*/ 929578 w 1757202"/>
              <a:gd name="connsiteY1" fmla="*/ 0 h 973505"/>
              <a:gd name="connsiteX2" fmla="*/ 1757202 w 1757202"/>
              <a:gd name="connsiteY2" fmla="*/ 3859 h 973505"/>
              <a:gd name="connsiteX3" fmla="*/ 1216132 w 1757202"/>
              <a:gd name="connsiteY3" fmla="*/ 973505 h 973505"/>
              <a:gd name="connsiteX4" fmla="*/ 0 w 1757202"/>
              <a:gd name="connsiteY4" fmla="*/ 973505 h 973505"/>
              <a:gd name="connsiteX0" fmla="*/ 0 w 1757202"/>
              <a:gd name="connsiteY0" fmla="*/ 973505 h 977020"/>
              <a:gd name="connsiteX1" fmla="*/ 929578 w 1757202"/>
              <a:gd name="connsiteY1" fmla="*/ 0 h 977020"/>
              <a:gd name="connsiteX2" fmla="*/ 1757202 w 1757202"/>
              <a:gd name="connsiteY2" fmla="*/ 3859 h 977020"/>
              <a:gd name="connsiteX3" fmla="*/ 1335742 w 1757202"/>
              <a:gd name="connsiteY3" fmla="*/ 977020 h 977020"/>
              <a:gd name="connsiteX4" fmla="*/ 0 w 1757202"/>
              <a:gd name="connsiteY4" fmla="*/ 973505 h 977020"/>
              <a:gd name="connsiteX0" fmla="*/ 0 w 1660594"/>
              <a:gd name="connsiteY0" fmla="*/ 973507 h 977020"/>
              <a:gd name="connsiteX1" fmla="*/ 832970 w 1660594"/>
              <a:gd name="connsiteY1" fmla="*/ 0 h 977020"/>
              <a:gd name="connsiteX2" fmla="*/ 1660594 w 1660594"/>
              <a:gd name="connsiteY2" fmla="*/ 3859 h 977020"/>
              <a:gd name="connsiteX3" fmla="*/ 1239134 w 1660594"/>
              <a:gd name="connsiteY3" fmla="*/ 977020 h 977020"/>
              <a:gd name="connsiteX4" fmla="*/ 0 w 1660594"/>
              <a:gd name="connsiteY4" fmla="*/ 973507 h 97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594" h="977020">
                <a:moveTo>
                  <a:pt x="0" y="973507"/>
                </a:moveTo>
                <a:lnTo>
                  <a:pt x="832970" y="0"/>
                </a:lnTo>
                <a:lnTo>
                  <a:pt x="1660594" y="3859"/>
                </a:lnTo>
                <a:lnTo>
                  <a:pt x="1239134" y="977020"/>
                </a:lnTo>
                <a:lnTo>
                  <a:pt x="0" y="973507"/>
                </a:lnTo>
                <a:close/>
              </a:path>
            </a:pathLst>
          </a:custGeom>
          <a:solidFill>
            <a:srgbClr val="93CDDD"/>
          </a:solidFill>
          <a:ln w="25400" cap="flat" cmpd="sng" algn="ctr">
            <a:noFill/>
            <a:prstDash val="solid"/>
          </a:ln>
          <a:effectLst/>
        </p:spPr>
        <p:txBody>
          <a:bodyPr rtlCol="0" anchor="ctr"/>
          <a:lstStyle/>
          <a:p>
            <a:pPr algn="ctr">
              <a:defRPr/>
            </a:pPr>
            <a:endParaRPr lang="en-US" kern="0" dirty="0">
              <a:solidFill>
                <a:prstClr val="white"/>
              </a:solidFill>
              <a:latin typeface="Calibri"/>
            </a:endParaRPr>
          </a:p>
        </p:txBody>
      </p:sp>
      <p:sp>
        <p:nvSpPr>
          <p:cNvPr id="24" name="Trapezoid 12"/>
          <p:cNvSpPr/>
          <p:nvPr/>
        </p:nvSpPr>
        <p:spPr>
          <a:xfrm rot="16200000">
            <a:off x="5079609" y="3139769"/>
            <a:ext cx="1027218" cy="1048636"/>
          </a:xfrm>
          <a:custGeom>
            <a:avLst/>
            <a:gdLst>
              <a:gd name="connsiteX0" fmla="*/ 0 w 932099"/>
              <a:gd name="connsiteY0" fmla="*/ 960120 h 960120"/>
              <a:gd name="connsiteX1" fmla="*/ 239876 w 932099"/>
              <a:gd name="connsiteY1" fmla="*/ 0 h 960120"/>
              <a:gd name="connsiteX2" fmla="*/ 692223 w 932099"/>
              <a:gd name="connsiteY2" fmla="*/ 0 h 960120"/>
              <a:gd name="connsiteX3" fmla="*/ 932099 w 932099"/>
              <a:gd name="connsiteY3" fmla="*/ 960120 h 960120"/>
              <a:gd name="connsiteX4" fmla="*/ 0 w 932099"/>
              <a:gd name="connsiteY4" fmla="*/ 960120 h 960120"/>
              <a:gd name="connsiteX0" fmla="*/ 0 w 932099"/>
              <a:gd name="connsiteY0" fmla="*/ 960120 h 960120"/>
              <a:gd name="connsiteX1" fmla="*/ 239876 w 932099"/>
              <a:gd name="connsiteY1" fmla="*/ 0 h 960120"/>
              <a:gd name="connsiteX2" fmla="*/ 864610 w 932099"/>
              <a:gd name="connsiteY2" fmla="*/ 3 h 960120"/>
              <a:gd name="connsiteX3" fmla="*/ 932099 w 932099"/>
              <a:gd name="connsiteY3" fmla="*/ 960120 h 960120"/>
              <a:gd name="connsiteX4" fmla="*/ 0 w 932099"/>
              <a:gd name="connsiteY4" fmla="*/ 960120 h 960120"/>
              <a:gd name="connsiteX0" fmla="*/ 0 w 987274"/>
              <a:gd name="connsiteY0" fmla="*/ 960120 h 960120"/>
              <a:gd name="connsiteX1" fmla="*/ 239876 w 987274"/>
              <a:gd name="connsiteY1" fmla="*/ 0 h 960120"/>
              <a:gd name="connsiteX2" fmla="*/ 987274 w 987274"/>
              <a:gd name="connsiteY2" fmla="*/ 3 h 960120"/>
              <a:gd name="connsiteX3" fmla="*/ 932099 w 987274"/>
              <a:gd name="connsiteY3" fmla="*/ 960120 h 960120"/>
              <a:gd name="connsiteX4" fmla="*/ 0 w 987274"/>
              <a:gd name="connsiteY4" fmla="*/ 960120 h 960120"/>
              <a:gd name="connsiteX0" fmla="*/ 0 w 987274"/>
              <a:gd name="connsiteY0" fmla="*/ 960118 h 960118"/>
              <a:gd name="connsiteX1" fmla="*/ 317934 w 987274"/>
              <a:gd name="connsiteY1" fmla="*/ 0 h 960118"/>
              <a:gd name="connsiteX2" fmla="*/ 987274 w 987274"/>
              <a:gd name="connsiteY2" fmla="*/ 1 h 960118"/>
              <a:gd name="connsiteX3" fmla="*/ 932099 w 987274"/>
              <a:gd name="connsiteY3" fmla="*/ 960118 h 960118"/>
              <a:gd name="connsiteX4" fmla="*/ 0 w 987274"/>
              <a:gd name="connsiteY4" fmla="*/ 960118 h 960118"/>
              <a:gd name="connsiteX0" fmla="*/ 0 w 987274"/>
              <a:gd name="connsiteY0" fmla="*/ 960117 h 960117"/>
              <a:gd name="connsiteX1" fmla="*/ 340237 w 987274"/>
              <a:gd name="connsiteY1" fmla="*/ 1 h 960117"/>
              <a:gd name="connsiteX2" fmla="*/ 987274 w 987274"/>
              <a:gd name="connsiteY2" fmla="*/ 0 h 960117"/>
              <a:gd name="connsiteX3" fmla="*/ 932099 w 987274"/>
              <a:gd name="connsiteY3" fmla="*/ 960117 h 960117"/>
              <a:gd name="connsiteX4" fmla="*/ 0 w 987274"/>
              <a:gd name="connsiteY4" fmla="*/ 960117 h 960117"/>
              <a:gd name="connsiteX0" fmla="*/ 0 w 987274"/>
              <a:gd name="connsiteY0" fmla="*/ 960117 h 960117"/>
              <a:gd name="connsiteX1" fmla="*/ 329086 w 987274"/>
              <a:gd name="connsiteY1" fmla="*/ 1 h 960117"/>
              <a:gd name="connsiteX2" fmla="*/ 987274 w 987274"/>
              <a:gd name="connsiteY2" fmla="*/ 0 h 960117"/>
              <a:gd name="connsiteX3" fmla="*/ 932099 w 987274"/>
              <a:gd name="connsiteY3" fmla="*/ 960117 h 960117"/>
              <a:gd name="connsiteX4" fmla="*/ 0 w 987274"/>
              <a:gd name="connsiteY4" fmla="*/ 960117 h 960117"/>
              <a:gd name="connsiteX0" fmla="*/ 0 w 1086256"/>
              <a:gd name="connsiteY0" fmla="*/ 960117 h 960117"/>
              <a:gd name="connsiteX1" fmla="*/ 428068 w 1086256"/>
              <a:gd name="connsiteY1" fmla="*/ 1 h 960117"/>
              <a:gd name="connsiteX2" fmla="*/ 1086256 w 1086256"/>
              <a:gd name="connsiteY2" fmla="*/ 0 h 960117"/>
              <a:gd name="connsiteX3" fmla="*/ 1031081 w 1086256"/>
              <a:gd name="connsiteY3" fmla="*/ 960117 h 960117"/>
              <a:gd name="connsiteX4" fmla="*/ 0 w 1086256"/>
              <a:gd name="connsiteY4" fmla="*/ 960117 h 960117"/>
              <a:gd name="connsiteX0" fmla="*/ 0 w 1086256"/>
              <a:gd name="connsiteY0" fmla="*/ 964363 h 964363"/>
              <a:gd name="connsiteX1" fmla="*/ 418641 w 1086256"/>
              <a:gd name="connsiteY1" fmla="*/ 0 h 964363"/>
              <a:gd name="connsiteX2" fmla="*/ 1086256 w 1086256"/>
              <a:gd name="connsiteY2" fmla="*/ 4246 h 964363"/>
              <a:gd name="connsiteX3" fmla="*/ 1031081 w 1086256"/>
              <a:gd name="connsiteY3" fmla="*/ 964363 h 964363"/>
              <a:gd name="connsiteX4" fmla="*/ 0 w 1086256"/>
              <a:gd name="connsiteY4" fmla="*/ 964363 h 964363"/>
              <a:gd name="connsiteX0" fmla="*/ 0 w 1086256"/>
              <a:gd name="connsiteY0" fmla="*/ 964363 h 964363"/>
              <a:gd name="connsiteX1" fmla="*/ 418641 w 1086256"/>
              <a:gd name="connsiteY1" fmla="*/ 0 h 964363"/>
              <a:gd name="connsiteX2" fmla="*/ 1086256 w 1086256"/>
              <a:gd name="connsiteY2" fmla="*/ 4246 h 964363"/>
              <a:gd name="connsiteX3" fmla="*/ 1016940 w 1086256"/>
              <a:gd name="connsiteY3" fmla="*/ 960119 h 964363"/>
              <a:gd name="connsiteX4" fmla="*/ 0 w 1086256"/>
              <a:gd name="connsiteY4" fmla="*/ 964363 h 964363"/>
              <a:gd name="connsiteX0" fmla="*/ 0 w 1086256"/>
              <a:gd name="connsiteY0" fmla="*/ 964363 h 968614"/>
              <a:gd name="connsiteX1" fmla="*/ 418641 w 1086256"/>
              <a:gd name="connsiteY1" fmla="*/ 0 h 968614"/>
              <a:gd name="connsiteX2" fmla="*/ 1086256 w 1086256"/>
              <a:gd name="connsiteY2" fmla="*/ 4246 h 968614"/>
              <a:gd name="connsiteX3" fmla="*/ 1007514 w 1086256"/>
              <a:gd name="connsiteY3" fmla="*/ 968614 h 968614"/>
              <a:gd name="connsiteX4" fmla="*/ 0 w 1086256"/>
              <a:gd name="connsiteY4" fmla="*/ 964363 h 968614"/>
              <a:gd name="connsiteX0" fmla="*/ 0 w 1086256"/>
              <a:gd name="connsiteY0" fmla="*/ 964363 h 968614"/>
              <a:gd name="connsiteX1" fmla="*/ 442289 w 1086256"/>
              <a:gd name="connsiteY1" fmla="*/ 0 h 968614"/>
              <a:gd name="connsiteX2" fmla="*/ 1086256 w 1086256"/>
              <a:gd name="connsiteY2" fmla="*/ 4246 h 968614"/>
              <a:gd name="connsiteX3" fmla="*/ 1007514 w 1086256"/>
              <a:gd name="connsiteY3" fmla="*/ 968614 h 968614"/>
              <a:gd name="connsiteX4" fmla="*/ 0 w 1086256"/>
              <a:gd name="connsiteY4" fmla="*/ 964363 h 968614"/>
              <a:gd name="connsiteX0" fmla="*/ 0 w 1070490"/>
              <a:gd name="connsiteY0" fmla="*/ 9643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64363 h 968614"/>
              <a:gd name="connsiteX0" fmla="*/ 0 w 1070490"/>
              <a:gd name="connsiteY0" fmla="*/ 9572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57263 h 968614"/>
              <a:gd name="connsiteX0" fmla="*/ 0 w 1070490"/>
              <a:gd name="connsiteY0" fmla="*/ 9572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57263 h 968614"/>
              <a:gd name="connsiteX0" fmla="*/ 0 w 1070490"/>
              <a:gd name="connsiteY0" fmla="*/ 9572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57263 h 968614"/>
              <a:gd name="connsiteX0" fmla="*/ 0 w 1070490"/>
              <a:gd name="connsiteY0" fmla="*/ 9572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57263 h 968614"/>
              <a:gd name="connsiteX0" fmla="*/ 0 w 1070490"/>
              <a:gd name="connsiteY0" fmla="*/ 953017 h 964368"/>
              <a:gd name="connsiteX1" fmla="*/ 410480 w 1070490"/>
              <a:gd name="connsiteY1" fmla="*/ 3000 h 964368"/>
              <a:gd name="connsiteX2" fmla="*/ 1070490 w 1070490"/>
              <a:gd name="connsiteY2" fmla="*/ 0 h 964368"/>
              <a:gd name="connsiteX3" fmla="*/ 991748 w 1070490"/>
              <a:gd name="connsiteY3" fmla="*/ 964368 h 964368"/>
              <a:gd name="connsiteX4" fmla="*/ 0 w 1070490"/>
              <a:gd name="connsiteY4" fmla="*/ 953017 h 964368"/>
              <a:gd name="connsiteX0" fmla="*/ 0 w 1070490"/>
              <a:gd name="connsiteY0" fmla="*/ 953017 h 964368"/>
              <a:gd name="connsiteX1" fmla="*/ 410480 w 1070490"/>
              <a:gd name="connsiteY1" fmla="*/ 3000 h 964368"/>
              <a:gd name="connsiteX2" fmla="*/ 1070490 w 1070490"/>
              <a:gd name="connsiteY2" fmla="*/ 0 h 964368"/>
              <a:gd name="connsiteX3" fmla="*/ 991748 w 1070490"/>
              <a:gd name="connsiteY3" fmla="*/ 964368 h 964368"/>
              <a:gd name="connsiteX4" fmla="*/ 0 w 1070490"/>
              <a:gd name="connsiteY4" fmla="*/ 953017 h 964368"/>
              <a:gd name="connsiteX0" fmla="*/ 0 w 1094554"/>
              <a:gd name="connsiteY0" fmla="*/ 967624 h 967624"/>
              <a:gd name="connsiteX1" fmla="*/ 434544 w 1094554"/>
              <a:gd name="connsiteY1" fmla="*/ 3000 h 967624"/>
              <a:gd name="connsiteX2" fmla="*/ 1094554 w 1094554"/>
              <a:gd name="connsiteY2" fmla="*/ 0 h 967624"/>
              <a:gd name="connsiteX3" fmla="*/ 1015812 w 1094554"/>
              <a:gd name="connsiteY3" fmla="*/ 964368 h 967624"/>
              <a:gd name="connsiteX4" fmla="*/ 0 w 1094554"/>
              <a:gd name="connsiteY4" fmla="*/ 967624 h 967624"/>
              <a:gd name="connsiteX0" fmla="*/ 0 w 1094554"/>
              <a:gd name="connsiteY0" fmla="*/ 967624 h 986871"/>
              <a:gd name="connsiteX1" fmla="*/ 434544 w 1094554"/>
              <a:gd name="connsiteY1" fmla="*/ 3000 h 986871"/>
              <a:gd name="connsiteX2" fmla="*/ 1094554 w 1094554"/>
              <a:gd name="connsiteY2" fmla="*/ 0 h 986871"/>
              <a:gd name="connsiteX3" fmla="*/ 1015812 w 1094554"/>
              <a:gd name="connsiteY3" fmla="*/ 986871 h 986871"/>
              <a:gd name="connsiteX4" fmla="*/ 0 w 1094554"/>
              <a:gd name="connsiteY4" fmla="*/ 967624 h 986871"/>
              <a:gd name="connsiteX0" fmla="*/ 0 w 1094554"/>
              <a:gd name="connsiteY0" fmla="*/ 967624 h 975619"/>
              <a:gd name="connsiteX1" fmla="*/ 434544 w 1094554"/>
              <a:gd name="connsiteY1" fmla="*/ 3000 h 975619"/>
              <a:gd name="connsiteX2" fmla="*/ 1094554 w 1094554"/>
              <a:gd name="connsiteY2" fmla="*/ 0 h 975619"/>
              <a:gd name="connsiteX3" fmla="*/ 991098 w 1094554"/>
              <a:gd name="connsiteY3" fmla="*/ 975619 h 975619"/>
              <a:gd name="connsiteX4" fmla="*/ 0 w 1094554"/>
              <a:gd name="connsiteY4" fmla="*/ 967624 h 975619"/>
              <a:gd name="connsiteX0" fmla="*/ 0 w 1094554"/>
              <a:gd name="connsiteY0" fmla="*/ 967624 h 975619"/>
              <a:gd name="connsiteX1" fmla="*/ 434544 w 1094554"/>
              <a:gd name="connsiteY1" fmla="*/ 3000 h 975619"/>
              <a:gd name="connsiteX2" fmla="*/ 1094554 w 1094554"/>
              <a:gd name="connsiteY2" fmla="*/ 0 h 975619"/>
              <a:gd name="connsiteX3" fmla="*/ 1003454 w 1094554"/>
              <a:gd name="connsiteY3" fmla="*/ 975619 h 975619"/>
              <a:gd name="connsiteX4" fmla="*/ 0 w 1094554"/>
              <a:gd name="connsiteY4" fmla="*/ 967624 h 975619"/>
              <a:gd name="connsiteX0" fmla="*/ 0 w 1094554"/>
              <a:gd name="connsiteY0" fmla="*/ 964624 h 972619"/>
              <a:gd name="connsiteX1" fmla="*/ 434544 w 1094554"/>
              <a:gd name="connsiteY1" fmla="*/ 0 h 972619"/>
              <a:gd name="connsiteX2" fmla="*/ 1094554 w 1094554"/>
              <a:gd name="connsiteY2" fmla="*/ 6684 h 972619"/>
              <a:gd name="connsiteX3" fmla="*/ 1003454 w 1094554"/>
              <a:gd name="connsiteY3" fmla="*/ 972619 h 972619"/>
              <a:gd name="connsiteX4" fmla="*/ 0 w 1094554"/>
              <a:gd name="connsiteY4" fmla="*/ 964624 h 972619"/>
              <a:gd name="connsiteX0" fmla="*/ 0 w 1094554"/>
              <a:gd name="connsiteY0" fmla="*/ 958073 h 966068"/>
              <a:gd name="connsiteX1" fmla="*/ 409735 w 1094554"/>
              <a:gd name="connsiteY1" fmla="*/ 0 h 966068"/>
              <a:gd name="connsiteX2" fmla="*/ 1094554 w 1094554"/>
              <a:gd name="connsiteY2" fmla="*/ 133 h 966068"/>
              <a:gd name="connsiteX3" fmla="*/ 1003454 w 1094554"/>
              <a:gd name="connsiteY3" fmla="*/ 966068 h 966068"/>
              <a:gd name="connsiteX4" fmla="*/ 0 w 1094554"/>
              <a:gd name="connsiteY4" fmla="*/ 958073 h 966068"/>
              <a:gd name="connsiteX0" fmla="*/ 0 w 1094554"/>
              <a:gd name="connsiteY0" fmla="*/ 958073 h 972620"/>
              <a:gd name="connsiteX1" fmla="*/ 409735 w 1094554"/>
              <a:gd name="connsiteY1" fmla="*/ 0 h 972620"/>
              <a:gd name="connsiteX2" fmla="*/ 1094554 w 1094554"/>
              <a:gd name="connsiteY2" fmla="*/ 133 h 972620"/>
              <a:gd name="connsiteX3" fmla="*/ 1088514 w 1094554"/>
              <a:gd name="connsiteY3" fmla="*/ 972620 h 972620"/>
              <a:gd name="connsiteX4" fmla="*/ 0 w 1094554"/>
              <a:gd name="connsiteY4" fmla="*/ 958073 h 972620"/>
              <a:gd name="connsiteX0" fmla="*/ 0 w 1094554"/>
              <a:gd name="connsiteY0" fmla="*/ 961346 h 975893"/>
              <a:gd name="connsiteX1" fmla="*/ 399102 w 1094554"/>
              <a:gd name="connsiteY1" fmla="*/ 0 h 975893"/>
              <a:gd name="connsiteX2" fmla="*/ 1094554 w 1094554"/>
              <a:gd name="connsiteY2" fmla="*/ 3406 h 975893"/>
              <a:gd name="connsiteX3" fmla="*/ 1088514 w 1094554"/>
              <a:gd name="connsiteY3" fmla="*/ 975893 h 975893"/>
              <a:gd name="connsiteX4" fmla="*/ 0 w 1094554"/>
              <a:gd name="connsiteY4" fmla="*/ 961346 h 975893"/>
              <a:gd name="connsiteX0" fmla="*/ 0 w 1027216"/>
              <a:gd name="connsiteY0" fmla="*/ 971173 h 975893"/>
              <a:gd name="connsiteX1" fmla="*/ 331764 w 1027216"/>
              <a:gd name="connsiteY1" fmla="*/ 0 h 975893"/>
              <a:gd name="connsiteX2" fmla="*/ 1027216 w 1027216"/>
              <a:gd name="connsiteY2" fmla="*/ 3406 h 975893"/>
              <a:gd name="connsiteX3" fmla="*/ 1021176 w 1027216"/>
              <a:gd name="connsiteY3" fmla="*/ 975893 h 975893"/>
              <a:gd name="connsiteX4" fmla="*/ 0 w 1027216"/>
              <a:gd name="connsiteY4" fmla="*/ 971173 h 975893"/>
              <a:gd name="connsiteX0" fmla="*/ 0 w 1027216"/>
              <a:gd name="connsiteY0" fmla="*/ 971173 h 975893"/>
              <a:gd name="connsiteX1" fmla="*/ 331764 w 1027216"/>
              <a:gd name="connsiteY1" fmla="*/ 0 h 975893"/>
              <a:gd name="connsiteX2" fmla="*/ 1027216 w 1027216"/>
              <a:gd name="connsiteY2" fmla="*/ 3406 h 975893"/>
              <a:gd name="connsiteX3" fmla="*/ 1021176 w 1027216"/>
              <a:gd name="connsiteY3" fmla="*/ 975893 h 975893"/>
              <a:gd name="connsiteX4" fmla="*/ 0 w 1027216"/>
              <a:gd name="connsiteY4" fmla="*/ 971173 h 975893"/>
              <a:gd name="connsiteX0" fmla="*/ 0 w 1027216"/>
              <a:gd name="connsiteY0" fmla="*/ 971173 h 975893"/>
              <a:gd name="connsiteX1" fmla="*/ 331764 w 1027216"/>
              <a:gd name="connsiteY1" fmla="*/ 0 h 975893"/>
              <a:gd name="connsiteX2" fmla="*/ 1027216 w 1027216"/>
              <a:gd name="connsiteY2" fmla="*/ 3406 h 975893"/>
              <a:gd name="connsiteX3" fmla="*/ 1021176 w 1027216"/>
              <a:gd name="connsiteY3" fmla="*/ 975893 h 975893"/>
              <a:gd name="connsiteX4" fmla="*/ 0 w 1027216"/>
              <a:gd name="connsiteY4" fmla="*/ 971173 h 975893"/>
              <a:gd name="connsiteX0" fmla="*/ 0 w 1027216"/>
              <a:gd name="connsiteY0" fmla="*/ 967767 h 972487"/>
              <a:gd name="connsiteX1" fmla="*/ 343194 w 1027216"/>
              <a:gd name="connsiteY1" fmla="*/ 3638 h 972487"/>
              <a:gd name="connsiteX2" fmla="*/ 1027216 w 1027216"/>
              <a:gd name="connsiteY2" fmla="*/ 0 h 972487"/>
              <a:gd name="connsiteX3" fmla="*/ 1021176 w 1027216"/>
              <a:gd name="connsiteY3" fmla="*/ 972487 h 972487"/>
              <a:gd name="connsiteX4" fmla="*/ 0 w 1027216"/>
              <a:gd name="connsiteY4" fmla="*/ 967767 h 972487"/>
              <a:gd name="connsiteX0" fmla="*/ 0 w 1027216"/>
              <a:gd name="connsiteY0" fmla="*/ 974689 h 979409"/>
              <a:gd name="connsiteX1" fmla="*/ 350814 w 1027216"/>
              <a:gd name="connsiteY1" fmla="*/ 0 h 979409"/>
              <a:gd name="connsiteX2" fmla="*/ 1027216 w 1027216"/>
              <a:gd name="connsiteY2" fmla="*/ 6922 h 979409"/>
              <a:gd name="connsiteX3" fmla="*/ 1021176 w 1027216"/>
              <a:gd name="connsiteY3" fmla="*/ 979409 h 979409"/>
              <a:gd name="connsiteX4" fmla="*/ 0 w 1027216"/>
              <a:gd name="connsiteY4" fmla="*/ 974689 h 979409"/>
              <a:gd name="connsiteX0" fmla="*/ 0 w 1027216"/>
              <a:gd name="connsiteY0" fmla="*/ 974689 h 979409"/>
              <a:gd name="connsiteX1" fmla="*/ 350814 w 1027216"/>
              <a:gd name="connsiteY1" fmla="*/ 0 h 979409"/>
              <a:gd name="connsiteX2" fmla="*/ 1027216 w 1027216"/>
              <a:gd name="connsiteY2" fmla="*/ 6922 h 979409"/>
              <a:gd name="connsiteX3" fmla="*/ 1021176 w 1027216"/>
              <a:gd name="connsiteY3" fmla="*/ 979409 h 979409"/>
              <a:gd name="connsiteX4" fmla="*/ 0 w 1027216"/>
              <a:gd name="connsiteY4" fmla="*/ 974689 h 979409"/>
              <a:gd name="connsiteX0" fmla="*/ 0 w 1027216"/>
              <a:gd name="connsiteY0" fmla="*/ 967767 h 972487"/>
              <a:gd name="connsiteX1" fmla="*/ 347004 w 1027216"/>
              <a:gd name="connsiteY1" fmla="*/ 3640 h 972487"/>
              <a:gd name="connsiteX2" fmla="*/ 1027216 w 1027216"/>
              <a:gd name="connsiteY2" fmla="*/ 0 h 972487"/>
              <a:gd name="connsiteX3" fmla="*/ 1021176 w 1027216"/>
              <a:gd name="connsiteY3" fmla="*/ 972487 h 972487"/>
              <a:gd name="connsiteX4" fmla="*/ 0 w 1027216"/>
              <a:gd name="connsiteY4" fmla="*/ 967767 h 972487"/>
              <a:gd name="connsiteX0" fmla="*/ 0 w 1027216"/>
              <a:gd name="connsiteY0" fmla="*/ 974687 h 979407"/>
              <a:gd name="connsiteX1" fmla="*/ 347004 w 1027216"/>
              <a:gd name="connsiteY1" fmla="*/ 0 h 979407"/>
              <a:gd name="connsiteX2" fmla="*/ 1027216 w 1027216"/>
              <a:gd name="connsiteY2" fmla="*/ 6920 h 979407"/>
              <a:gd name="connsiteX3" fmla="*/ 1021176 w 1027216"/>
              <a:gd name="connsiteY3" fmla="*/ 979407 h 979407"/>
              <a:gd name="connsiteX4" fmla="*/ 0 w 1027216"/>
              <a:gd name="connsiteY4" fmla="*/ 974687 h 979407"/>
              <a:gd name="connsiteX0" fmla="*/ 0 w 1027216"/>
              <a:gd name="connsiteY0" fmla="*/ 967767 h 972487"/>
              <a:gd name="connsiteX1" fmla="*/ 343194 w 1027216"/>
              <a:gd name="connsiteY1" fmla="*/ 122 h 972487"/>
              <a:gd name="connsiteX2" fmla="*/ 1027216 w 1027216"/>
              <a:gd name="connsiteY2" fmla="*/ 0 h 972487"/>
              <a:gd name="connsiteX3" fmla="*/ 1021176 w 1027216"/>
              <a:gd name="connsiteY3" fmla="*/ 972487 h 972487"/>
              <a:gd name="connsiteX4" fmla="*/ 0 w 1027216"/>
              <a:gd name="connsiteY4" fmla="*/ 967767 h 972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216" h="972487">
                <a:moveTo>
                  <a:pt x="0" y="967767"/>
                </a:moveTo>
                <a:cubicBezTo>
                  <a:pt x="116494" y="633127"/>
                  <a:pt x="219610" y="338041"/>
                  <a:pt x="343194" y="122"/>
                </a:cubicBezTo>
                <a:lnTo>
                  <a:pt x="1027216" y="0"/>
                </a:lnTo>
                <a:cubicBezTo>
                  <a:pt x="1025203" y="324162"/>
                  <a:pt x="1023189" y="648325"/>
                  <a:pt x="1021176" y="972487"/>
                </a:cubicBezTo>
                <a:lnTo>
                  <a:pt x="0" y="967767"/>
                </a:lnTo>
                <a:close/>
              </a:path>
            </a:pathLst>
          </a:custGeom>
          <a:solidFill>
            <a:srgbClr val="4F81BD">
              <a:lumMod val="60000"/>
              <a:lumOff val="40000"/>
            </a:srgbClr>
          </a:solidFill>
          <a:ln w="25400" cap="flat" cmpd="sng" algn="ctr">
            <a:solidFill>
              <a:srgbClr val="4F81BD">
                <a:lumMod val="60000"/>
                <a:lumOff val="40000"/>
              </a:srgbClr>
            </a:solidFill>
            <a:prstDash val="solid"/>
          </a:ln>
          <a:effectLst/>
        </p:spPr>
        <p:txBody>
          <a:bodyPr rtlCol="0" anchor="ctr"/>
          <a:lstStyle/>
          <a:p>
            <a:pPr algn="ctr">
              <a:defRPr/>
            </a:pPr>
            <a:endParaRPr lang="en-US" kern="0" dirty="0">
              <a:solidFill>
                <a:prstClr val="white"/>
              </a:solidFill>
              <a:latin typeface="Calibri"/>
            </a:endParaRPr>
          </a:p>
        </p:txBody>
      </p:sp>
      <p:sp>
        <p:nvSpPr>
          <p:cNvPr id="35" name="Rounded Rectangle 7182"/>
          <p:cNvSpPr/>
          <p:nvPr/>
        </p:nvSpPr>
        <p:spPr>
          <a:xfrm>
            <a:off x="2358723" y="1716316"/>
            <a:ext cx="2651760" cy="2846390"/>
          </a:xfrm>
          <a:prstGeom prst="roundRect">
            <a:avLst>
              <a:gd name="adj" fmla="val 0"/>
            </a:avLst>
          </a:prstGeom>
          <a:solidFill>
            <a:srgbClr val="1F497D"/>
          </a:solidFill>
          <a:ln w="25400" cap="flat" cmpd="sng" algn="ctr">
            <a:solidFill>
              <a:srgbClr val="1F497D"/>
            </a:solidFill>
            <a:prstDash val="solid"/>
          </a:ln>
          <a:effectLst/>
        </p:spPr>
        <p:txBody>
          <a:bodyPr lIns="365760" rIns="274320" rtlCol="0" anchor="ctr"/>
          <a:lstStyle/>
          <a:p>
            <a:pPr algn="ctr">
              <a:defRPr/>
            </a:pPr>
            <a:r>
              <a:rPr lang="en-US" sz="2000" b="1" kern="0" dirty="0">
                <a:solidFill>
                  <a:srgbClr val="FFFFFF"/>
                </a:solidFill>
                <a:latin typeface="Calibri"/>
              </a:rPr>
              <a:t>Following the 1</a:t>
            </a:r>
            <a:r>
              <a:rPr lang="en-US" sz="2000" b="1" kern="0" baseline="30000" dirty="0">
                <a:solidFill>
                  <a:srgbClr val="FFFFFF"/>
                </a:solidFill>
                <a:latin typeface="Calibri"/>
              </a:rPr>
              <a:t>st</a:t>
            </a:r>
            <a:r>
              <a:rPr lang="en-US" sz="2000" b="1" kern="0" dirty="0">
                <a:solidFill>
                  <a:srgbClr val="FFFFFF"/>
                </a:solidFill>
                <a:latin typeface="Calibri"/>
              </a:rPr>
              <a:t> stage of VALERI modernization, LGY continues to transform the Guaranty Home Loan Program</a:t>
            </a:r>
          </a:p>
        </p:txBody>
      </p:sp>
      <p:sp>
        <p:nvSpPr>
          <p:cNvPr id="37" name="Rounded Rectangle 36"/>
          <p:cNvSpPr/>
          <p:nvPr/>
        </p:nvSpPr>
        <p:spPr>
          <a:xfrm>
            <a:off x="6172200" y="4230537"/>
            <a:ext cx="4038600" cy="1024128"/>
          </a:xfrm>
          <a:prstGeom prst="roundRect">
            <a:avLst>
              <a:gd name="adj" fmla="val 0"/>
            </a:avLst>
          </a:prstGeom>
          <a:solidFill>
            <a:srgbClr val="4BACC6">
              <a:lumMod val="20000"/>
              <a:lumOff val="80000"/>
            </a:srgbClr>
          </a:solidFill>
          <a:ln w="25400" cap="flat" cmpd="sng" algn="ctr">
            <a:solidFill>
              <a:srgbClr val="4BACC6">
                <a:lumMod val="20000"/>
                <a:lumOff val="80000"/>
              </a:srgbClr>
            </a:solidFill>
            <a:prstDash val="solid"/>
          </a:ln>
          <a:effectLst/>
        </p:spPr>
        <p:txBody>
          <a:bodyPr lIns="91440" tIns="91440" bIns="91440" rtlCol="0" anchor="ctr"/>
          <a:lstStyle/>
          <a:p>
            <a:pPr marL="228600" defTabSz="622300">
              <a:lnSpc>
                <a:spcPct val="90000"/>
              </a:lnSpc>
              <a:spcAft>
                <a:spcPct val="35000"/>
              </a:spcAft>
              <a:defRPr/>
            </a:pPr>
            <a:r>
              <a:rPr lang="en-US" altLang="en-US" sz="1600" b="1" kern="0" dirty="0">
                <a:solidFill>
                  <a:srgbClr val="000000"/>
                </a:solidFill>
                <a:latin typeface="Calibri"/>
              </a:rPr>
              <a:t>Scorecards, Analytics, and Dashboards</a:t>
            </a:r>
          </a:p>
        </p:txBody>
      </p:sp>
      <p:sp>
        <p:nvSpPr>
          <p:cNvPr id="50" name="Rounded Rectangle 49"/>
          <p:cNvSpPr/>
          <p:nvPr/>
        </p:nvSpPr>
        <p:spPr>
          <a:xfrm>
            <a:off x="6172200" y="3150558"/>
            <a:ext cx="4038600" cy="1024128"/>
          </a:xfrm>
          <a:prstGeom prst="roundRect">
            <a:avLst>
              <a:gd name="adj" fmla="val 0"/>
            </a:avLst>
          </a:prstGeom>
          <a:solidFill>
            <a:srgbClr val="4F81BD">
              <a:lumMod val="20000"/>
              <a:lumOff val="80000"/>
            </a:srgbClr>
          </a:solidFill>
          <a:ln w="25400" cap="flat" cmpd="sng" algn="ctr">
            <a:solidFill>
              <a:srgbClr val="4F81BD">
                <a:lumMod val="20000"/>
                <a:lumOff val="80000"/>
              </a:srgbClr>
            </a:solidFill>
            <a:prstDash val="solid"/>
          </a:ln>
          <a:effectLst/>
        </p:spPr>
        <p:txBody>
          <a:bodyPr lIns="91440" tIns="91440" bIns="91440" rtlCol="0" anchor="ctr"/>
          <a:lstStyle/>
          <a:p>
            <a:pPr marL="228600" defTabSz="622300">
              <a:lnSpc>
                <a:spcPct val="90000"/>
              </a:lnSpc>
              <a:spcAft>
                <a:spcPct val="35000"/>
              </a:spcAft>
              <a:defRPr/>
            </a:pPr>
            <a:r>
              <a:rPr lang="en-US" altLang="en-US" sz="1600" b="1" kern="0" dirty="0">
                <a:solidFill>
                  <a:srgbClr val="000000"/>
                </a:solidFill>
                <a:latin typeface="Calibri"/>
              </a:rPr>
              <a:t>Targeted Loan Reviews Functionality</a:t>
            </a:r>
          </a:p>
        </p:txBody>
      </p:sp>
      <p:sp>
        <p:nvSpPr>
          <p:cNvPr id="51" name="Rounded Rectangle 50"/>
          <p:cNvSpPr/>
          <p:nvPr/>
        </p:nvSpPr>
        <p:spPr>
          <a:xfrm>
            <a:off x="6172200" y="2070579"/>
            <a:ext cx="4038600" cy="1024128"/>
          </a:xfrm>
          <a:prstGeom prst="roundRect">
            <a:avLst>
              <a:gd name="adj" fmla="val 0"/>
            </a:avLst>
          </a:prstGeom>
          <a:solidFill>
            <a:srgbClr val="1F497D">
              <a:lumMod val="20000"/>
              <a:lumOff val="80000"/>
            </a:srgbClr>
          </a:solidFill>
          <a:ln w="25400" cap="flat" cmpd="sng" algn="ctr">
            <a:solidFill>
              <a:srgbClr val="1F497D">
                <a:lumMod val="20000"/>
                <a:lumOff val="80000"/>
              </a:srgbClr>
            </a:solidFill>
            <a:prstDash val="solid"/>
          </a:ln>
          <a:effectLst/>
        </p:spPr>
        <p:txBody>
          <a:bodyPr lIns="91440" tIns="91440" bIns="91440" rtlCol="0" anchor="ctr"/>
          <a:lstStyle/>
          <a:p>
            <a:pPr marL="228600" defTabSz="622300">
              <a:lnSpc>
                <a:spcPct val="90000"/>
              </a:lnSpc>
              <a:spcAft>
                <a:spcPct val="35000"/>
              </a:spcAft>
              <a:defRPr/>
            </a:pPr>
            <a:r>
              <a:rPr lang="en-US" sz="1600" b="1" kern="0" dirty="0">
                <a:solidFill>
                  <a:srgbClr val="000000"/>
                </a:solidFill>
                <a:latin typeface="Calibri"/>
              </a:rPr>
              <a:t>Rules Based Engine Functionality</a:t>
            </a:r>
          </a:p>
        </p:txBody>
      </p:sp>
      <p:sp>
        <p:nvSpPr>
          <p:cNvPr id="53" name="Rounded Rectangle 7184"/>
          <p:cNvSpPr/>
          <p:nvPr/>
        </p:nvSpPr>
        <p:spPr>
          <a:xfrm>
            <a:off x="6172200" y="990600"/>
            <a:ext cx="4038600" cy="1024128"/>
          </a:xfrm>
          <a:prstGeom prst="roundRect">
            <a:avLst>
              <a:gd name="adj" fmla="val 0"/>
            </a:avLst>
          </a:prstGeom>
          <a:solidFill>
            <a:srgbClr val="BFCEE1"/>
          </a:solidFill>
          <a:ln w="25400" cap="flat" cmpd="sng" algn="ctr">
            <a:solidFill>
              <a:srgbClr val="BFCEE1"/>
            </a:solidFill>
            <a:prstDash val="solid"/>
          </a:ln>
          <a:effectLst/>
        </p:spPr>
        <p:txBody>
          <a:bodyPr lIns="91440" tIns="91440" bIns="91440" rtlCol="0" anchor="ctr"/>
          <a:lstStyle/>
          <a:p>
            <a:pPr marL="228600" defTabSz="622300">
              <a:lnSpc>
                <a:spcPct val="90000"/>
              </a:lnSpc>
              <a:spcAft>
                <a:spcPct val="35000"/>
              </a:spcAft>
              <a:defRPr/>
            </a:pPr>
            <a:r>
              <a:rPr lang="en-US" altLang="en-US" sz="1600" b="1" kern="0" dirty="0">
                <a:solidFill>
                  <a:srgbClr val="000000"/>
                </a:solidFill>
                <a:latin typeface="Calibri"/>
              </a:rPr>
              <a:t>Uniform Closing Dataset (UCD) and Uniform Loan Application Dataset (ULAD)</a:t>
            </a:r>
            <a:endParaRPr lang="en-US" sz="1600" b="1" kern="0" dirty="0">
              <a:solidFill>
                <a:srgbClr val="000000"/>
              </a:solidFill>
              <a:latin typeface="Calibri"/>
            </a:endParaRPr>
          </a:p>
        </p:txBody>
      </p:sp>
      <p:sp>
        <p:nvSpPr>
          <p:cNvPr id="54" name="Trapezoid 12"/>
          <p:cNvSpPr/>
          <p:nvPr/>
        </p:nvSpPr>
        <p:spPr>
          <a:xfrm rot="16200000" flipH="1">
            <a:off x="5079278" y="2067425"/>
            <a:ext cx="1024128" cy="1052381"/>
          </a:xfrm>
          <a:custGeom>
            <a:avLst/>
            <a:gdLst>
              <a:gd name="connsiteX0" fmla="*/ 0 w 932099"/>
              <a:gd name="connsiteY0" fmla="*/ 960120 h 960120"/>
              <a:gd name="connsiteX1" fmla="*/ 239876 w 932099"/>
              <a:gd name="connsiteY1" fmla="*/ 0 h 960120"/>
              <a:gd name="connsiteX2" fmla="*/ 692223 w 932099"/>
              <a:gd name="connsiteY2" fmla="*/ 0 h 960120"/>
              <a:gd name="connsiteX3" fmla="*/ 932099 w 932099"/>
              <a:gd name="connsiteY3" fmla="*/ 960120 h 960120"/>
              <a:gd name="connsiteX4" fmla="*/ 0 w 932099"/>
              <a:gd name="connsiteY4" fmla="*/ 960120 h 960120"/>
              <a:gd name="connsiteX0" fmla="*/ 0 w 932099"/>
              <a:gd name="connsiteY0" fmla="*/ 960120 h 960120"/>
              <a:gd name="connsiteX1" fmla="*/ 239876 w 932099"/>
              <a:gd name="connsiteY1" fmla="*/ 0 h 960120"/>
              <a:gd name="connsiteX2" fmla="*/ 864610 w 932099"/>
              <a:gd name="connsiteY2" fmla="*/ 3 h 960120"/>
              <a:gd name="connsiteX3" fmla="*/ 932099 w 932099"/>
              <a:gd name="connsiteY3" fmla="*/ 960120 h 960120"/>
              <a:gd name="connsiteX4" fmla="*/ 0 w 932099"/>
              <a:gd name="connsiteY4" fmla="*/ 960120 h 960120"/>
              <a:gd name="connsiteX0" fmla="*/ 0 w 987274"/>
              <a:gd name="connsiteY0" fmla="*/ 960120 h 960120"/>
              <a:gd name="connsiteX1" fmla="*/ 239876 w 987274"/>
              <a:gd name="connsiteY1" fmla="*/ 0 h 960120"/>
              <a:gd name="connsiteX2" fmla="*/ 987274 w 987274"/>
              <a:gd name="connsiteY2" fmla="*/ 3 h 960120"/>
              <a:gd name="connsiteX3" fmla="*/ 932099 w 987274"/>
              <a:gd name="connsiteY3" fmla="*/ 960120 h 960120"/>
              <a:gd name="connsiteX4" fmla="*/ 0 w 987274"/>
              <a:gd name="connsiteY4" fmla="*/ 960120 h 960120"/>
              <a:gd name="connsiteX0" fmla="*/ 0 w 987274"/>
              <a:gd name="connsiteY0" fmla="*/ 960118 h 960118"/>
              <a:gd name="connsiteX1" fmla="*/ 317934 w 987274"/>
              <a:gd name="connsiteY1" fmla="*/ 0 h 960118"/>
              <a:gd name="connsiteX2" fmla="*/ 987274 w 987274"/>
              <a:gd name="connsiteY2" fmla="*/ 1 h 960118"/>
              <a:gd name="connsiteX3" fmla="*/ 932099 w 987274"/>
              <a:gd name="connsiteY3" fmla="*/ 960118 h 960118"/>
              <a:gd name="connsiteX4" fmla="*/ 0 w 987274"/>
              <a:gd name="connsiteY4" fmla="*/ 960118 h 960118"/>
              <a:gd name="connsiteX0" fmla="*/ 0 w 987274"/>
              <a:gd name="connsiteY0" fmla="*/ 960117 h 960117"/>
              <a:gd name="connsiteX1" fmla="*/ 340237 w 987274"/>
              <a:gd name="connsiteY1" fmla="*/ 1 h 960117"/>
              <a:gd name="connsiteX2" fmla="*/ 987274 w 987274"/>
              <a:gd name="connsiteY2" fmla="*/ 0 h 960117"/>
              <a:gd name="connsiteX3" fmla="*/ 932099 w 987274"/>
              <a:gd name="connsiteY3" fmla="*/ 960117 h 960117"/>
              <a:gd name="connsiteX4" fmla="*/ 0 w 987274"/>
              <a:gd name="connsiteY4" fmla="*/ 960117 h 960117"/>
              <a:gd name="connsiteX0" fmla="*/ 0 w 987274"/>
              <a:gd name="connsiteY0" fmla="*/ 960117 h 960117"/>
              <a:gd name="connsiteX1" fmla="*/ 329086 w 987274"/>
              <a:gd name="connsiteY1" fmla="*/ 1 h 960117"/>
              <a:gd name="connsiteX2" fmla="*/ 987274 w 987274"/>
              <a:gd name="connsiteY2" fmla="*/ 0 h 960117"/>
              <a:gd name="connsiteX3" fmla="*/ 932099 w 987274"/>
              <a:gd name="connsiteY3" fmla="*/ 960117 h 960117"/>
              <a:gd name="connsiteX4" fmla="*/ 0 w 987274"/>
              <a:gd name="connsiteY4" fmla="*/ 960117 h 960117"/>
              <a:gd name="connsiteX0" fmla="*/ 0 w 1086256"/>
              <a:gd name="connsiteY0" fmla="*/ 960117 h 960117"/>
              <a:gd name="connsiteX1" fmla="*/ 428068 w 1086256"/>
              <a:gd name="connsiteY1" fmla="*/ 1 h 960117"/>
              <a:gd name="connsiteX2" fmla="*/ 1086256 w 1086256"/>
              <a:gd name="connsiteY2" fmla="*/ 0 h 960117"/>
              <a:gd name="connsiteX3" fmla="*/ 1031081 w 1086256"/>
              <a:gd name="connsiteY3" fmla="*/ 960117 h 960117"/>
              <a:gd name="connsiteX4" fmla="*/ 0 w 1086256"/>
              <a:gd name="connsiteY4" fmla="*/ 960117 h 960117"/>
              <a:gd name="connsiteX0" fmla="*/ 0 w 1086256"/>
              <a:gd name="connsiteY0" fmla="*/ 964363 h 964363"/>
              <a:gd name="connsiteX1" fmla="*/ 418641 w 1086256"/>
              <a:gd name="connsiteY1" fmla="*/ 0 h 964363"/>
              <a:gd name="connsiteX2" fmla="*/ 1086256 w 1086256"/>
              <a:gd name="connsiteY2" fmla="*/ 4246 h 964363"/>
              <a:gd name="connsiteX3" fmla="*/ 1031081 w 1086256"/>
              <a:gd name="connsiteY3" fmla="*/ 964363 h 964363"/>
              <a:gd name="connsiteX4" fmla="*/ 0 w 1086256"/>
              <a:gd name="connsiteY4" fmla="*/ 964363 h 964363"/>
              <a:gd name="connsiteX0" fmla="*/ 0 w 1086256"/>
              <a:gd name="connsiteY0" fmla="*/ 964363 h 964363"/>
              <a:gd name="connsiteX1" fmla="*/ 418641 w 1086256"/>
              <a:gd name="connsiteY1" fmla="*/ 0 h 964363"/>
              <a:gd name="connsiteX2" fmla="*/ 1086256 w 1086256"/>
              <a:gd name="connsiteY2" fmla="*/ 4246 h 964363"/>
              <a:gd name="connsiteX3" fmla="*/ 1016940 w 1086256"/>
              <a:gd name="connsiteY3" fmla="*/ 960119 h 964363"/>
              <a:gd name="connsiteX4" fmla="*/ 0 w 1086256"/>
              <a:gd name="connsiteY4" fmla="*/ 964363 h 964363"/>
              <a:gd name="connsiteX0" fmla="*/ 0 w 1086256"/>
              <a:gd name="connsiteY0" fmla="*/ 964363 h 968614"/>
              <a:gd name="connsiteX1" fmla="*/ 418641 w 1086256"/>
              <a:gd name="connsiteY1" fmla="*/ 0 h 968614"/>
              <a:gd name="connsiteX2" fmla="*/ 1086256 w 1086256"/>
              <a:gd name="connsiteY2" fmla="*/ 4246 h 968614"/>
              <a:gd name="connsiteX3" fmla="*/ 1007514 w 1086256"/>
              <a:gd name="connsiteY3" fmla="*/ 968614 h 968614"/>
              <a:gd name="connsiteX4" fmla="*/ 0 w 1086256"/>
              <a:gd name="connsiteY4" fmla="*/ 964363 h 968614"/>
              <a:gd name="connsiteX0" fmla="*/ 0 w 1086256"/>
              <a:gd name="connsiteY0" fmla="*/ 964363 h 968614"/>
              <a:gd name="connsiteX1" fmla="*/ 442289 w 1086256"/>
              <a:gd name="connsiteY1" fmla="*/ 0 h 968614"/>
              <a:gd name="connsiteX2" fmla="*/ 1086256 w 1086256"/>
              <a:gd name="connsiteY2" fmla="*/ 4246 h 968614"/>
              <a:gd name="connsiteX3" fmla="*/ 1007514 w 1086256"/>
              <a:gd name="connsiteY3" fmla="*/ 968614 h 968614"/>
              <a:gd name="connsiteX4" fmla="*/ 0 w 1086256"/>
              <a:gd name="connsiteY4" fmla="*/ 964363 h 968614"/>
              <a:gd name="connsiteX0" fmla="*/ 0 w 1070490"/>
              <a:gd name="connsiteY0" fmla="*/ 9643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64363 h 968614"/>
              <a:gd name="connsiteX0" fmla="*/ 0 w 1070490"/>
              <a:gd name="connsiteY0" fmla="*/ 9572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57263 h 968614"/>
              <a:gd name="connsiteX0" fmla="*/ 0 w 1070490"/>
              <a:gd name="connsiteY0" fmla="*/ 9572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57263 h 968614"/>
              <a:gd name="connsiteX0" fmla="*/ 0 w 1070490"/>
              <a:gd name="connsiteY0" fmla="*/ 9572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57263 h 968614"/>
              <a:gd name="connsiteX0" fmla="*/ 0 w 1070490"/>
              <a:gd name="connsiteY0" fmla="*/ 957263 h 968614"/>
              <a:gd name="connsiteX1" fmla="*/ 426523 w 1070490"/>
              <a:gd name="connsiteY1" fmla="*/ 0 h 968614"/>
              <a:gd name="connsiteX2" fmla="*/ 1070490 w 1070490"/>
              <a:gd name="connsiteY2" fmla="*/ 4246 h 968614"/>
              <a:gd name="connsiteX3" fmla="*/ 991748 w 1070490"/>
              <a:gd name="connsiteY3" fmla="*/ 968614 h 968614"/>
              <a:gd name="connsiteX4" fmla="*/ 0 w 1070490"/>
              <a:gd name="connsiteY4" fmla="*/ 957263 h 968614"/>
              <a:gd name="connsiteX0" fmla="*/ 0 w 1070490"/>
              <a:gd name="connsiteY0" fmla="*/ 953017 h 964368"/>
              <a:gd name="connsiteX1" fmla="*/ 410480 w 1070490"/>
              <a:gd name="connsiteY1" fmla="*/ 3000 h 964368"/>
              <a:gd name="connsiteX2" fmla="*/ 1070490 w 1070490"/>
              <a:gd name="connsiteY2" fmla="*/ 0 h 964368"/>
              <a:gd name="connsiteX3" fmla="*/ 991748 w 1070490"/>
              <a:gd name="connsiteY3" fmla="*/ 964368 h 964368"/>
              <a:gd name="connsiteX4" fmla="*/ 0 w 1070490"/>
              <a:gd name="connsiteY4" fmla="*/ 953017 h 964368"/>
              <a:gd name="connsiteX0" fmla="*/ 0 w 1070490"/>
              <a:gd name="connsiteY0" fmla="*/ 953017 h 964368"/>
              <a:gd name="connsiteX1" fmla="*/ 410480 w 1070490"/>
              <a:gd name="connsiteY1" fmla="*/ 3000 h 964368"/>
              <a:gd name="connsiteX2" fmla="*/ 1070490 w 1070490"/>
              <a:gd name="connsiteY2" fmla="*/ 0 h 964368"/>
              <a:gd name="connsiteX3" fmla="*/ 991748 w 1070490"/>
              <a:gd name="connsiteY3" fmla="*/ 964368 h 964368"/>
              <a:gd name="connsiteX4" fmla="*/ 0 w 1070490"/>
              <a:gd name="connsiteY4" fmla="*/ 953017 h 964368"/>
              <a:gd name="connsiteX0" fmla="*/ 0 w 1094554"/>
              <a:gd name="connsiteY0" fmla="*/ 967624 h 967624"/>
              <a:gd name="connsiteX1" fmla="*/ 434544 w 1094554"/>
              <a:gd name="connsiteY1" fmla="*/ 3000 h 967624"/>
              <a:gd name="connsiteX2" fmla="*/ 1094554 w 1094554"/>
              <a:gd name="connsiteY2" fmla="*/ 0 h 967624"/>
              <a:gd name="connsiteX3" fmla="*/ 1015812 w 1094554"/>
              <a:gd name="connsiteY3" fmla="*/ 964368 h 967624"/>
              <a:gd name="connsiteX4" fmla="*/ 0 w 1094554"/>
              <a:gd name="connsiteY4" fmla="*/ 967624 h 967624"/>
              <a:gd name="connsiteX0" fmla="*/ 0 w 1094554"/>
              <a:gd name="connsiteY0" fmla="*/ 967624 h 986871"/>
              <a:gd name="connsiteX1" fmla="*/ 434544 w 1094554"/>
              <a:gd name="connsiteY1" fmla="*/ 3000 h 986871"/>
              <a:gd name="connsiteX2" fmla="*/ 1094554 w 1094554"/>
              <a:gd name="connsiteY2" fmla="*/ 0 h 986871"/>
              <a:gd name="connsiteX3" fmla="*/ 1015812 w 1094554"/>
              <a:gd name="connsiteY3" fmla="*/ 986871 h 986871"/>
              <a:gd name="connsiteX4" fmla="*/ 0 w 1094554"/>
              <a:gd name="connsiteY4" fmla="*/ 967624 h 986871"/>
              <a:gd name="connsiteX0" fmla="*/ 0 w 1094554"/>
              <a:gd name="connsiteY0" fmla="*/ 967624 h 975619"/>
              <a:gd name="connsiteX1" fmla="*/ 434544 w 1094554"/>
              <a:gd name="connsiteY1" fmla="*/ 3000 h 975619"/>
              <a:gd name="connsiteX2" fmla="*/ 1094554 w 1094554"/>
              <a:gd name="connsiteY2" fmla="*/ 0 h 975619"/>
              <a:gd name="connsiteX3" fmla="*/ 991098 w 1094554"/>
              <a:gd name="connsiteY3" fmla="*/ 975619 h 975619"/>
              <a:gd name="connsiteX4" fmla="*/ 0 w 1094554"/>
              <a:gd name="connsiteY4" fmla="*/ 967624 h 975619"/>
              <a:gd name="connsiteX0" fmla="*/ 0 w 1094554"/>
              <a:gd name="connsiteY0" fmla="*/ 967624 h 975619"/>
              <a:gd name="connsiteX1" fmla="*/ 434544 w 1094554"/>
              <a:gd name="connsiteY1" fmla="*/ 3000 h 975619"/>
              <a:gd name="connsiteX2" fmla="*/ 1094554 w 1094554"/>
              <a:gd name="connsiteY2" fmla="*/ 0 h 975619"/>
              <a:gd name="connsiteX3" fmla="*/ 1003454 w 1094554"/>
              <a:gd name="connsiteY3" fmla="*/ 975619 h 975619"/>
              <a:gd name="connsiteX4" fmla="*/ 0 w 1094554"/>
              <a:gd name="connsiteY4" fmla="*/ 967624 h 975619"/>
              <a:gd name="connsiteX0" fmla="*/ 0 w 1094554"/>
              <a:gd name="connsiteY0" fmla="*/ 964624 h 972619"/>
              <a:gd name="connsiteX1" fmla="*/ 434544 w 1094554"/>
              <a:gd name="connsiteY1" fmla="*/ 0 h 972619"/>
              <a:gd name="connsiteX2" fmla="*/ 1094554 w 1094554"/>
              <a:gd name="connsiteY2" fmla="*/ 6684 h 972619"/>
              <a:gd name="connsiteX3" fmla="*/ 1003454 w 1094554"/>
              <a:gd name="connsiteY3" fmla="*/ 972619 h 972619"/>
              <a:gd name="connsiteX4" fmla="*/ 0 w 1094554"/>
              <a:gd name="connsiteY4" fmla="*/ 964624 h 972619"/>
              <a:gd name="connsiteX0" fmla="*/ 0 w 1094554"/>
              <a:gd name="connsiteY0" fmla="*/ 958073 h 966068"/>
              <a:gd name="connsiteX1" fmla="*/ 409735 w 1094554"/>
              <a:gd name="connsiteY1" fmla="*/ 0 h 966068"/>
              <a:gd name="connsiteX2" fmla="*/ 1094554 w 1094554"/>
              <a:gd name="connsiteY2" fmla="*/ 133 h 966068"/>
              <a:gd name="connsiteX3" fmla="*/ 1003454 w 1094554"/>
              <a:gd name="connsiteY3" fmla="*/ 966068 h 966068"/>
              <a:gd name="connsiteX4" fmla="*/ 0 w 1094554"/>
              <a:gd name="connsiteY4" fmla="*/ 958073 h 966068"/>
              <a:gd name="connsiteX0" fmla="*/ 0 w 1094554"/>
              <a:gd name="connsiteY0" fmla="*/ 958073 h 972620"/>
              <a:gd name="connsiteX1" fmla="*/ 409735 w 1094554"/>
              <a:gd name="connsiteY1" fmla="*/ 0 h 972620"/>
              <a:gd name="connsiteX2" fmla="*/ 1094554 w 1094554"/>
              <a:gd name="connsiteY2" fmla="*/ 133 h 972620"/>
              <a:gd name="connsiteX3" fmla="*/ 1088514 w 1094554"/>
              <a:gd name="connsiteY3" fmla="*/ 972620 h 972620"/>
              <a:gd name="connsiteX4" fmla="*/ 0 w 1094554"/>
              <a:gd name="connsiteY4" fmla="*/ 958073 h 972620"/>
              <a:gd name="connsiteX0" fmla="*/ 0 w 1094554"/>
              <a:gd name="connsiteY0" fmla="*/ 961346 h 975893"/>
              <a:gd name="connsiteX1" fmla="*/ 399102 w 1094554"/>
              <a:gd name="connsiteY1" fmla="*/ 0 h 975893"/>
              <a:gd name="connsiteX2" fmla="*/ 1094554 w 1094554"/>
              <a:gd name="connsiteY2" fmla="*/ 3406 h 975893"/>
              <a:gd name="connsiteX3" fmla="*/ 1088514 w 1094554"/>
              <a:gd name="connsiteY3" fmla="*/ 975893 h 975893"/>
              <a:gd name="connsiteX4" fmla="*/ 0 w 1094554"/>
              <a:gd name="connsiteY4" fmla="*/ 961346 h 975893"/>
              <a:gd name="connsiteX0" fmla="*/ 0 w 1027216"/>
              <a:gd name="connsiteY0" fmla="*/ 971173 h 975893"/>
              <a:gd name="connsiteX1" fmla="*/ 331764 w 1027216"/>
              <a:gd name="connsiteY1" fmla="*/ 0 h 975893"/>
              <a:gd name="connsiteX2" fmla="*/ 1027216 w 1027216"/>
              <a:gd name="connsiteY2" fmla="*/ 3406 h 975893"/>
              <a:gd name="connsiteX3" fmla="*/ 1021176 w 1027216"/>
              <a:gd name="connsiteY3" fmla="*/ 975893 h 975893"/>
              <a:gd name="connsiteX4" fmla="*/ 0 w 1027216"/>
              <a:gd name="connsiteY4" fmla="*/ 971173 h 975893"/>
              <a:gd name="connsiteX0" fmla="*/ 0 w 1027216"/>
              <a:gd name="connsiteY0" fmla="*/ 971173 h 975893"/>
              <a:gd name="connsiteX1" fmla="*/ 331764 w 1027216"/>
              <a:gd name="connsiteY1" fmla="*/ 0 h 975893"/>
              <a:gd name="connsiteX2" fmla="*/ 1027216 w 1027216"/>
              <a:gd name="connsiteY2" fmla="*/ 3406 h 975893"/>
              <a:gd name="connsiteX3" fmla="*/ 1021176 w 1027216"/>
              <a:gd name="connsiteY3" fmla="*/ 975893 h 975893"/>
              <a:gd name="connsiteX4" fmla="*/ 0 w 1027216"/>
              <a:gd name="connsiteY4" fmla="*/ 971173 h 975893"/>
              <a:gd name="connsiteX0" fmla="*/ 0 w 1027216"/>
              <a:gd name="connsiteY0" fmla="*/ 971173 h 975893"/>
              <a:gd name="connsiteX1" fmla="*/ 331764 w 1027216"/>
              <a:gd name="connsiteY1" fmla="*/ 0 h 975893"/>
              <a:gd name="connsiteX2" fmla="*/ 1027216 w 1027216"/>
              <a:gd name="connsiteY2" fmla="*/ 3406 h 975893"/>
              <a:gd name="connsiteX3" fmla="*/ 1021176 w 1027216"/>
              <a:gd name="connsiteY3" fmla="*/ 975893 h 975893"/>
              <a:gd name="connsiteX4" fmla="*/ 0 w 1027216"/>
              <a:gd name="connsiteY4" fmla="*/ 971173 h 975893"/>
              <a:gd name="connsiteX0" fmla="*/ 0 w 1027216"/>
              <a:gd name="connsiteY0" fmla="*/ 967767 h 972487"/>
              <a:gd name="connsiteX1" fmla="*/ 343194 w 1027216"/>
              <a:gd name="connsiteY1" fmla="*/ 3638 h 972487"/>
              <a:gd name="connsiteX2" fmla="*/ 1027216 w 1027216"/>
              <a:gd name="connsiteY2" fmla="*/ 0 h 972487"/>
              <a:gd name="connsiteX3" fmla="*/ 1021176 w 1027216"/>
              <a:gd name="connsiteY3" fmla="*/ 972487 h 972487"/>
              <a:gd name="connsiteX4" fmla="*/ 0 w 1027216"/>
              <a:gd name="connsiteY4" fmla="*/ 967767 h 972487"/>
              <a:gd name="connsiteX0" fmla="*/ 0 w 1027216"/>
              <a:gd name="connsiteY0" fmla="*/ 974689 h 979409"/>
              <a:gd name="connsiteX1" fmla="*/ 350814 w 1027216"/>
              <a:gd name="connsiteY1" fmla="*/ 0 h 979409"/>
              <a:gd name="connsiteX2" fmla="*/ 1027216 w 1027216"/>
              <a:gd name="connsiteY2" fmla="*/ 6922 h 979409"/>
              <a:gd name="connsiteX3" fmla="*/ 1021176 w 1027216"/>
              <a:gd name="connsiteY3" fmla="*/ 979409 h 979409"/>
              <a:gd name="connsiteX4" fmla="*/ 0 w 1027216"/>
              <a:gd name="connsiteY4" fmla="*/ 974689 h 979409"/>
              <a:gd name="connsiteX0" fmla="*/ 0 w 1027216"/>
              <a:gd name="connsiteY0" fmla="*/ 974689 h 979409"/>
              <a:gd name="connsiteX1" fmla="*/ 350814 w 1027216"/>
              <a:gd name="connsiteY1" fmla="*/ 0 h 979409"/>
              <a:gd name="connsiteX2" fmla="*/ 1027216 w 1027216"/>
              <a:gd name="connsiteY2" fmla="*/ 6922 h 979409"/>
              <a:gd name="connsiteX3" fmla="*/ 1021176 w 1027216"/>
              <a:gd name="connsiteY3" fmla="*/ 979409 h 979409"/>
              <a:gd name="connsiteX4" fmla="*/ 0 w 1027216"/>
              <a:gd name="connsiteY4" fmla="*/ 974689 h 979409"/>
              <a:gd name="connsiteX0" fmla="*/ 0 w 1027216"/>
              <a:gd name="connsiteY0" fmla="*/ 967767 h 972487"/>
              <a:gd name="connsiteX1" fmla="*/ 347004 w 1027216"/>
              <a:gd name="connsiteY1" fmla="*/ 3640 h 972487"/>
              <a:gd name="connsiteX2" fmla="*/ 1027216 w 1027216"/>
              <a:gd name="connsiteY2" fmla="*/ 0 h 972487"/>
              <a:gd name="connsiteX3" fmla="*/ 1021176 w 1027216"/>
              <a:gd name="connsiteY3" fmla="*/ 972487 h 972487"/>
              <a:gd name="connsiteX4" fmla="*/ 0 w 1027216"/>
              <a:gd name="connsiteY4" fmla="*/ 967767 h 972487"/>
              <a:gd name="connsiteX0" fmla="*/ 0 w 1027216"/>
              <a:gd name="connsiteY0" fmla="*/ 974687 h 979407"/>
              <a:gd name="connsiteX1" fmla="*/ 347004 w 1027216"/>
              <a:gd name="connsiteY1" fmla="*/ 0 h 979407"/>
              <a:gd name="connsiteX2" fmla="*/ 1027216 w 1027216"/>
              <a:gd name="connsiteY2" fmla="*/ 6920 h 979407"/>
              <a:gd name="connsiteX3" fmla="*/ 1021176 w 1027216"/>
              <a:gd name="connsiteY3" fmla="*/ 979407 h 979407"/>
              <a:gd name="connsiteX4" fmla="*/ 0 w 1027216"/>
              <a:gd name="connsiteY4" fmla="*/ 974687 h 979407"/>
              <a:gd name="connsiteX0" fmla="*/ 0 w 1027216"/>
              <a:gd name="connsiteY0" fmla="*/ 967767 h 972487"/>
              <a:gd name="connsiteX1" fmla="*/ 343194 w 1027216"/>
              <a:gd name="connsiteY1" fmla="*/ 122 h 972487"/>
              <a:gd name="connsiteX2" fmla="*/ 1027216 w 1027216"/>
              <a:gd name="connsiteY2" fmla="*/ 0 h 972487"/>
              <a:gd name="connsiteX3" fmla="*/ 1021176 w 1027216"/>
              <a:gd name="connsiteY3" fmla="*/ 972487 h 972487"/>
              <a:gd name="connsiteX4" fmla="*/ 0 w 1027216"/>
              <a:gd name="connsiteY4" fmla="*/ 967767 h 972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216" h="972487">
                <a:moveTo>
                  <a:pt x="0" y="967767"/>
                </a:moveTo>
                <a:cubicBezTo>
                  <a:pt x="116494" y="633127"/>
                  <a:pt x="219610" y="338041"/>
                  <a:pt x="343194" y="122"/>
                </a:cubicBezTo>
                <a:lnTo>
                  <a:pt x="1027216" y="0"/>
                </a:lnTo>
                <a:cubicBezTo>
                  <a:pt x="1025203" y="324162"/>
                  <a:pt x="1023189" y="648325"/>
                  <a:pt x="1021176" y="972487"/>
                </a:cubicBezTo>
                <a:lnTo>
                  <a:pt x="0" y="967767"/>
                </a:lnTo>
                <a:close/>
              </a:path>
            </a:pathLst>
          </a:custGeom>
          <a:solidFill>
            <a:srgbClr val="7499C6"/>
          </a:solidFill>
          <a:ln w="25400" cap="flat" cmpd="sng" algn="ctr">
            <a:solidFill>
              <a:srgbClr val="7499C6"/>
            </a:solidFill>
            <a:prstDash val="solid"/>
          </a:ln>
          <a:effectLst/>
        </p:spPr>
        <p:txBody>
          <a:bodyPr rtlCol="0" anchor="ctr"/>
          <a:lstStyle/>
          <a:p>
            <a:pPr algn="ctr">
              <a:defRPr/>
            </a:pPr>
            <a:endParaRPr lang="en-US" kern="0" dirty="0">
              <a:solidFill>
                <a:prstClr val="white"/>
              </a:solidFill>
              <a:latin typeface="Calibri"/>
            </a:endParaRPr>
          </a:p>
        </p:txBody>
      </p:sp>
      <p:sp>
        <p:nvSpPr>
          <p:cNvPr id="55" name="Trapezoid 48"/>
          <p:cNvSpPr/>
          <p:nvPr/>
        </p:nvSpPr>
        <p:spPr>
          <a:xfrm rot="5400000" flipV="1">
            <a:off x="4902153" y="1155178"/>
            <a:ext cx="1371600" cy="1059161"/>
          </a:xfrm>
          <a:custGeom>
            <a:avLst/>
            <a:gdLst>
              <a:gd name="connsiteX0" fmla="*/ 0 w 1261872"/>
              <a:gd name="connsiteY0" fmla="*/ 960120 h 960120"/>
              <a:gd name="connsiteX1" fmla="*/ 247087 w 1261872"/>
              <a:gd name="connsiteY1" fmla="*/ 0 h 960120"/>
              <a:gd name="connsiteX2" fmla="*/ 1014785 w 1261872"/>
              <a:gd name="connsiteY2" fmla="*/ 0 h 960120"/>
              <a:gd name="connsiteX3" fmla="*/ 1261872 w 1261872"/>
              <a:gd name="connsiteY3" fmla="*/ 960120 h 960120"/>
              <a:gd name="connsiteX4" fmla="*/ 0 w 1261872"/>
              <a:gd name="connsiteY4" fmla="*/ 960120 h 960120"/>
              <a:gd name="connsiteX0" fmla="*/ 0 w 1519610"/>
              <a:gd name="connsiteY0" fmla="*/ 969645 h 969645"/>
              <a:gd name="connsiteX1" fmla="*/ 247087 w 1519610"/>
              <a:gd name="connsiteY1" fmla="*/ 9525 h 969645"/>
              <a:gd name="connsiteX2" fmla="*/ 1519610 w 1519610"/>
              <a:gd name="connsiteY2" fmla="*/ 0 h 969645"/>
              <a:gd name="connsiteX3" fmla="*/ 1261872 w 1519610"/>
              <a:gd name="connsiteY3" fmla="*/ 969645 h 969645"/>
              <a:gd name="connsiteX4" fmla="*/ 0 w 1519610"/>
              <a:gd name="connsiteY4" fmla="*/ 969645 h 969645"/>
              <a:gd name="connsiteX0" fmla="*/ 0 w 1519610"/>
              <a:gd name="connsiteY0" fmla="*/ 969645 h 969645"/>
              <a:gd name="connsiteX1" fmla="*/ 770962 w 1519610"/>
              <a:gd name="connsiteY1" fmla="*/ 19053 h 969645"/>
              <a:gd name="connsiteX2" fmla="*/ 1519610 w 1519610"/>
              <a:gd name="connsiteY2" fmla="*/ 0 h 969645"/>
              <a:gd name="connsiteX3" fmla="*/ 1261872 w 1519610"/>
              <a:gd name="connsiteY3" fmla="*/ 969645 h 969645"/>
              <a:gd name="connsiteX4" fmla="*/ 0 w 1519610"/>
              <a:gd name="connsiteY4" fmla="*/ 969645 h 969645"/>
              <a:gd name="connsiteX0" fmla="*/ 0 w 1519610"/>
              <a:gd name="connsiteY0" fmla="*/ 978299 h 978299"/>
              <a:gd name="connsiteX1" fmla="*/ 784817 w 1519610"/>
              <a:gd name="connsiteY1" fmla="*/ 0 h 978299"/>
              <a:gd name="connsiteX2" fmla="*/ 1519610 w 1519610"/>
              <a:gd name="connsiteY2" fmla="*/ 8654 h 978299"/>
              <a:gd name="connsiteX3" fmla="*/ 1261872 w 1519610"/>
              <a:gd name="connsiteY3" fmla="*/ 978299 h 978299"/>
              <a:gd name="connsiteX4" fmla="*/ 0 w 1519610"/>
              <a:gd name="connsiteY4" fmla="*/ 978299 h 978299"/>
              <a:gd name="connsiteX0" fmla="*/ 0 w 1519610"/>
              <a:gd name="connsiteY0" fmla="*/ 969645 h 969645"/>
              <a:gd name="connsiteX1" fmla="*/ 781353 w 1519610"/>
              <a:gd name="connsiteY1" fmla="*/ 8668 h 969645"/>
              <a:gd name="connsiteX2" fmla="*/ 1519610 w 1519610"/>
              <a:gd name="connsiteY2" fmla="*/ 0 h 969645"/>
              <a:gd name="connsiteX3" fmla="*/ 1261872 w 1519610"/>
              <a:gd name="connsiteY3" fmla="*/ 969645 h 969645"/>
              <a:gd name="connsiteX4" fmla="*/ 0 w 1519610"/>
              <a:gd name="connsiteY4" fmla="*/ 969645 h 969645"/>
              <a:gd name="connsiteX0" fmla="*/ 0 w 1519610"/>
              <a:gd name="connsiteY0" fmla="*/ 974830 h 974830"/>
              <a:gd name="connsiteX1" fmla="*/ 781353 w 1519610"/>
              <a:gd name="connsiteY1" fmla="*/ 0 h 974830"/>
              <a:gd name="connsiteX2" fmla="*/ 1519610 w 1519610"/>
              <a:gd name="connsiteY2" fmla="*/ 5185 h 974830"/>
              <a:gd name="connsiteX3" fmla="*/ 1261872 w 1519610"/>
              <a:gd name="connsiteY3" fmla="*/ 974830 h 974830"/>
              <a:gd name="connsiteX4" fmla="*/ 0 w 1519610"/>
              <a:gd name="connsiteY4" fmla="*/ 974830 h 974830"/>
              <a:gd name="connsiteX0" fmla="*/ 0 w 1519610"/>
              <a:gd name="connsiteY0" fmla="*/ 971367 h 971367"/>
              <a:gd name="connsiteX1" fmla="*/ 784817 w 1519610"/>
              <a:gd name="connsiteY1" fmla="*/ 0 h 971367"/>
              <a:gd name="connsiteX2" fmla="*/ 1519610 w 1519610"/>
              <a:gd name="connsiteY2" fmla="*/ 1722 h 971367"/>
              <a:gd name="connsiteX3" fmla="*/ 1261872 w 1519610"/>
              <a:gd name="connsiteY3" fmla="*/ 971367 h 971367"/>
              <a:gd name="connsiteX4" fmla="*/ 0 w 1519610"/>
              <a:gd name="connsiteY4" fmla="*/ 971367 h 971367"/>
              <a:gd name="connsiteX0" fmla="*/ 0 w 1629647"/>
              <a:gd name="connsiteY0" fmla="*/ 979691 h 979691"/>
              <a:gd name="connsiteX1" fmla="*/ 784817 w 1629647"/>
              <a:gd name="connsiteY1" fmla="*/ 8324 h 979691"/>
              <a:gd name="connsiteX2" fmla="*/ 1629647 w 1629647"/>
              <a:gd name="connsiteY2" fmla="*/ 0 h 979691"/>
              <a:gd name="connsiteX3" fmla="*/ 1261872 w 1629647"/>
              <a:gd name="connsiteY3" fmla="*/ 979691 h 979691"/>
              <a:gd name="connsiteX4" fmla="*/ 0 w 1629647"/>
              <a:gd name="connsiteY4" fmla="*/ 979691 h 979691"/>
              <a:gd name="connsiteX0" fmla="*/ 0 w 1629647"/>
              <a:gd name="connsiteY0" fmla="*/ 979691 h 979691"/>
              <a:gd name="connsiteX1" fmla="*/ 784817 w 1629647"/>
              <a:gd name="connsiteY1" fmla="*/ 8324 h 979691"/>
              <a:gd name="connsiteX2" fmla="*/ 1629647 w 1629647"/>
              <a:gd name="connsiteY2" fmla="*/ 0 h 979691"/>
              <a:gd name="connsiteX3" fmla="*/ 1234364 w 1629647"/>
              <a:gd name="connsiteY3" fmla="*/ 979691 h 979691"/>
              <a:gd name="connsiteX4" fmla="*/ 0 w 1629647"/>
              <a:gd name="connsiteY4" fmla="*/ 979691 h 979691"/>
              <a:gd name="connsiteX0" fmla="*/ 0 w 1629647"/>
              <a:gd name="connsiteY0" fmla="*/ 979691 h 979691"/>
              <a:gd name="connsiteX1" fmla="*/ 784817 w 1629647"/>
              <a:gd name="connsiteY1" fmla="*/ 8324 h 979691"/>
              <a:gd name="connsiteX2" fmla="*/ 1629647 w 1629647"/>
              <a:gd name="connsiteY2" fmla="*/ 0 h 979691"/>
              <a:gd name="connsiteX3" fmla="*/ 1414666 w 1629647"/>
              <a:gd name="connsiteY3" fmla="*/ 512941 h 979691"/>
              <a:gd name="connsiteX4" fmla="*/ 1234364 w 1629647"/>
              <a:gd name="connsiteY4" fmla="*/ 979691 h 979691"/>
              <a:gd name="connsiteX5" fmla="*/ 0 w 1629647"/>
              <a:gd name="connsiteY5" fmla="*/ 979691 h 979691"/>
              <a:gd name="connsiteX0" fmla="*/ 0 w 1684664"/>
              <a:gd name="connsiteY0" fmla="*/ 971367 h 971367"/>
              <a:gd name="connsiteX1" fmla="*/ 784817 w 1684664"/>
              <a:gd name="connsiteY1" fmla="*/ 0 h 971367"/>
              <a:gd name="connsiteX2" fmla="*/ 1684664 w 1684664"/>
              <a:gd name="connsiteY2" fmla="*/ 1723 h 971367"/>
              <a:gd name="connsiteX3" fmla="*/ 1414666 w 1684664"/>
              <a:gd name="connsiteY3" fmla="*/ 504617 h 971367"/>
              <a:gd name="connsiteX4" fmla="*/ 1234364 w 1684664"/>
              <a:gd name="connsiteY4" fmla="*/ 971367 h 971367"/>
              <a:gd name="connsiteX5" fmla="*/ 0 w 1684664"/>
              <a:gd name="connsiteY5" fmla="*/ 971367 h 971367"/>
              <a:gd name="connsiteX0" fmla="*/ 0 w 1684664"/>
              <a:gd name="connsiteY0" fmla="*/ 969644 h 969644"/>
              <a:gd name="connsiteX1" fmla="*/ 812325 w 1684664"/>
              <a:gd name="connsiteY1" fmla="*/ 8327 h 969644"/>
              <a:gd name="connsiteX2" fmla="*/ 1684664 w 1684664"/>
              <a:gd name="connsiteY2" fmla="*/ 0 h 969644"/>
              <a:gd name="connsiteX3" fmla="*/ 1414666 w 1684664"/>
              <a:gd name="connsiteY3" fmla="*/ 502894 h 969644"/>
              <a:gd name="connsiteX4" fmla="*/ 1234364 w 1684664"/>
              <a:gd name="connsiteY4" fmla="*/ 969644 h 969644"/>
              <a:gd name="connsiteX5" fmla="*/ 0 w 1684664"/>
              <a:gd name="connsiteY5" fmla="*/ 969644 h 969644"/>
              <a:gd name="connsiteX0" fmla="*/ 0 w 1684664"/>
              <a:gd name="connsiteY0" fmla="*/ 969644 h 969644"/>
              <a:gd name="connsiteX1" fmla="*/ 798571 w 1684664"/>
              <a:gd name="connsiteY1" fmla="*/ 8330 h 969644"/>
              <a:gd name="connsiteX2" fmla="*/ 1684664 w 1684664"/>
              <a:gd name="connsiteY2" fmla="*/ 0 h 969644"/>
              <a:gd name="connsiteX3" fmla="*/ 1414666 w 1684664"/>
              <a:gd name="connsiteY3" fmla="*/ 502894 h 969644"/>
              <a:gd name="connsiteX4" fmla="*/ 1234364 w 1684664"/>
              <a:gd name="connsiteY4" fmla="*/ 969644 h 969644"/>
              <a:gd name="connsiteX5" fmla="*/ 0 w 1684664"/>
              <a:gd name="connsiteY5" fmla="*/ 969644 h 969644"/>
              <a:gd name="connsiteX0" fmla="*/ 0 w 1684664"/>
              <a:gd name="connsiteY0" fmla="*/ 969644 h 969644"/>
              <a:gd name="connsiteX1" fmla="*/ 798571 w 1684664"/>
              <a:gd name="connsiteY1" fmla="*/ 8330 h 969644"/>
              <a:gd name="connsiteX2" fmla="*/ 1684664 w 1684664"/>
              <a:gd name="connsiteY2" fmla="*/ 0 h 969644"/>
              <a:gd name="connsiteX3" fmla="*/ 1414666 w 1684664"/>
              <a:gd name="connsiteY3" fmla="*/ 502894 h 969644"/>
              <a:gd name="connsiteX4" fmla="*/ 1234364 w 1684664"/>
              <a:gd name="connsiteY4" fmla="*/ 969644 h 969644"/>
              <a:gd name="connsiteX5" fmla="*/ 0 w 1684664"/>
              <a:gd name="connsiteY5" fmla="*/ 969644 h 969644"/>
              <a:gd name="connsiteX0" fmla="*/ 0 w 1684664"/>
              <a:gd name="connsiteY0" fmla="*/ 972273 h 972273"/>
              <a:gd name="connsiteX1" fmla="*/ 825912 w 1684664"/>
              <a:gd name="connsiteY1" fmla="*/ 5968 h 972273"/>
              <a:gd name="connsiteX2" fmla="*/ 1684664 w 1684664"/>
              <a:gd name="connsiteY2" fmla="*/ 2629 h 972273"/>
              <a:gd name="connsiteX3" fmla="*/ 1414666 w 1684664"/>
              <a:gd name="connsiteY3" fmla="*/ 505523 h 972273"/>
              <a:gd name="connsiteX4" fmla="*/ 1234364 w 1684664"/>
              <a:gd name="connsiteY4" fmla="*/ 972273 h 972273"/>
              <a:gd name="connsiteX5" fmla="*/ 0 w 1684664"/>
              <a:gd name="connsiteY5" fmla="*/ 972273 h 972273"/>
              <a:gd name="connsiteX0" fmla="*/ 0 w 1684664"/>
              <a:gd name="connsiteY0" fmla="*/ 972273 h 972273"/>
              <a:gd name="connsiteX1" fmla="*/ 825912 w 1684664"/>
              <a:gd name="connsiteY1" fmla="*/ 5968 h 972273"/>
              <a:gd name="connsiteX2" fmla="*/ 1684664 w 1684664"/>
              <a:gd name="connsiteY2" fmla="*/ 2629 h 972273"/>
              <a:gd name="connsiteX3" fmla="*/ 1435171 w 1684664"/>
              <a:gd name="connsiteY3" fmla="*/ 510519 h 972273"/>
              <a:gd name="connsiteX4" fmla="*/ 1234364 w 1684664"/>
              <a:gd name="connsiteY4" fmla="*/ 972273 h 972273"/>
              <a:gd name="connsiteX5" fmla="*/ 0 w 1684664"/>
              <a:gd name="connsiteY5" fmla="*/ 972273 h 972273"/>
              <a:gd name="connsiteX0" fmla="*/ 0 w 1807702"/>
              <a:gd name="connsiteY0" fmla="*/ 972275 h 972275"/>
              <a:gd name="connsiteX1" fmla="*/ 948950 w 1807702"/>
              <a:gd name="connsiteY1" fmla="*/ 5968 h 972275"/>
              <a:gd name="connsiteX2" fmla="*/ 1807702 w 1807702"/>
              <a:gd name="connsiteY2" fmla="*/ 2629 h 972275"/>
              <a:gd name="connsiteX3" fmla="*/ 1558209 w 1807702"/>
              <a:gd name="connsiteY3" fmla="*/ 510519 h 972275"/>
              <a:gd name="connsiteX4" fmla="*/ 1357402 w 1807702"/>
              <a:gd name="connsiteY4" fmla="*/ 972273 h 972275"/>
              <a:gd name="connsiteX5" fmla="*/ 0 w 1807702"/>
              <a:gd name="connsiteY5" fmla="*/ 972275 h 972275"/>
              <a:gd name="connsiteX0" fmla="*/ 0 w 1807702"/>
              <a:gd name="connsiteY0" fmla="*/ 972275 h 972275"/>
              <a:gd name="connsiteX1" fmla="*/ 948950 w 1807702"/>
              <a:gd name="connsiteY1" fmla="*/ 5968 h 972275"/>
              <a:gd name="connsiteX2" fmla="*/ 1807702 w 1807702"/>
              <a:gd name="connsiteY2" fmla="*/ 2629 h 972275"/>
              <a:gd name="connsiteX3" fmla="*/ 1558209 w 1807702"/>
              <a:gd name="connsiteY3" fmla="*/ 510519 h 972275"/>
              <a:gd name="connsiteX4" fmla="*/ 1254872 w 1807702"/>
              <a:gd name="connsiteY4" fmla="*/ 972273 h 972275"/>
              <a:gd name="connsiteX5" fmla="*/ 0 w 1807702"/>
              <a:gd name="connsiteY5" fmla="*/ 972275 h 972275"/>
              <a:gd name="connsiteX0" fmla="*/ 0 w 1807702"/>
              <a:gd name="connsiteY0" fmla="*/ 972275 h 972275"/>
              <a:gd name="connsiteX1" fmla="*/ 948950 w 1807702"/>
              <a:gd name="connsiteY1" fmla="*/ 5968 h 972275"/>
              <a:gd name="connsiteX2" fmla="*/ 1807702 w 1807702"/>
              <a:gd name="connsiteY2" fmla="*/ 2629 h 972275"/>
              <a:gd name="connsiteX3" fmla="*/ 1524032 w 1807702"/>
              <a:gd name="connsiteY3" fmla="*/ 505526 h 972275"/>
              <a:gd name="connsiteX4" fmla="*/ 1254872 w 1807702"/>
              <a:gd name="connsiteY4" fmla="*/ 972273 h 972275"/>
              <a:gd name="connsiteX5" fmla="*/ 0 w 1807702"/>
              <a:gd name="connsiteY5" fmla="*/ 972275 h 972275"/>
              <a:gd name="connsiteX0" fmla="*/ 0 w 1757202"/>
              <a:gd name="connsiteY0" fmla="*/ 972275 h 972275"/>
              <a:gd name="connsiteX1" fmla="*/ 948950 w 1757202"/>
              <a:gd name="connsiteY1" fmla="*/ 5968 h 972275"/>
              <a:gd name="connsiteX2" fmla="*/ 1757202 w 1757202"/>
              <a:gd name="connsiteY2" fmla="*/ 2629 h 972275"/>
              <a:gd name="connsiteX3" fmla="*/ 1524032 w 1757202"/>
              <a:gd name="connsiteY3" fmla="*/ 505526 h 972275"/>
              <a:gd name="connsiteX4" fmla="*/ 1254872 w 1757202"/>
              <a:gd name="connsiteY4" fmla="*/ 972273 h 972275"/>
              <a:gd name="connsiteX5" fmla="*/ 0 w 1757202"/>
              <a:gd name="connsiteY5" fmla="*/ 972275 h 972275"/>
              <a:gd name="connsiteX0" fmla="*/ 0 w 1757202"/>
              <a:gd name="connsiteY0" fmla="*/ 972275 h 972275"/>
              <a:gd name="connsiteX1" fmla="*/ 939265 w 1757202"/>
              <a:gd name="connsiteY1" fmla="*/ 5968 h 972275"/>
              <a:gd name="connsiteX2" fmla="*/ 1757202 w 1757202"/>
              <a:gd name="connsiteY2" fmla="*/ 2629 h 972275"/>
              <a:gd name="connsiteX3" fmla="*/ 1524032 w 1757202"/>
              <a:gd name="connsiteY3" fmla="*/ 505526 h 972275"/>
              <a:gd name="connsiteX4" fmla="*/ 1254872 w 1757202"/>
              <a:gd name="connsiteY4" fmla="*/ 972273 h 972275"/>
              <a:gd name="connsiteX5" fmla="*/ 0 w 1757202"/>
              <a:gd name="connsiteY5" fmla="*/ 972275 h 972275"/>
              <a:gd name="connsiteX0" fmla="*/ 0 w 1757202"/>
              <a:gd name="connsiteY0" fmla="*/ 972275 h 972275"/>
              <a:gd name="connsiteX1" fmla="*/ 939265 w 1757202"/>
              <a:gd name="connsiteY1" fmla="*/ 5968 h 972275"/>
              <a:gd name="connsiteX2" fmla="*/ 1757202 w 1757202"/>
              <a:gd name="connsiteY2" fmla="*/ 2629 h 972275"/>
              <a:gd name="connsiteX3" fmla="*/ 1494977 w 1757202"/>
              <a:gd name="connsiteY3" fmla="*/ 505526 h 972275"/>
              <a:gd name="connsiteX4" fmla="*/ 1254872 w 1757202"/>
              <a:gd name="connsiteY4" fmla="*/ 972273 h 972275"/>
              <a:gd name="connsiteX5" fmla="*/ 0 w 1757202"/>
              <a:gd name="connsiteY5" fmla="*/ 972275 h 972275"/>
              <a:gd name="connsiteX0" fmla="*/ 0 w 1757202"/>
              <a:gd name="connsiteY0" fmla="*/ 972275 h 972275"/>
              <a:gd name="connsiteX1" fmla="*/ 939265 w 1757202"/>
              <a:gd name="connsiteY1" fmla="*/ 5968 h 972275"/>
              <a:gd name="connsiteX2" fmla="*/ 1757202 w 1757202"/>
              <a:gd name="connsiteY2" fmla="*/ 2629 h 972275"/>
              <a:gd name="connsiteX3" fmla="*/ 1494977 w 1757202"/>
              <a:gd name="connsiteY3" fmla="*/ 505526 h 972275"/>
              <a:gd name="connsiteX4" fmla="*/ 1216132 w 1757202"/>
              <a:gd name="connsiteY4" fmla="*/ 972275 h 972275"/>
              <a:gd name="connsiteX5" fmla="*/ 0 w 1757202"/>
              <a:gd name="connsiteY5" fmla="*/ 972275 h 972275"/>
              <a:gd name="connsiteX0" fmla="*/ 0 w 1757202"/>
              <a:gd name="connsiteY0" fmla="*/ 972274 h 972274"/>
              <a:gd name="connsiteX1" fmla="*/ 929579 w 1757202"/>
              <a:gd name="connsiteY1" fmla="*/ 5969 h 972274"/>
              <a:gd name="connsiteX2" fmla="*/ 1757202 w 1757202"/>
              <a:gd name="connsiteY2" fmla="*/ 2628 h 972274"/>
              <a:gd name="connsiteX3" fmla="*/ 1494977 w 1757202"/>
              <a:gd name="connsiteY3" fmla="*/ 505525 h 972274"/>
              <a:gd name="connsiteX4" fmla="*/ 1216132 w 1757202"/>
              <a:gd name="connsiteY4" fmla="*/ 972274 h 972274"/>
              <a:gd name="connsiteX5" fmla="*/ 0 w 1757202"/>
              <a:gd name="connsiteY5" fmla="*/ 972274 h 972274"/>
              <a:gd name="connsiteX0" fmla="*/ 0 w 1757202"/>
              <a:gd name="connsiteY0" fmla="*/ 969646 h 969646"/>
              <a:gd name="connsiteX1" fmla="*/ 929579 w 1757202"/>
              <a:gd name="connsiteY1" fmla="*/ 3341 h 969646"/>
              <a:gd name="connsiteX2" fmla="*/ 1757202 w 1757202"/>
              <a:gd name="connsiteY2" fmla="*/ 0 h 969646"/>
              <a:gd name="connsiteX3" fmla="*/ 1494977 w 1757202"/>
              <a:gd name="connsiteY3" fmla="*/ 502897 h 969646"/>
              <a:gd name="connsiteX4" fmla="*/ 1216132 w 1757202"/>
              <a:gd name="connsiteY4" fmla="*/ 969646 h 969646"/>
              <a:gd name="connsiteX5" fmla="*/ 0 w 1757202"/>
              <a:gd name="connsiteY5" fmla="*/ 969646 h 969646"/>
              <a:gd name="connsiteX0" fmla="*/ 0 w 1757202"/>
              <a:gd name="connsiteY0" fmla="*/ 973505 h 973505"/>
              <a:gd name="connsiteX1" fmla="*/ 929578 w 1757202"/>
              <a:gd name="connsiteY1" fmla="*/ 0 h 973505"/>
              <a:gd name="connsiteX2" fmla="*/ 1757202 w 1757202"/>
              <a:gd name="connsiteY2" fmla="*/ 3859 h 973505"/>
              <a:gd name="connsiteX3" fmla="*/ 1494977 w 1757202"/>
              <a:gd name="connsiteY3" fmla="*/ 506756 h 973505"/>
              <a:gd name="connsiteX4" fmla="*/ 1216132 w 1757202"/>
              <a:gd name="connsiteY4" fmla="*/ 973505 h 973505"/>
              <a:gd name="connsiteX5" fmla="*/ 0 w 1757202"/>
              <a:gd name="connsiteY5" fmla="*/ 973505 h 973505"/>
              <a:gd name="connsiteX0" fmla="*/ 0 w 1757202"/>
              <a:gd name="connsiteY0" fmla="*/ 973505 h 973505"/>
              <a:gd name="connsiteX1" fmla="*/ 929578 w 1757202"/>
              <a:gd name="connsiteY1" fmla="*/ 0 h 973505"/>
              <a:gd name="connsiteX2" fmla="*/ 1757202 w 1757202"/>
              <a:gd name="connsiteY2" fmla="*/ 3859 h 973505"/>
              <a:gd name="connsiteX3" fmla="*/ 1450216 w 1757202"/>
              <a:gd name="connsiteY3" fmla="*/ 506758 h 973505"/>
              <a:gd name="connsiteX4" fmla="*/ 1216132 w 1757202"/>
              <a:gd name="connsiteY4" fmla="*/ 973505 h 973505"/>
              <a:gd name="connsiteX5" fmla="*/ 0 w 1757202"/>
              <a:gd name="connsiteY5" fmla="*/ 973505 h 973505"/>
              <a:gd name="connsiteX0" fmla="*/ 0 w 1757202"/>
              <a:gd name="connsiteY0" fmla="*/ 973505 h 973505"/>
              <a:gd name="connsiteX1" fmla="*/ 929578 w 1757202"/>
              <a:gd name="connsiteY1" fmla="*/ 0 h 973505"/>
              <a:gd name="connsiteX2" fmla="*/ 1757202 w 1757202"/>
              <a:gd name="connsiteY2" fmla="*/ 3859 h 973505"/>
              <a:gd name="connsiteX3" fmla="*/ 1480056 w 1757202"/>
              <a:gd name="connsiteY3" fmla="*/ 506760 h 973505"/>
              <a:gd name="connsiteX4" fmla="*/ 1216132 w 1757202"/>
              <a:gd name="connsiteY4" fmla="*/ 973505 h 973505"/>
              <a:gd name="connsiteX5" fmla="*/ 0 w 1757202"/>
              <a:gd name="connsiteY5" fmla="*/ 973505 h 973505"/>
              <a:gd name="connsiteX0" fmla="*/ 0 w 1757202"/>
              <a:gd name="connsiteY0" fmla="*/ 973505 h 973505"/>
              <a:gd name="connsiteX1" fmla="*/ 929578 w 1757202"/>
              <a:gd name="connsiteY1" fmla="*/ 0 h 973505"/>
              <a:gd name="connsiteX2" fmla="*/ 1757202 w 1757202"/>
              <a:gd name="connsiteY2" fmla="*/ 3859 h 973505"/>
              <a:gd name="connsiteX3" fmla="*/ 1216132 w 1757202"/>
              <a:gd name="connsiteY3" fmla="*/ 973505 h 973505"/>
              <a:gd name="connsiteX4" fmla="*/ 0 w 1757202"/>
              <a:gd name="connsiteY4" fmla="*/ 973505 h 973505"/>
              <a:gd name="connsiteX0" fmla="*/ 0 w 1757202"/>
              <a:gd name="connsiteY0" fmla="*/ 973505 h 977020"/>
              <a:gd name="connsiteX1" fmla="*/ 929578 w 1757202"/>
              <a:gd name="connsiteY1" fmla="*/ 0 h 977020"/>
              <a:gd name="connsiteX2" fmla="*/ 1757202 w 1757202"/>
              <a:gd name="connsiteY2" fmla="*/ 3859 h 977020"/>
              <a:gd name="connsiteX3" fmla="*/ 1335742 w 1757202"/>
              <a:gd name="connsiteY3" fmla="*/ 977020 h 977020"/>
              <a:gd name="connsiteX4" fmla="*/ 0 w 1757202"/>
              <a:gd name="connsiteY4" fmla="*/ 973505 h 977020"/>
              <a:gd name="connsiteX0" fmla="*/ 0 w 1660594"/>
              <a:gd name="connsiteY0" fmla="*/ 973507 h 977020"/>
              <a:gd name="connsiteX1" fmla="*/ 832970 w 1660594"/>
              <a:gd name="connsiteY1" fmla="*/ 0 h 977020"/>
              <a:gd name="connsiteX2" fmla="*/ 1660594 w 1660594"/>
              <a:gd name="connsiteY2" fmla="*/ 3859 h 977020"/>
              <a:gd name="connsiteX3" fmla="*/ 1239134 w 1660594"/>
              <a:gd name="connsiteY3" fmla="*/ 977020 h 977020"/>
              <a:gd name="connsiteX4" fmla="*/ 0 w 1660594"/>
              <a:gd name="connsiteY4" fmla="*/ 973507 h 97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594" h="977020">
                <a:moveTo>
                  <a:pt x="0" y="973507"/>
                </a:moveTo>
                <a:lnTo>
                  <a:pt x="832970" y="0"/>
                </a:lnTo>
                <a:lnTo>
                  <a:pt x="1660594" y="3859"/>
                </a:lnTo>
                <a:lnTo>
                  <a:pt x="1239134" y="977020"/>
                </a:lnTo>
                <a:lnTo>
                  <a:pt x="0" y="973507"/>
                </a:lnTo>
                <a:close/>
              </a:path>
            </a:pathLst>
          </a:custGeom>
          <a:solidFill>
            <a:srgbClr val="55759C"/>
          </a:solidFill>
          <a:ln w="25400" cap="flat" cmpd="sng" algn="ctr">
            <a:solidFill>
              <a:srgbClr val="55759C"/>
            </a:solidFill>
            <a:prstDash val="solid"/>
          </a:ln>
          <a:effectLst/>
        </p:spPr>
        <p:txBody>
          <a:bodyPr rtlCol="0" anchor="ctr"/>
          <a:lstStyle/>
          <a:p>
            <a:pPr algn="ctr">
              <a:defRPr/>
            </a:pPr>
            <a:endParaRPr lang="en-US" kern="0" dirty="0">
              <a:solidFill>
                <a:prstClr val="white"/>
              </a:solidFill>
              <a:latin typeface="Calibri"/>
            </a:endParaRPr>
          </a:p>
        </p:txBody>
      </p:sp>
      <p:sp>
        <p:nvSpPr>
          <p:cNvPr id="59" name="Rectangle 58"/>
          <p:cNvSpPr/>
          <p:nvPr/>
        </p:nvSpPr>
        <p:spPr>
          <a:xfrm>
            <a:off x="1985352" y="5498068"/>
            <a:ext cx="8221299" cy="369332"/>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lgn="ctr">
              <a:defRPr/>
            </a:pPr>
            <a:r>
              <a:rPr lang="en-US" b="1" kern="0" dirty="0">
                <a:solidFill>
                  <a:srgbClr val="373737"/>
                </a:solidFill>
                <a:latin typeface="Calibri"/>
              </a:rPr>
              <a:t>Collaboration with lenders is key to an effective home loan guaranty program</a:t>
            </a:r>
            <a:endParaRPr lang="en-US" kern="0" dirty="0">
              <a:solidFill>
                <a:srgbClr val="373737"/>
              </a:solidFill>
              <a:latin typeface="Calibri"/>
            </a:endParaRPr>
          </a:p>
        </p:txBody>
      </p:sp>
      <p:sp>
        <p:nvSpPr>
          <p:cNvPr id="61" name="Oval 60"/>
          <p:cNvSpPr/>
          <p:nvPr/>
        </p:nvSpPr>
        <p:spPr>
          <a:xfrm>
            <a:off x="1905000" y="2424094"/>
            <a:ext cx="676656" cy="676656"/>
          </a:xfrm>
          <a:prstGeom prst="ellipse">
            <a:avLst/>
          </a:prstGeom>
          <a:solidFill>
            <a:srgbClr val="2962A7"/>
          </a:solidFill>
          <a:ln w="25400" cap="flat" cmpd="sng" algn="ctr">
            <a:solidFill>
              <a:sysClr val="window" lastClr="FFFFFF"/>
            </a:solidFill>
            <a:prstDash val="solid"/>
          </a:ln>
          <a:effectLst/>
        </p:spPr>
        <p:txBody>
          <a:bodyPr rtlCol="0" anchor="ctr"/>
          <a:lstStyle/>
          <a:p>
            <a:pPr algn="ctr">
              <a:defRPr/>
            </a:pPr>
            <a:endParaRPr lang="en-US" kern="0" dirty="0">
              <a:solidFill>
                <a:prstClr val="white"/>
              </a:solidFill>
              <a:latin typeface="Calibri"/>
            </a:endParaRPr>
          </a:p>
        </p:txBody>
      </p:sp>
      <p:sp>
        <p:nvSpPr>
          <p:cNvPr id="63" name="Oval 7177"/>
          <p:cNvSpPr/>
          <p:nvPr/>
        </p:nvSpPr>
        <p:spPr>
          <a:xfrm>
            <a:off x="1905000" y="3150477"/>
            <a:ext cx="676656" cy="676656"/>
          </a:xfrm>
          <a:prstGeom prst="ellipse">
            <a:avLst/>
          </a:prstGeom>
          <a:solidFill>
            <a:srgbClr val="4F81BD"/>
          </a:solidFill>
          <a:ln w="25400" cap="flat" cmpd="sng" algn="ctr">
            <a:solidFill>
              <a:sysClr val="window" lastClr="FFFFFF"/>
            </a:solidFill>
            <a:prstDash val="solid"/>
          </a:ln>
          <a:effectLst/>
        </p:spPr>
        <p:txBody>
          <a:bodyPr rtlCol="0" anchor="ctr"/>
          <a:lstStyle/>
          <a:p>
            <a:pPr algn="ctr">
              <a:defRPr/>
            </a:pPr>
            <a:endParaRPr lang="en-US" kern="0" dirty="0">
              <a:solidFill>
                <a:prstClr val="white"/>
              </a:solidFill>
              <a:latin typeface="Calibri"/>
            </a:endParaRPr>
          </a:p>
        </p:txBody>
      </p:sp>
      <p:sp>
        <p:nvSpPr>
          <p:cNvPr id="64" name="Freeform 81"/>
          <p:cNvSpPr>
            <a:spLocks noChangeAspect="1"/>
          </p:cNvSpPr>
          <p:nvPr/>
        </p:nvSpPr>
        <p:spPr bwMode="auto">
          <a:xfrm>
            <a:off x="1989501" y="3343017"/>
            <a:ext cx="502920" cy="296639"/>
          </a:xfrm>
          <a:custGeom>
            <a:avLst/>
            <a:gdLst>
              <a:gd name="T0" fmla="*/ 112 w 147"/>
              <a:gd name="T1" fmla="*/ 27 h 96"/>
              <a:gd name="T2" fmla="*/ 106 w 147"/>
              <a:gd name="T3" fmla="*/ 27 h 96"/>
              <a:gd name="T4" fmla="*/ 68 w 147"/>
              <a:gd name="T5" fmla="*/ 0 h 96"/>
              <a:gd name="T6" fmla="*/ 29 w 147"/>
              <a:gd name="T7" fmla="*/ 38 h 96"/>
              <a:gd name="T8" fmla="*/ 30 w 147"/>
              <a:gd name="T9" fmla="*/ 44 h 96"/>
              <a:gd name="T10" fmla="*/ 26 w 147"/>
              <a:gd name="T11" fmla="*/ 43 h 96"/>
              <a:gd name="T12" fmla="*/ 0 w 147"/>
              <a:gd name="T13" fmla="*/ 70 h 96"/>
              <a:gd name="T14" fmla="*/ 26 w 147"/>
              <a:gd name="T15" fmla="*/ 96 h 96"/>
              <a:gd name="T16" fmla="*/ 63 w 147"/>
              <a:gd name="T17" fmla="*/ 96 h 96"/>
              <a:gd name="T18" fmla="*/ 63 w 147"/>
              <a:gd name="T19" fmla="*/ 68 h 96"/>
              <a:gd name="T20" fmla="*/ 48 w 147"/>
              <a:gd name="T21" fmla="*/ 68 h 96"/>
              <a:gd name="T22" fmla="*/ 73 w 147"/>
              <a:gd name="T23" fmla="*/ 34 h 96"/>
              <a:gd name="T24" fmla="*/ 99 w 147"/>
              <a:gd name="T25" fmla="*/ 68 h 96"/>
              <a:gd name="T26" fmla="*/ 84 w 147"/>
              <a:gd name="T27" fmla="*/ 68 h 96"/>
              <a:gd name="T28" fmla="*/ 84 w 147"/>
              <a:gd name="T29" fmla="*/ 96 h 96"/>
              <a:gd name="T30" fmla="*/ 112 w 147"/>
              <a:gd name="T31" fmla="*/ 96 h 96"/>
              <a:gd name="T32" fmla="*/ 147 w 147"/>
              <a:gd name="T33" fmla="*/ 61 h 96"/>
              <a:gd name="T34" fmla="*/ 112 w 147"/>
              <a:gd name="T35"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7" h="96">
                <a:moveTo>
                  <a:pt x="112" y="27"/>
                </a:moveTo>
                <a:cubicBezTo>
                  <a:pt x="110" y="27"/>
                  <a:pt x="108" y="27"/>
                  <a:pt x="106" y="27"/>
                </a:cubicBezTo>
                <a:cubicBezTo>
                  <a:pt x="101" y="11"/>
                  <a:pt x="86" y="0"/>
                  <a:pt x="68" y="0"/>
                </a:cubicBezTo>
                <a:cubicBezTo>
                  <a:pt x="47" y="0"/>
                  <a:pt x="29" y="17"/>
                  <a:pt x="29" y="38"/>
                </a:cubicBezTo>
                <a:cubicBezTo>
                  <a:pt x="29" y="40"/>
                  <a:pt x="29" y="42"/>
                  <a:pt x="30" y="44"/>
                </a:cubicBezTo>
                <a:cubicBezTo>
                  <a:pt x="28" y="44"/>
                  <a:pt x="27" y="43"/>
                  <a:pt x="26" y="43"/>
                </a:cubicBezTo>
                <a:cubicBezTo>
                  <a:pt x="12" y="43"/>
                  <a:pt x="0" y="55"/>
                  <a:pt x="0" y="70"/>
                </a:cubicBezTo>
                <a:cubicBezTo>
                  <a:pt x="0" y="84"/>
                  <a:pt x="12" y="96"/>
                  <a:pt x="26" y="96"/>
                </a:cubicBezTo>
                <a:cubicBezTo>
                  <a:pt x="63" y="96"/>
                  <a:pt x="63" y="96"/>
                  <a:pt x="63" y="96"/>
                </a:cubicBezTo>
                <a:cubicBezTo>
                  <a:pt x="63" y="68"/>
                  <a:pt x="63" y="68"/>
                  <a:pt x="63" y="68"/>
                </a:cubicBezTo>
                <a:cubicBezTo>
                  <a:pt x="48" y="68"/>
                  <a:pt x="48" y="68"/>
                  <a:pt x="48" y="68"/>
                </a:cubicBezTo>
                <a:cubicBezTo>
                  <a:pt x="73" y="34"/>
                  <a:pt x="73" y="34"/>
                  <a:pt x="73" y="34"/>
                </a:cubicBezTo>
                <a:cubicBezTo>
                  <a:pt x="99" y="68"/>
                  <a:pt x="99" y="68"/>
                  <a:pt x="99" y="68"/>
                </a:cubicBezTo>
                <a:cubicBezTo>
                  <a:pt x="84" y="68"/>
                  <a:pt x="84" y="68"/>
                  <a:pt x="84" y="68"/>
                </a:cubicBezTo>
                <a:cubicBezTo>
                  <a:pt x="84" y="96"/>
                  <a:pt x="84" y="96"/>
                  <a:pt x="84" y="96"/>
                </a:cubicBezTo>
                <a:cubicBezTo>
                  <a:pt x="112" y="96"/>
                  <a:pt x="112" y="96"/>
                  <a:pt x="112" y="96"/>
                </a:cubicBezTo>
                <a:cubicBezTo>
                  <a:pt x="131" y="96"/>
                  <a:pt x="147" y="80"/>
                  <a:pt x="147" y="61"/>
                </a:cubicBezTo>
                <a:cubicBezTo>
                  <a:pt x="147" y="42"/>
                  <a:pt x="131" y="27"/>
                  <a:pt x="112" y="27"/>
                </a:cubicBezTo>
                <a:close/>
              </a:path>
            </a:pathLst>
          </a:custGeom>
          <a:solidFill>
            <a:srgbClr val="FFFFFF"/>
          </a:solidFill>
          <a:extLst/>
        </p:spPr>
        <p:txBody>
          <a:bodyPr vert="horz" wrap="square" lIns="91440" tIns="45720" rIns="91440" bIns="45720" numCol="1" anchor="t" anchorCtr="0" compatLnSpc="1">
            <a:prstTxWarp prst="textNoShape">
              <a:avLst/>
            </a:prstTxWarp>
          </a:bodyPr>
          <a:lstStyle/>
          <a:p>
            <a:pPr>
              <a:defRPr/>
            </a:pPr>
            <a:endParaRPr lang="en-US" kern="0" dirty="0">
              <a:solidFill>
                <a:srgbClr val="3E3E3E"/>
              </a:solidFill>
              <a:latin typeface="Calibri"/>
            </a:endParaRPr>
          </a:p>
        </p:txBody>
      </p:sp>
      <p:sp>
        <p:nvSpPr>
          <p:cNvPr id="65" name="Oval 7180"/>
          <p:cNvSpPr/>
          <p:nvPr/>
        </p:nvSpPr>
        <p:spPr>
          <a:xfrm>
            <a:off x="1905000" y="3876859"/>
            <a:ext cx="676656" cy="676656"/>
          </a:xfrm>
          <a:prstGeom prst="ellipse">
            <a:avLst/>
          </a:prstGeom>
          <a:solidFill>
            <a:srgbClr val="4BACC6"/>
          </a:solidFill>
          <a:ln w="25400" cap="flat" cmpd="sng" algn="ctr">
            <a:solidFill>
              <a:sysClr val="window" lastClr="FFFFFF"/>
            </a:solidFill>
            <a:prstDash val="solid"/>
          </a:ln>
          <a:effectLst/>
        </p:spPr>
        <p:txBody>
          <a:bodyPr rtlCol="0" anchor="ctr"/>
          <a:lstStyle/>
          <a:p>
            <a:pPr algn="ctr">
              <a:defRPr/>
            </a:pPr>
            <a:endParaRPr lang="en-US" kern="0" dirty="0">
              <a:solidFill>
                <a:prstClr val="white"/>
              </a:solidFill>
              <a:latin typeface="Calibri"/>
            </a:endParaRPr>
          </a:p>
        </p:txBody>
      </p:sp>
      <p:sp>
        <p:nvSpPr>
          <p:cNvPr id="66" name="Freeform 145"/>
          <p:cNvSpPr>
            <a:spLocks noChangeAspect="1" noEditPoints="1"/>
          </p:cNvSpPr>
          <p:nvPr/>
        </p:nvSpPr>
        <p:spPr bwMode="auto">
          <a:xfrm>
            <a:off x="2026959" y="4030968"/>
            <a:ext cx="470800" cy="362016"/>
          </a:xfrm>
          <a:custGeom>
            <a:avLst/>
            <a:gdLst>
              <a:gd name="T0" fmla="*/ 111 w 147"/>
              <a:gd name="T1" fmla="*/ 38 h 125"/>
              <a:gd name="T2" fmla="*/ 116 w 147"/>
              <a:gd name="T3" fmla="*/ 38 h 125"/>
              <a:gd name="T4" fmla="*/ 116 w 147"/>
              <a:gd name="T5" fmla="*/ 53 h 125"/>
              <a:gd name="T6" fmla="*/ 147 w 147"/>
              <a:gd name="T7" fmla="*/ 26 h 125"/>
              <a:gd name="T8" fmla="*/ 116 w 147"/>
              <a:gd name="T9" fmla="*/ 0 h 125"/>
              <a:gd name="T10" fmla="*/ 116 w 147"/>
              <a:gd name="T11" fmla="*/ 17 h 125"/>
              <a:gd name="T12" fmla="*/ 111 w 147"/>
              <a:gd name="T13" fmla="*/ 17 h 125"/>
              <a:gd name="T14" fmla="*/ 55 w 147"/>
              <a:gd name="T15" fmla="*/ 55 h 125"/>
              <a:gd name="T16" fmla="*/ 15 w 147"/>
              <a:gd name="T17" fmla="*/ 85 h 125"/>
              <a:gd name="T18" fmla="*/ 0 w 147"/>
              <a:gd name="T19" fmla="*/ 85 h 125"/>
              <a:gd name="T20" fmla="*/ 0 w 147"/>
              <a:gd name="T21" fmla="*/ 106 h 125"/>
              <a:gd name="T22" fmla="*/ 15 w 147"/>
              <a:gd name="T23" fmla="*/ 106 h 125"/>
              <a:gd name="T24" fmla="*/ 71 w 147"/>
              <a:gd name="T25" fmla="*/ 68 h 125"/>
              <a:gd name="T26" fmla="*/ 111 w 147"/>
              <a:gd name="T27" fmla="*/ 38 h 125"/>
              <a:gd name="T28" fmla="*/ 40 w 147"/>
              <a:gd name="T29" fmla="*/ 51 h 125"/>
              <a:gd name="T30" fmla="*/ 43 w 147"/>
              <a:gd name="T31" fmla="*/ 46 h 125"/>
              <a:gd name="T32" fmla="*/ 52 w 147"/>
              <a:gd name="T33" fmla="*/ 35 h 125"/>
              <a:gd name="T34" fmla="*/ 15 w 147"/>
              <a:gd name="T35" fmla="*/ 19 h 125"/>
              <a:gd name="T36" fmla="*/ 0 w 147"/>
              <a:gd name="T37" fmla="*/ 19 h 125"/>
              <a:gd name="T38" fmla="*/ 0 w 147"/>
              <a:gd name="T39" fmla="*/ 39 h 125"/>
              <a:gd name="T40" fmla="*/ 15 w 147"/>
              <a:gd name="T41" fmla="*/ 39 h 125"/>
              <a:gd name="T42" fmla="*/ 40 w 147"/>
              <a:gd name="T43" fmla="*/ 51 h 125"/>
              <a:gd name="T44" fmla="*/ 116 w 147"/>
              <a:gd name="T45" fmla="*/ 87 h 125"/>
              <a:gd name="T46" fmla="*/ 111 w 147"/>
              <a:gd name="T47" fmla="*/ 87 h 125"/>
              <a:gd name="T48" fmla="*/ 85 w 147"/>
              <a:gd name="T49" fmla="*/ 74 h 125"/>
              <a:gd name="T50" fmla="*/ 83 w 147"/>
              <a:gd name="T51" fmla="*/ 77 h 125"/>
              <a:gd name="T52" fmla="*/ 72 w 147"/>
              <a:gd name="T53" fmla="*/ 90 h 125"/>
              <a:gd name="T54" fmla="*/ 111 w 147"/>
              <a:gd name="T55" fmla="*/ 107 h 125"/>
              <a:gd name="T56" fmla="*/ 116 w 147"/>
              <a:gd name="T57" fmla="*/ 107 h 125"/>
              <a:gd name="T58" fmla="*/ 116 w 147"/>
              <a:gd name="T59" fmla="*/ 125 h 125"/>
              <a:gd name="T60" fmla="*/ 147 w 147"/>
              <a:gd name="T61" fmla="*/ 98 h 125"/>
              <a:gd name="T62" fmla="*/ 116 w 147"/>
              <a:gd name="T63" fmla="*/ 72 h 125"/>
              <a:gd name="T64" fmla="*/ 116 w 147"/>
              <a:gd name="T65"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7" h="125">
                <a:moveTo>
                  <a:pt x="111" y="38"/>
                </a:moveTo>
                <a:cubicBezTo>
                  <a:pt x="116" y="38"/>
                  <a:pt x="116" y="38"/>
                  <a:pt x="116" y="38"/>
                </a:cubicBezTo>
                <a:cubicBezTo>
                  <a:pt x="116" y="53"/>
                  <a:pt x="116" y="53"/>
                  <a:pt x="116" y="53"/>
                </a:cubicBezTo>
                <a:cubicBezTo>
                  <a:pt x="147" y="26"/>
                  <a:pt x="147" y="26"/>
                  <a:pt x="147" y="26"/>
                </a:cubicBezTo>
                <a:cubicBezTo>
                  <a:pt x="116" y="0"/>
                  <a:pt x="116" y="0"/>
                  <a:pt x="116" y="0"/>
                </a:cubicBezTo>
                <a:cubicBezTo>
                  <a:pt x="116" y="17"/>
                  <a:pt x="116" y="17"/>
                  <a:pt x="116" y="17"/>
                </a:cubicBezTo>
                <a:cubicBezTo>
                  <a:pt x="111" y="17"/>
                  <a:pt x="111" y="17"/>
                  <a:pt x="111" y="17"/>
                </a:cubicBezTo>
                <a:cubicBezTo>
                  <a:pt x="84" y="17"/>
                  <a:pt x="68" y="37"/>
                  <a:pt x="55" y="55"/>
                </a:cubicBezTo>
                <a:cubicBezTo>
                  <a:pt x="43" y="71"/>
                  <a:pt x="32" y="85"/>
                  <a:pt x="15" y="85"/>
                </a:cubicBezTo>
                <a:cubicBezTo>
                  <a:pt x="0" y="85"/>
                  <a:pt x="0" y="85"/>
                  <a:pt x="0" y="85"/>
                </a:cubicBezTo>
                <a:cubicBezTo>
                  <a:pt x="0" y="106"/>
                  <a:pt x="0" y="106"/>
                  <a:pt x="0" y="106"/>
                </a:cubicBezTo>
                <a:cubicBezTo>
                  <a:pt x="15" y="106"/>
                  <a:pt x="15" y="106"/>
                  <a:pt x="15" y="106"/>
                </a:cubicBezTo>
                <a:cubicBezTo>
                  <a:pt x="42" y="106"/>
                  <a:pt x="58" y="86"/>
                  <a:pt x="71" y="68"/>
                </a:cubicBezTo>
                <a:cubicBezTo>
                  <a:pt x="83" y="52"/>
                  <a:pt x="94" y="38"/>
                  <a:pt x="111" y="38"/>
                </a:cubicBezTo>
                <a:close/>
                <a:moveTo>
                  <a:pt x="40" y="51"/>
                </a:moveTo>
                <a:cubicBezTo>
                  <a:pt x="41" y="49"/>
                  <a:pt x="42" y="48"/>
                  <a:pt x="43" y="46"/>
                </a:cubicBezTo>
                <a:cubicBezTo>
                  <a:pt x="46" y="43"/>
                  <a:pt x="49" y="39"/>
                  <a:pt x="52" y="35"/>
                </a:cubicBezTo>
                <a:cubicBezTo>
                  <a:pt x="43" y="26"/>
                  <a:pt x="31" y="19"/>
                  <a:pt x="15" y="19"/>
                </a:cubicBezTo>
                <a:cubicBezTo>
                  <a:pt x="0" y="19"/>
                  <a:pt x="0" y="19"/>
                  <a:pt x="0" y="19"/>
                </a:cubicBezTo>
                <a:cubicBezTo>
                  <a:pt x="0" y="39"/>
                  <a:pt x="0" y="39"/>
                  <a:pt x="0" y="39"/>
                </a:cubicBezTo>
                <a:cubicBezTo>
                  <a:pt x="15" y="39"/>
                  <a:pt x="15" y="39"/>
                  <a:pt x="15" y="39"/>
                </a:cubicBezTo>
                <a:cubicBezTo>
                  <a:pt x="25" y="39"/>
                  <a:pt x="33" y="44"/>
                  <a:pt x="40" y="51"/>
                </a:cubicBezTo>
                <a:close/>
                <a:moveTo>
                  <a:pt x="116" y="87"/>
                </a:moveTo>
                <a:cubicBezTo>
                  <a:pt x="111" y="87"/>
                  <a:pt x="111" y="87"/>
                  <a:pt x="111" y="87"/>
                </a:cubicBezTo>
                <a:cubicBezTo>
                  <a:pt x="101" y="87"/>
                  <a:pt x="93" y="81"/>
                  <a:pt x="85" y="74"/>
                </a:cubicBezTo>
                <a:cubicBezTo>
                  <a:pt x="85" y="75"/>
                  <a:pt x="84" y="76"/>
                  <a:pt x="83" y="77"/>
                </a:cubicBezTo>
                <a:cubicBezTo>
                  <a:pt x="80" y="81"/>
                  <a:pt x="76" y="86"/>
                  <a:pt x="72" y="90"/>
                </a:cubicBezTo>
                <a:cubicBezTo>
                  <a:pt x="82" y="100"/>
                  <a:pt x="95" y="107"/>
                  <a:pt x="111" y="107"/>
                </a:cubicBezTo>
                <a:cubicBezTo>
                  <a:pt x="116" y="107"/>
                  <a:pt x="116" y="107"/>
                  <a:pt x="116" y="107"/>
                </a:cubicBezTo>
                <a:cubicBezTo>
                  <a:pt x="116" y="125"/>
                  <a:pt x="116" y="125"/>
                  <a:pt x="116" y="125"/>
                </a:cubicBezTo>
                <a:cubicBezTo>
                  <a:pt x="147" y="98"/>
                  <a:pt x="147" y="98"/>
                  <a:pt x="147" y="98"/>
                </a:cubicBezTo>
                <a:cubicBezTo>
                  <a:pt x="116" y="72"/>
                  <a:pt x="116" y="72"/>
                  <a:pt x="116" y="72"/>
                </a:cubicBezTo>
                <a:lnTo>
                  <a:pt x="116" y="8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3E3E3E"/>
              </a:solidFill>
              <a:latin typeface="Calibri"/>
            </a:endParaRPr>
          </a:p>
        </p:txBody>
      </p:sp>
      <p:sp>
        <p:nvSpPr>
          <p:cNvPr id="67" name="Oval 7183"/>
          <p:cNvSpPr/>
          <p:nvPr/>
        </p:nvSpPr>
        <p:spPr>
          <a:xfrm>
            <a:off x="1905000" y="1707125"/>
            <a:ext cx="676656" cy="676656"/>
          </a:xfrm>
          <a:prstGeom prst="ellipse">
            <a:avLst/>
          </a:prstGeom>
          <a:solidFill>
            <a:srgbClr val="1F497D"/>
          </a:solidFill>
          <a:ln w="25400" cap="flat" cmpd="sng" algn="ctr">
            <a:solidFill>
              <a:sysClr val="window" lastClr="FFFFFF"/>
            </a:solidFill>
            <a:prstDash val="solid"/>
          </a:ln>
          <a:effectLst/>
        </p:spPr>
        <p:txBody>
          <a:bodyPr rtlCol="0" anchor="ctr"/>
          <a:lstStyle/>
          <a:p>
            <a:pPr algn="ctr">
              <a:defRPr/>
            </a:pPr>
            <a:endParaRPr lang="en-US" kern="0" dirty="0">
              <a:solidFill>
                <a:prstClr val="white"/>
              </a:solidFill>
              <a:latin typeface="Calibri"/>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3471" y="1819095"/>
            <a:ext cx="438950" cy="43895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09293" y="2514868"/>
            <a:ext cx="463336" cy="512108"/>
          </a:xfrm>
          <a:prstGeom prst="rect">
            <a:avLst/>
          </a:prstGeom>
        </p:spPr>
      </p:pic>
      <p:pic>
        <p:nvPicPr>
          <p:cNvPr id="22" name="Picture 2" descr="C:\Users\vacoGrovem\AppData\Local\Microsoft\Windows\Temporary Internet Files\Content.Outlook\83QVOJUE\CHOOSE-VA-rev.png">
            <a:extLst>
              <a:ext uri="{FF2B5EF4-FFF2-40B4-BE49-F238E27FC236}">
                <a16:creationId xmlns:a16="http://schemas.microsoft.com/office/drawing/2014/main" id="{E8FAB23B-D3A5-401E-95C3-7614A37FC46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7335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232764BA-90AD-4B28-92F6-2A9C73604318}"/>
              </a:ext>
            </a:extLst>
          </p:cNvPr>
          <p:cNvSpPr>
            <a:spLocks noGrp="1"/>
          </p:cNvSpPr>
          <p:nvPr>
            <p:ph idx="1"/>
          </p:nvPr>
        </p:nvSpPr>
        <p:spPr/>
        <p:txBody>
          <a:bodyPr>
            <a:normAutofit/>
          </a:bodyPr>
          <a:lstStyle/>
          <a:p>
            <a:pPr marL="0" indent="0">
              <a:buNone/>
            </a:pPr>
            <a:r>
              <a:rPr lang="en-US" sz="1800" dirty="0">
                <a:latin typeface="Calibri" panose="020F0502020204030204" pitchFamily="34" charset="0"/>
                <a:ea typeface="Calibri" panose="020F0502020204030204" pitchFamily="34" charset="0"/>
                <a:cs typeface="Times New Roman" panose="02020603050405020304" pitchFamily="18" charset="0"/>
              </a:rPr>
              <a:t>The purpose of the UCD pilot is to gain servicing and closing data for every VA loan that closes. </a:t>
            </a:r>
          </a:p>
          <a:p>
            <a:pPr marL="0" indent="0">
              <a:buNone/>
            </a:pPr>
            <a:endParaRPr lang="en-US" sz="18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Slide Number Placeholder 2"/>
          <p:cNvSpPr>
            <a:spLocks noGrp="1"/>
          </p:cNvSpPr>
          <p:nvPr>
            <p:ph type="sldNum" sz="quarter" idx="12"/>
          </p:nvPr>
        </p:nvSpPr>
        <p:spPr/>
        <p:txBody>
          <a:bodyPr/>
          <a:lstStyle/>
          <a:p>
            <a:fld id="{D983F1FA-211D-3044-9E35-958DFBC26156}" type="slidenum">
              <a:rPr lang="en-US">
                <a:solidFill>
                  <a:prstClr val="white"/>
                </a:solidFill>
                <a:latin typeface="Calibri"/>
              </a:rPr>
              <a:pPr/>
              <a:t>9</a:t>
            </a:fld>
            <a:endParaRPr lang="en-US" dirty="0">
              <a:solidFill>
                <a:prstClr val="white"/>
              </a:solidFill>
              <a:latin typeface="Calibri"/>
            </a:endParaRPr>
          </a:p>
        </p:txBody>
      </p:sp>
      <p:sp>
        <p:nvSpPr>
          <p:cNvPr id="4" name="Title 3"/>
          <p:cNvSpPr>
            <a:spLocks noGrp="1"/>
          </p:cNvSpPr>
          <p:nvPr>
            <p:ph type="title"/>
          </p:nvPr>
        </p:nvSpPr>
        <p:spPr/>
        <p:txBody>
          <a:bodyPr/>
          <a:lstStyle/>
          <a:p>
            <a:r>
              <a:rPr lang="en-US" dirty="0"/>
              <a:t>Uniform Closing Dataset Pilot Program </a:t>
            </a:r>
          </a:p>
        </p:txBody>
      </p:sp>
      <p:sp>
        <p:nvSpPr>
          <p:cNvPr id="26" name="Rectangle 25">
            <a:extLst>
              <a:ext uri="{FF2B5EF4-FFF2-40B4-BE49-F238E27FC236}">
                <a16:creationId xmlns:a16="http://schemas.microsoft.com/office/drawing/2014/main" id="{482702B0-C98F-4CB1-BA0C-DACAC5BD3B89}"/>
              </a:ext>
            </a:extLst>
          </p:cNvPr>
          <p:cNvSpPr/>
          <p:nvPr/>
        </p:nvSpPr>
        <p:spPr>
          <a:xfrm>
            <a:off x="1998648" y="5282532"/>
            <a:ext cx="8221299" cy="369332"/>
          </a:xfrm>
          <a:prstGeom prst="rect">
            <a:avLst/>
          </a:prstGeom>
          <a:solidFill>
            <a:schemeClr val="bg1"/>
          </a:solidFill>
        </p:spPr>
        <p:style>
          <a:lnRef idx="1">
            <a:schemeClr val="accent6"/>
          </a:lnRef>
          <a:fillRef idx="2">
            <a:schemeClr val="accent6"/>
          </a:fillRef>
          <a:effectRef idx="1">
            <a:schemeClr val="accent6"/>
          </a:effectRef>
          <a:fontRef idx="minor">
            <a:schemeClr val="dk1"/>
          </a:fontRef>
        </p:style>
        <p:txBody>
          <a:bodyPr wrap="square">
            <a:spAutoFit/>
          </a:bodyPr>
          <a:lstStyle/>
          <a:p>
            <a:pPr algn="ctr">
              <a:defRPr/>
            </a:pPr>
            <a:r>
              <a:rPr lang="en-US" b="1" kern="0" dirty="0">
                <a:solidFill>
                  <a:srgbClr val="373737"/>
                </a:solidFill>
                <a:latin typeface="Calibri"/>
              </a:rPr>
              <a:t>UCD data will be mandatory for all lenders come February 2020</a:t>
            </a:r>
            <a:endParaRPr lang="en-US" kern="0" dirty="0">
              <a:solidFill>
                <a:srgbClr val="373737"/>
              </a:solidFill>
              <a:latin typeface="Calibri"/>
            </a:endParaRPr>
          </a:p>
        </p:txBody>
      </p:sp>
      <p:pic>
        <p:nvPicPr>
          <p:cNvPr id="10" name="Picture 2" descr="C:\Users\vacoGrovem\AppData\Local\Microsoft\Windows\Temporary Internet Files\Content.Outlook\83QVOJUE\CHOOSE-VA-rev.png">
            <a:extLst>
              <a:ext uri="{FF2B5EF4-FFF2-40B4-BE49-F238E27FC236}">
                <a16:creationId xmlns:a16="http://schemas.microsoft.com/office/drawing/2014/main" id="{DED1A68A-123D-47FA-9C51-78834797EA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7202" y="6172200"/>
            <a:ext cx="2037559"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Down Arrow 4">
            <a:extLst>
              <a:ext uri="{FF2B5EF4-FFF2-40B4-BE49-F238E27FC236}">
                <a16:creationId xmlns:a16="http://schemas.microsoft.com/office/drawing/2014/main" id="{BC8C437B-83B7-45D0-9F3A-81661DF4A8C9}"/>
              </a:ext>
            </a:extLst>
          </p:cNvPr>
          <p:cNvSpPr/>
          <p:nvPr/>
        </p:nvSpPr>
        <p:spPr bwMode="auto">
          <a:xfrm flipH="1">
            <a:off x="8988865" y="1539427"/>
            <a:ext cx="696665" cy="3664166"/>
          </a:xfrm>
          <a:prstGeom prst="downArrow">
            <a:avLst>
              <a:gd name="adj1" fmla="val 36422"/>
              <a:gd name="adj2" fmla="val 36422"/>
            </a:avLst>
          </a:prstGeom>
          <a:solidFill>
            <a:schemeClr val="accent5"/>
          </a:solidFill>
          <a:ln w="9525" cap="flat" cmpd="sng" algn="ctr">
            <a:noFill/>
            <a:prstDash val="solid"/>
          </a:ln>
          <a:effectLst/>
        </p:spPr>
        <p:txBody>
          <a:bodyPr anchor="ctr"/>
          <a:lstStyle/>
          <a:p>
            <a:pPr algn="ctr">
              <a:defRPr/>
            </a:pPr>
            <a:endParaRPr lang="en-US" sz="1600" kern="0" dirty="0">
              <a:solidFill>
                <a:prstClr val="white"/>
              </a:solidFill>
              <a:latin typeface="Arial"/>
            </a:endParaRPr>
          </a:p>
        </p:txBody>
      </p:sp>
      <p:sp>
        <p:nvSpPr>
          <p:cNvPr id="13" name="TextBox 9">
            <a:extLst>
              <a:ext uri="{FF2B5EF4-FFF2-40B4-BE49-F238E27FC236}">
                <a16:creationId xmlns:a16="http://schemas.microsoft.com/office/drawing/2014/main" id="{9E7BE6B9-71C5-4A76-B225-4F55A47EF4B0}"/>
              </a:ext>
            </a:extLst>
          </p:cNvPr>
          <p:cNvSpPr txBox="1">
            <a:spLocks noChangeArrowheads="1"/>
          </p:cNvSpPr>
          <p:nvPr/>
        </p:nvSpPr>
        <p:spPr bwMode="auto">
          <a:xfrm rot="10800000" flipV="1">
            <a:off x="1992106" y="3866313"/>
            <a:ext cx="67230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Arial" pitchFamily="34" charset="0"/>
              </a:defRPr>
            </a:lvl1pPr>
            <a:lvl2pPr>
              <a:defRPr sz="2000">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eaLnBrk="0" fontAlgn="base" hangingPunct="0">
              <a:spcAft>
                <a:spcPct val="0"/>
              </a:spcAft>
              <a:buFont typeface="Arial" pitchFamily="34" charset="0"/>
              <a:buChar char="»"/>
              <a:defRPr>
                <a:solidFill>
                  <a:schemeClr val="tx1"/>
                </a:solidFill>
                <a:latin typeface="Arial" pitchFamily="34" charset="0"/>
              </a:defRPr>
            </a:lvl6pPr>
            <a:lvl7pPr eaLnBrk="0" fontAlgn="base" hangingPunct="0">
              <a:spcAft>
                <a:spcPct val="0"/>
              </a:spcAft>
              <a:buFont typeface="Arial" pitchFamily="34" charset="0"/>
              <a:buChar char="»"/>
              <a:defRPr>
                <a:solidFill>
                  <a:schemeClr val="tx1"/>
                </a:solidFill>
                <a:latin typeface="Arial" pitchFamily="34" charset="0"/>
              </a:defRPr>
            </a:lvl7pPr>
            <a:lvl8pPr eaLnBrk="0" fontAlgn="base" hangingPunct="0">
              <a:spcAft>
                <a:spcPct val="0"/>
              </a:spcAft>
              <a:buFont typeface="Arial" pitchFamily="34" charset="0"/>
              <a:buChar char="»"/>
              <a:defRPr>
                <a:solidFill>
                  <a:schemeClr val="tx1"/>
                </a:solidFill>
                <a:latin typeface="Arial" pitchFamily="34" charset="0"/>
              </a:defRPr>
            </a:lvl8pPr>
            <a:lvl9pPr eaLnBrk="0" fontAlgn="base" hangingPunct="0">
              <a:spcAft>
                <a:spcPct val="0"/>
              </a:spcAft>
              <a:buFont typeface="Arial" pitchFamily="34" charset="0"/>
              <a:buChar char="»"/>
              <a:defRPr>
                <a:solidFill>
                  <a:schemeClr val="tx1"/>
                </a:solidFill>
                <a:latin typeface="Arial" pitchFamily="34" charset="0"/>
              </a:defRPr>
            </a:lvl9pPr>
          </a:lstStyle>
          <a:p>
            <a:pPr>
              <a:defRPr/>
            </a:pPr>
            <a:r>
              <a:rPr lang="en-US" altLang="en-US" sz="1600" b="1" kern="0" dirty="0">
                <a:solidFill>
                  <a:prstClr val="black"/>
                </a:solidFill>
              </a:rPr>
              <a:t>Go-Live</a:t>
            </a:r>
          </a:p>
        </p:txBody>
      </p:sp>
      <p:grpSp>
        <p:nvGrpSpPr>
          <p:cNvPr id="14" name="Group 13">
            <a:extLst>
              <a:ext uri="{FF2B5EF4-FFF2-40B4-BE49-F238E27FC236}">
                <a16:creationId xmlns:a16="http://schemas.microsoft.com/office/drawing/2014/main" id="{C4678405-5F93-4F52-8AD2-793581F0C294}"/>
              </a:ext>
            </a:extLst>
          </p:cNvPr>
          <p:cNvGrpSpPr/>
          <p:nvPr/>
        </p:nvGrpSpPr>
        <p:grpSpPr>
          <a:xfrm rot="10800000" flipV="1">
            <a:off x="1971262" y="4199553"/>
            <a:ext cx="8006513" cy="676656"/>
            <a:chOff x="457202" y="4217729"/>
            <a:chExt cx="8006513" cy="780568"/>
          </a:xfrm>
        </p:grpSpPr>
        <p:sp>
          <p:nvSpPr>
            <p:cNvPr id="15" name="Round Same Side Corner Rectangle 18">
              <a:extLst>
                <a:ext uri="{FF2B5EF4-FFF2-40B4-BE49-F238E27FC236}">
                  <a16:creationId xmlns:a16="http://schemas.microsoft.com/office/drawing/2014/main" id="{6A680403-DA40-49BA-A449-A87B53A7D71C}"/>
                </a:ext>
              </a:extLst>
            </p:cNvPr>
            <p:cNvSpPr/>
            <p:nvPr/>
          </p:nvSpPr>
          <p:spPr bwMode="auto">
            <a:xfrm rot="16200000" flipV="1">
              <a:off x="4699015" y="1233597"/>
              <a:ext cx="780566" cy="6748834"/>
            </a:xfrm>
            <a:prstGeom prst="round2SameRect">
              <a:avLst/>
            </a:prstGeom>
            <a:noFill/>
            <a:ln w="19050" cap="flat" cmpd="sng" algn="ctr">
              <a:solidFill>
                <a:schemeClr val="accent1"/>
              </a:solidFill>
              <a:prstDash val="solid"/>
            </a:ln>
            <a:effectLst/>
          </p:spPr>
          <p:txBody>
            <a:bodyPr vert="vert" anchor="ctr"/>
            <a:lstStyle/>
            <a:p>
              <a:pPr marL="517525" indent="-285750">
                <a:buFont typeface="Arial" panose="020B0604020202020204" pitchFamily="34" charset="0"/>
                <a:buChar char="•"/>
                <a:defRPr/>
              </a:pPr>
              <a:r>
                <a:rPr lang="en-US" sz="1700" kern="0" dirty="0">
                  <a:solidFill>
                    <a:srgbClr val="000000"/>
                  </a:solidFill>
                  <a:latin typeface="Calibri"/>
                </a:rPr>
                <a:t>UCD functionality go-live </a:t>
              </a:r>
              <a:r>
                <a:rPr lang="en-US" sz="1700" b="1" kern="0" dirty="0">
                  <a:solidFill>
                    <a:srgbClr val="000000"/>
                  </a:solidFill>
                  <a:latin typeface="Calibri"/>
                </a:rPr>
                <a:t>February (2020)</a:t>
              </a:r>
            </a:p>
          </p:txBody>
        </p:sp>
        <p:sp>
          <p:nvSpPr>
            <p:cNvPr id="16" name="Round Same Side Corner Rectangle 19">
              <a:extLst>
                <a:ext uri="{FF2B5EF4-FFF2-40B4-BE49-F238E27FC236}">
                  <a16:creationId xmlns:a16="http://schemas.microsoft.com/office/drawing/2014/main" id="{110A7A2A-C604-461A-A2F9-3C9EA2AF01E7}"/>
                </a:ext>
              </a:extLst>
            </p:cNvPr>
            <p:cNvSpPr/>
            <p:nvPr/>
          </p:nvSpPr>
          <p:spPr bwMode="auto">
            <a:xfrm rot="16200000">
              <a:off x="701606" y="3973325"/>
              <a:ext cx="768871" cy="1257680"/>
            </a:xfrm>
            <a:prstGeom prst="round2SameRect">
              <a:avLst/>
            </a:prstGeom>
            <a:solidFill>
              <a:schemeClr val="accent1"/>
            </a:solidFill>
            <a:ln w="19050" cap="flat" cmpd="sng" algn="ctr">
              <a:solidFill>
                <a:schemeClr val="accent1"/>
              </a:solidFill>
              <a:prstDash val="solid"/>
            </a:ln>
            <a:effectLst/>
          </p:spPr>
          <p:txBody>
            <a:bodyPr anchor="ctr"/>
            <a:lstStyle/>
            <a:p>
              <a:pPr algn="ctr">
                <a:defRPr/>
              </a:pPr>
              <a:endParaRPr lang="en-US" sz="1600" kern="0" dirty="0">
                <a:solidFill>
                  <a:prstClr val="white"/>
                </a:solidFill>
                <a:latin typeface="Arial"/>
              </a:endParaRPr>
            </a:p>
          </p:txBody>
        </p:sp>
      </p:grpSp>
      <p:sp>
        <p:nvSpPr>
          <p:cNvPr id="17" name="TextBox 9">
            <a:extLst>
              <a:ext uri="{FF2B5EF4-FFF2-40B4-BE49-F238E27FC236}">
                <a16:creationId xmlns:a16="http://schemas.microsoft.com/office/drawing/2014/main" id="{159E0C1F-39B5-453D-A7D6-245B4C45FE73}"/>
              </a:ext>
            </a:extLst>
          </p:cNvPr>
          <p:cNvSpPr txBox="1">
            <a:spLocks noChangeArrowheads="1"/>
          </p:cNvSpPr>
          <p:nvPr/>
        </p:nvSpPr>
        <p:spPr bwMode="auto">
          <a:xfrm flipH="1">
            <a:off x="1972055" y="1469793"/>
            <a:ext cx="67230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Arial" pitchFamily="34" charset="0"/>
              </a:defRPr>
            </a:lvl1pPr>
            <a:lvl2pPr>
              <a:defRPr sz="2000">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eaLnBrk="0" fontAlgn="base" hangingPunct="0">
              <a:spcAft>
                <a:spcPct val="0"/>
              </a:spcAft>
              <a:buFont typeface="Arial" pitchFamily="34" charset="0"/>
              <a:buChar char="»"/>
              <a:defRPr>
                <a:solidFill>
                  <a:schemeClr val="tx1"/>
                </a:solidFill>
                <a:latin typeface="Arial" pitchFamily="34" charset="0"/>
              </a:defRPr>
            </a:lvl6pPr>
            <a:lvl7pPr eaLnBrk="0" fontAlgn="base" hangingPunct="0">
              <a:spcAft>
                <a:spcPct val="0"/>
              </a:spcAft>
              <a:buFont typeface="Arial" pitchFamily="34" charset="0"/>
              <a:buChar char="»"/>
              <a:defRPr>
                <a:solidFill>
                  <a:schemeClr val="tx1"/>
                </a:solidFill>
                <a:latin typeface="Arial" pitchFamily="34" charset="0"/>
              </a:defRPr>
            </a:lvl7pPr>
            <a:lvl8pPr eaLnBrk="0" fontAlgn="base" hangingPunct="0">
              <a:spcAft>
                <a:spcPct val="0"/>
              </a:spcAft>
              <a:buFont typeface="Arial" pitchFamily="34" charset="0"/>
              <a:buChar char="»"/>
              <a:defRPr>
                <a:solidFill>
                  <a:schemeClr val="tx1"/>
                </a:solidFill>
                <a:latin typeface="Arial" pitchFamily="34" charset="0"/>
              </a:defRPr>
            </a:lvl8pPr>
            <a:lvl9pPr eaLnBrk="0" fontAlgn="base" hangingPunct="0">
              <a:spcAft>
                <a:spcPct val="0"/>
              </a:spcAft>
              <a:buFont typeface="Arial" pitchFamily="34" charset="0"/>
              <a:buChar char="»"/>
              <a:defRPr>
                <a:solidFill>
                  <a:schemeClr val="tx1"/>
                </a:solidFill>
                <a:latin typeface="Arial" pitchFamily="34" charset="0"/>
              </a:defRPr>
            </a:lvl9pPr>
          </a:lstStyle>
          <a:p>
            <a:pPr>
              <a:defRPr/>
            </a:pPr>
            <a:r>
              <a:rPr lang="en-US" altLang="en-US" sz="1600" b="1" kern="0" dirty="0">
                <a:solidFill>
                  <a:prstClr val="black"/>
                </a:solidFill>
              </a:rPr>
              <a:t>Pre-Production</a:t>
            </a:r>
          </a:p>
        </p:txBody>
      </p:sp>
      <p:grpSp>
        <p:nvGrpSpPr>
          <p:cNvPr id="18" name="Group 17">
            <a:extLst>
              <a:ext uri="{FF2B5EF4-FFF2-40B4-BE49-F238E27FC236}">
                <a16:creationId xmlns:a16="http://schemas.microsoft.com/office/drawing/2014/main" id="{F8E1DE19-161A-45F7-B526-4953A7E00AD2}"/>
              </a:ext>
            </a:extLst>
          </p:cNvPr>
          <p:cNvGrpSpPr/>
          <p:nvPr/>
        </p:nvGrpSpPr>
        <p:grpSpPr>
          <a:xfrm rot="10800000" flipV="1">
            <a:off x="1971262" y="1857240"/>
            <a:ext cx="8006513" cy="676656"/>
            <a:chOff x="457202" y="4046983"/>
            <a:chExt cx="8006513" cy="909622"/>
          </a:xfrm>
        </p:grpSpPr>
        <p:sp>
          <p:nvSpPr>
            <p:cNvPr id="19" name="Round Same Side Corner Rectangle 18">
              <a:extLst>
                <a:ext uri="{FF2B5EF4-FFF2-40B4-BE49-F238E27FC236}">
                  <a16:creationId xmlns:a16="http://schemas.microsoft.com/office/drawing/2014/main" id="{095DC8E7-3CDB-42E4-9F2B-0B18EA42734B}"/>
                </a:ext>
              </a:extLst>
            </p:cNvPr>
            <p:cNvSpPr/>
            <p:nvPr/>
          </p:nvSpPr>
          <p:spPr bwMode="auto">
            <a:xfrm rot="16200000" flipV="1">
              <a:off x="4634488" y="1127378"/>
              <a:ext cx="909620" cy="6748834"/>
            </a:xfrm>
            <a:prstGeom prst="round2SameRect">
              <a:avLst/>
            </a:prstGeom>
            <a:noFill/>
            <a:ln w="19050" cap="flat" cmpd="sng" algn="ctr">
              <a:solidFill>
                <a:schemeClr val="accent1"/>
              </a:solidFill>
              <a:prstDash val="solid"/>
            </a:ln>
            <a:effectLst/>
          </p:spPr>
          <p:txBody>
            <a:bodyPr vert="vert" anchor="ctr"/>
            <a:lstStyle/>
            <a:p>
              <a:pPr marL="517525" indent="-285750">
                <a:buFont typeface="Arial" panose="020B0604020202020204" pitchFamily="34" charset="0"/>
                <a:buChar char="•"/>
                <a:defRPr/>
              </a:pPr>
              <a:r>
                <a:rPr lang="en-US" sz="1700" kern="0" dirty="0">
                  <a:solidFill>
                    <a:srgbClr val="000000"/>
                  </a:solidFill>
                  <a:latin typeface="Calibri"/>
                </a:rPr>
                <a:t>UCD in pre-production </a:t>
              </a:r>
              <a:r>
                <a:rPr lang="en-US" sz="1700" b="1" kern="0" dirty="0">
                  <a:solidFill>
                    <a:srgbClr val="000000"/>
                  </a:solidFill>
                  <a:latin typeface="Calibri"/>
                </a:rPr>
                <a:t>August (2019)</a:t>
              </a:r>
            </a:p>
          </p:txBody>
        </p:sp>
        <p:sp>
          <p:nvSpPr>
            <p:cNvPr id="20" name="Round Same Side Corner Rectangle 19">
              <a:extLst>
                <a:ext uri="{FF2B5EF4-FFF2-40B4-BE49-F238E27FC236}">
                  <a16:creationId xmlns:a16="http://schemas.microsoft.com/office/drawing/2014/main" id="{55495B51-9B52-4127-8D1C-0E7F47129764}"/>
                </a:ext>
              </a:extLst>
            </p:cNvPr>
            <p:cNvSpPr/>
            <p:nvPr/>
          </p:nvSpPr>
          <p:spPr bwMode="auto">
            <a:xfrm rot="16200000">
              <a:off x="631231" y="3872954"/>
              <a:ext cx="909621" cy="1257680"/>
            </a:xfrm>
            <a:prstGeom prst="round2SameRect">
              <a:avLst/>
            </a:prstGeom>
            <a:solidFill>
              <a:schemeClr val="accent1"/>
            </a:solidFill>
            <a:ln w="19050" cap="flat" cmpd="sng" algn="ctr">
              <a:solidFill>
                <a:schemeClr val="accent1"/>
              </a:solidFill>
              <a:prstDash val="solid"/>
            </a:ln>
            <a:effectLst/>
          </p:spPr>
          <p:txBody>
            <a:bodyPr anchor="ctr"/>
            <a:lstStyle/>
            <a:p>
              <a:pPr algn="ctr">
                <a:defRPr/>
              </a:pPr>
              <a:endParaRPr lang="en-US" sz="1600" kern="0" dirty="0">
                <a:solidFill>
                  <a:prstClr val="white"/>
                </a:solidFill>
                <a:latin typeface="Arial"/>
              </a:endParaRPr>
            </a:p>
          </p:txBody>
        </p:sp>
      </p:grpSp>
      <p:pic>
        <p:nvPicPr>
          <p:cNvPr id="27" name="Graphic 26" descr="Checkmark">
            <a:extLst>
              <a:ext uri="{FF2B5EF4-FFF2-40B4-BE49-F238E27FC236}">
                <a16:creationId xmlns:a16="http://schemas.microsoft.com/office/drawing/2014/main" id="{E08D871A-FE18-459E-B168-5EDEEF06CF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36883" y="2033684"/>
            <a:ext cx="365765" cy="365765"/>
          </a:xfrm>
          <a:prstGeom prst="rect">
            <a:avLst/>
          </a:prstGeom>
        </p:spPr>
      </p:pic>
      <p:pic>
        <p:nvPicPr>
          <p:cNvPr id="28" name="Graphic 27" descr="Cloud Computing">
            <a:extLst>
              <a:ext uri="{FF2B5EF4-FFF2-40B4-BE49-F238E27FC236}">
                <a16:creationId xmlns:a16="http://schemas.microsoft.com/office/drawing/2014/main" id="{C91773D6-907E-4603-9601-F4F746D4B22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73608" y="4278140"/>
            <a:ext cx="550652" cy="550652"/>
          </a:xfrm>
          <a:prstGeom prst="rect">
            <a:avLst/>
          </a:prstGeom>
        </p:spPr>
      </p:pic>
      <p:sp>
        <p:nvSpPr>
          <p:cNvPr id="30" name="TextBox 9">
            <a:extLst>
              <a:ext uri="{FF2B5EF4-FFF2-40B4-BE49-F238E27FC236}">
                <a16:creationId xmlns:a16="http://schemas.microsoft.com/office/drawing/2014/main" id="{2EA83A2C-628C-40C7-AAF6-0D37A5A8E032}"/>
              </a:ext>
            </a:extLst>
          </p:cNvPr>
          <p:cNvSpPr txBox="1">
            <a:spLocks noChangeArrowheads="1"/>
          </p:cNvSpPr>
          <p:nvPr/>
        </p:nvSpPr>
        <p:spPr bwMode="auto">
          <a:xfrm flipH="1">
            <a:off x="1998648" y="2695156"/>
            <a:ext cx="67230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Arial" pitchFamily="34" charset="0"/>
              </a:defRPr>
            </a:lvl1pPr>
            <a:lvl2pPr>
              <a:defRPr sz="2000">
                <a:solidFill>
                  <a:schemeClr val="tx1"/>
                </a:solidFill>
                <a:latin typeface="Arial" pitchFamily="34" charset="0"/>
              </a:defRPr>
            </a:lvl2pPr>
            <a:lvl3pPr>
              <a:defRPr>
                <a:solidFill>
                  <a:schemeClr val="tx1"/>
                </a:solidFill>
                <a:latin typeface="Arial" pitchFamily="34" charset="0"/>
              </a:defRPr>
            </a:lvl3pPr>
            <a:lvl4pPr>
              <a:defRPr>
                <a:solidFill>
                  <a:schemeClr val="tx1"/>
                </a:solidFill>
                <a:latin typeface="Arial" pitchFamily="34" charset="0"/>
              </a:defRPr>
            </a:lvl4pPr>
            <a:lvl5pPr>
              <a:defRPr>
                <a:solidFill>
                  <a:schemeClr val="tx1"/>
                </a:solidFill>
                <a:latin typeface="Arial" pitchFamily="34" charset="0"/>
              </a:defRPr>
            </a:lvl5pPr>
            <a:lvl6pPr eaLnBrk="0" fontAlgn="base" hangingPunct="0">
              <a:spcAft>
                <a:spcPct val="0"/>
              </a:spcAft>
              <a:buFont typeface="Arial" pitchFamily="34" charset="0"/>
              <a:buChar char="»"/>
              <a:defRPr>
                <a:solidFill>
                  <a:schemeClr val="tx1"/>
                </a:solidFill>
                <a:latin typeface="Arial" pitchFamily="34" charset="0"/>
              </a:defRPr>
            </a:lvl6pPr>
            <a:lvl7pPr eaLnBrk="0" fontAlgn="base" hangingPunct="0">
              <a:spcAft>
                <a:spcPct val="0"/>
              </a:spcAft>
              <a:buFont typeface="Arial" pitchFamily="34" charset="0"/>
              <a:buChar char="»"/>
              <a:defRPr>
                <a:solidFill>
                  <a:schemeClr val="tx1"/>
                </a:solidFill>
                <a:latin typeface="Arial" pitchFamily="34" charset="0"/>
              </a:defRPr>
            </a:lvl7pPr>
            <a:lvl8pPr eaLnBrk="0" fontAlgn="base" hangingPunct="0">
              <a:spcAft>
                <a:spcPct val="0"/>
              </a:spcAft>
              <a:buFont typeface="Arial" pitchFamily="34" charset="0"/>
              <a:buChar char="»"/>
              <a:defRPr>
                <a:solidFill>
                  <a:schemeClr val="tx1"/>
                </a:solidFill>
                <a:latin typeface="Arial" pitchFamily="34" charset="0"/>
              </a:defRPr>
            </a:lvl8pPr>
            <a:lvl9pPr eaLnBrk="0" fontAlgn="base" hangingPunct="0">
              <a:spcAft>
                <a:spcPct val="0"/>
              </a:spcAft>
              <a:buFont typeface="Arial" pitchFamily="34" charset="0"/>
              <a:buChar char="»"/>
              <a:defRPr>
                <a:solidFill>
                  <a:schemeClr val="tx1"/>
                </a:solidFill>
                <a:latin typeface="Arial" pitchFamily="34" charset="0"/>
              </a:defRPr>
            </a:lvl9pPr>
          </a:lstStyle>
          <a:p>
            <a:pPr>
              <a:defRPr/>
            </a:pPr>
            <a:r>
              <a:rPr lang="en-US" altLang="en-US" sz="1600" b="1" kern="0" dirty="0">
                <a:solidFill>
                  <a:prstClr val="black"/>
                </a:solidFill>
              </a:rPr>
              <a:t>Production</a:t>
            </a:r>
          </a:p>
        </p:txBody>
      </p:sp>
      <p:grpSp>
        <p:nvGrpSpPr>
          <p:cNvPr id="2" name="Group 1">
            <a:extLst>
              <a:ext uri="{FF2B5EF4-FFF2-40B4-BE49-F238E27FC236}">
                <a16:creationId xmlns:a16="http://schemas.microsoft.com/office/drawing/2014/main" id="{53BE378E-27AA-40D3-BFB3-F415205C09C4}"/>
              </a:ext>
            </a:extLst>
          </p:cNvPr>
          <p:cNvGrpSpPr/>
          <p:nvPr/>
        </p:nvGrpSpPr>
        <p:grpSpPr>
          <a:xfrm>
            <a:off x="2007005" y="3028396"/>
            <a:ext cx="8014872" cy="676656"/>
            <a:chOff x="483005" y="3152638"/>
            <a:chExt cx="8014872" cy="909622"/>
          </a:xfrm>
        </p:grpSpPr>
        <p:sp>
          <p:nvSpPr>
            <p:cNvPr id="31" name="Round Same Side Corner Rectangle 18">
              <a:extLst>
                <a:ext uri="{FF2B5EF4-FFF2-40B4-BE49-F238E27FC236}">
                  <a16:creationId xmlns:a16="http://schemas.microsoft.com/office/drawing/2014/main" id="{DB51B5B6-9EC3-4A92-AAAD-B91423F79D9C}"/>
                </a:ext>
              </a:extLst>
            </p:cNvPr>
            <p:cNvSpPr/>
            <p:nvPr/>
          </p:nvSpPr>
          <p:spPr bwMode="auto">
            <a:xfrm rot="16200000">
              <a:off x="3402612" y="233033"/>
              <a:ext cx="909620" cy="6748834"/>
            </a:xfrm>
            <a:prstGeom prst="round2SameRect">
              <a:avLst/>
            </a:prstGeom>
            <a:noFill/>
            <a:ln w="19050" cap="flat" cmpd="sng" algn="ctr">
              <a:solidFill>
                <a:schemeClr val="accent1"/>
              </a:solidFill>
              <a:prstDash val="solid"/>
            </a:ln>
            <a:effectLst/>
          </p:spPr>
          <p:txBody>
            <a:bodyPr vert="vert" anchor="ctr"/>
            <a:lstStyle/>
            <a:p>
              <a:pPr marL="517525" indent="-285750">
                <a:buFont typeface="Arial" panose="020B0604020202020204" pitchFamily="34" charset="0"/>
                <a:buChar char="•"/>
                <a:defRPr/>
              </a:pPr>
              <a:r>
                <a:rPr lang="en-US" sz="1700" kern="0" dirty="0">
                  <a:solidFill>
                    <a:srgbClr val="000000"/>
                  </a:solidFill>
                  <a:latin typeface="Calibri"/>
                </a:rPr>
                <a:t>UCD in production </a:t>
              </a:r>
              <a:r>
                <a:rPr lang="en-US" sz="1700" b="1" kern="0" dirty="0">
                  <a:solidFill>
                    <a:srgbClr val="000000"/>
                  </a:solidFill>
                  <a:latin typeface="Calibri"/>
                </a:rPr>
                <a:t>January-February (2020)</a:t>
              </a:r>
            </a:p>
          </p:txBody>
        </p:sp>
        <p:sp>
          <p:nvSpPr>
            <p:cNvPr id="32" name="Round Same Side Corner Rectangle 19">
              <a:extLst>
                <a:ext uri="{FF2B5EF4-FFF2-40B4-BE49-F238E27FC236}">
                  <a16:creationId xmlns:a16="http://schemas.microsoft.com/office/drawing/2014/main" id="{C90707ED-3D7C-4AF1-9DF2-1D9986338515}"/>
                </a:ext>
              </a:extLst>
            </p:cNvPr>
            <p:cNvSpPr/>
            <p:nvPr/>
          </p:nvSpPr>
          <p:spPr bwMode="auto">
            <a:xfrm rot="16200000" flipV="1">
              <a:off x="7414227" y="2978608"/>
              <a:ext cx="909620" cy="1257680"/>
            </a:xfrm>
            <a:prstGeom prst="round2SameRect">
              <a:avLst/>
            </a:prstGeom>
            <a:solidFill>
              <a:schemeClr val="accent1"/>
            </a:solidFill>
            <a:ln w="19050" cap="flat" cmpd="sng" algn="ctr">
              <a:solidFill>
                <a:schemeClr val="accent1"/>
              </a:solidFill>
              <a:prstDash val="solid"/>
            </a:ln>
            <a:effectLst/>
          </p:spPr>
          <p:txBody>
            <a:bodyPr anchor="ctr"/>
            <a:lstStyle/>
            <a:p>
              <a:pPr algn="ctr">
                <a:defRPr/>
              </a:pPr>
              <a:endParaRPr lang="en-US" sz="1600" kern="0" dirty="0">
                <a:solidFill>
                  <a:prstClr val="white"/>
                </a:solidFill>
                <a:latin typeface="Arial"/>
              </a:endParaRPr>
            </a:p>
          </p:txBody>
        </p:sp>
      </p:grpSp>
      <p:pic>
        <p:nvPicPr>
          <p:cNvPr id="33" name="Graphic 32" descr="Single gear">
            <a:extLst>
              <a:ext uri="{FF2B5EF4-FFF2-40B4-BE49-F238E27FC236}">
                <a16:creationId xmlns:a16="http://schemas.microsoft.com/office/drawing/2014/main" id="{80DAA4B7-64D3-4181-87B9-DC810FC048BB}"/>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34193" y="3095737"/>
            <a:ext cx="609315" cy="609315"/>
          </a:xfrm>
          <a:prstGeom prst="rect">
            <a:avLst/>
          </a:prstGeom>
        </p:spPr>
      </p:pic>
    </p:spTree>
    <p:extLst>
      <p:ext uri="{BB962C8B-B14F-4D97-AF65-F5344CB8AC3E}">
        <p14:creationId xmlns:p14="http://schemas.microsoft.com/office/powerpoint/2010/main" val="1895794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 USB Slides_Fin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Master - USB Slides_Fin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eme1">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284C8848-A922-4298-B2CD-8A402A39EC0B}" vid="{47E05427-AD2D-4A87-84B5-A826533E0D24}"/>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4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RED">
  <a:themeElements>
    <a:clrScheme name="CoreLogic RED 030918">
      <a:dk1>
        <a:srgbClr val="38424A"/>
      </a:dk1>
      <a:lt1>
        <a:srgbClr val="FFFFFF"/>
      </a:lt1>
      <a:dk2>
        <a:srgbClr val="9AA3AD"/>
      </a:dk2>
      <a:lt2>
        <a:srgbClr val="D23E43"/>
      </a:lt2>
      <a:accent1>
        <a:srgbClr val="D23E43"/>
      </a:accent1>
      <a:accent2>
        <a:srgbClr val="A765CB"/>
      </a:accent2>
      <a:accent3>
        <a:srgbClr val="0AA0C6"/>
      </a:accent3>
      <a:accent4>
        <a:srgbClr val="33BC97"/>
      </a:accent4>
      <a:accent5>
        <a:srgbClr val="F29400"/>
      </a:accent5>
      <a:accent6>
        <a:srgbClr val="186A8C"/>
      </a:accent6>
      <a:hlink>
        <a:srgbClr val="186C8C"/>
      </a:hlink>
      <a:folHlink>
        <a:srgbClr val="9EC3D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Office Theme 13">
        <a:dk1>
          <a:srgbClr val="000000"/>
        </a:dk1>
        <a:lt1>
          <a:srgbClr val="FFFFFF"/>
        </a:lt1>
        <a:dk2>
          <a:srgbClr val="685745"/>
        </a:dk2>
        <a:lt2>
          <a:srgbClr val="808080"/>
        </a:lt2>
        <a:accent1>
          <a:srgbClr val="E23D28"/>
        </a:accent1>
        <a:accent2>
          <a:srgbClr val="333399"/>
        </a:accent2>
        <a:accent3>
          <a:srgbClr val="FFFFFF"/>
        </a:accent3>
        <a:accent4>
          <a:srgbClr val="000000"/>
        </a:accent4>
        <a:accent5>
          <a:srgbClr val="EEAFAC"/>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14">
        <a:dk1>
          <a:srgbClr val="000000"/>
        </a:dk1>
        <a:lt1>
          <a:srgbClr val="FFFFFF"/>
        </a:lt1>
        <a:dk2>
          <a:srgbClr val="685745"/>
        </a:dk2>
        <a:lt2>
          <a:srgbClr val="958377"/>
        </a:lt2>
        <a:accent1>
          <a:srgbClr val="E23D28"/>
        </a:accent1>
        <a:accent2>
          <a:srgbClr val="004054"/>
        </a:accent2>
        <a:accent3>
          <a:srgbClr val="FFFFFF"/>
        </a:accent3>
        <a:accent4>
          <a:srgbClr val="000000"/>
        </a:accent4>
        <a:accent5>
          <a:srgbClr val="EEAFAC"/>
        </a:accent5>
        <a:accent6>
          <a:srgbClr val="00394B"/>
        </a:accent6>
        <a:hlink>
          <a:srgbClr val="004D46"/>
        </a:hlink>
        <a:folHlink>
          <a:srgbClr val="77243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8 Corp Story WIDESCREEN 031218 [Read-Only]" id="{01A8FBB6-E8BD-43EF-84B7-792CCD0E1DD2}" vid="{46B114D7-DF05-40DE-B6B9-F586D9744F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594</TotalTime>
  <Words>1781</Words>
  <Application>Microsoft Office PowerPoint</Application>
  <PresentationFormat>Widescreen</PresentationFormat>
  <Paragraphs>268</Paragraphs>
  <Slides>16</Slides>
  <Notes>14</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6</vt:i4>
      </vt:variant>
    </vt:vector>
  </HeadingPairs>
  <TitlesOfParts>
    <vt:vector size="32" baseType="lpstr">
      <vt:lpstr>MS PGothic</vt:lpstr>
      <vt:lpstr>Arial</vt:lpstr>
      <vt:lpstr>Calibri</vt:lpstr>
      <vt:lpstr>Century Gothic</vt:lpstr>
      <vt:lpstr>Georgia</vt:lpstr>
      <vt:lpstr>Myriad Pro</vt:lpstr>
      <vt:lpstr>Times New Roman</vt:lpstr>
      <vt:lpstr>Wingdings</vt:lpstr>
      <vt:lpstr>Master - USB Slides_Final</vt:lpstr>
      <vt:lpstr>1_Master - USB Slides_Final</vt:lpstr>
      <vt:lpstr>Theme1</vt:lpstr>
      <vt:lpstr>1_Custom Design</vt:lpstr>
      <vt:lpstr>3_Office Theme</vt:lpstr>
      <vt:lpstr>41_Office Theme</vt:lpstr>
      <vt:lpstr>2_RED</vt:lpstr>
      <vt:lpstr>think-cell Slide</vt:lpstr>
      <vt:lpstr>VALERI Part 2: Future of VA’s Loan Guaranty Program</vt:lpstr>
      <vt:lpstr>2019 VALERI Modernization</vt:lpstr>
      <vt:lpstr>Progressive VALERI Enhancements Have Peaked</vt:lpstr>
      <vt:lpstr>High-Level Impacts of the VALERI Modernization</vt:lpstr>
      <vt:lpstr>Modernized VALERI Addresses Current Challenges</vt:lpstr>
      <vt:lpstr>Future of Origination at LGY</vt:lpstr>
      <vt:lpstr>Objectives of Continued Transformation</vt:lpstr>
      <vt:lpstr>Transforming the Guaranty Home Loan Program</vt:lpstr>
      <vt:lpstr>Uniform Closing Dataset Pilot Program </vt:lpstr>
      <vt:lpstr>Uniform Loan Application Dataset Functionality </vt:lpstr>
      <vt:lpstr>Rules Based Engine Functionality</vt:lpstr>
      <vt:lpstr>Targeted Risk Based Reviews</vt:lpstr>
      <vt:lpstr>Scorecard, Analytics, and Dashboard Functionality</vt:lpstr>
      <vt:lpstr>Transformation Features and Benefits to Lenders</vt:lpstr>
      <vt:lpstr>Combined Timeline of Upcoming Activities</vt:lpstr>
      <vt:lpstr>PowerPoint Presentation</vt:lpstr>
    </vt:vector>
  </TitlesOfParts>
  <Company>Dept. of Veterans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ott, Brandon, VBAVACO</dc:creator>
  <cp:lastModifiedBy>Connors, Mark, VBAVACO</cp:lastModifiedBy>
  <cp:revision>446</cp:revision>
  <cp:lastPrinted>2014-10-08T12:33:41Z</cp:lastPrinted>
  <dcterms:created xsi:type="dcterms:W3CDTF">2013-06-06T13:19:15Z</dcterms:created>
  <dcterms:modified xsi:type="dcterms:W3CDTF">2019-07-10T16:54:37Z</dcterms:modified>
</cp:coreProperties>
</file>